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0" r:id="rId1"/>
    <p:sldMasterId id="2147483686" r:id="rId2"/>
  </p:sldMasterIdLst>
  <p:notesMasterIdLst>
    <p:notesMasterId r:id="rId40"/>
  </p:notesMasterIdLst>
  <p:sldIdLst>
    <p:sldId id="256" r:id="rId3"/>
    <p:sldId id="296" r:id="rId4"/>
    <p:sldId id="257" r:id="rId5"/>
    <p:sldId id="332" r:id="rId6"/>
    <p:sldId id="298" r:id="rId7"/>
    <p:sldId id="302" r:id="rId8"/>
    <p:sldId id="299" r:id="rId9"/>
    <p:sldId id="262" r:id="rId10"/>
    <p:sldId id="300" r:id="rId11"/>
    <p:sldId id="260" r:id="rId12"/>
    <p:sldId id="301" r:id="rId13"/>
    <p:sldId id="303" r:id="rId14"/>
    <p:sldId id="265" r:id="rId15"/>
    <p:sldId id="305" r:id="rId16"/>
    <p:sldId id="306" r:id="rId17"/>
    <p:sldId id="307" r:id="rId18"/>
    <p:sldId id="308" r:id="rId19"/>
    <p:sldId id="324" r:id="rId20"/>
    <p:sldId id="323" r:id="rId21"/>
    <p:sldId id="325" r:id="rId22"/>
    <p:sldId id="326" r:id="rId23"/>
    <p:sldId id="328" r:id="rId24"/>
    <p:sldId id="327" r:id="rId25"/>
    <p:sldId id="335" r:id="rId26"/>
    <p:sldId id="334" r:id="rId27"/>
    <p:sldId id="313" r:id="rId28"/>
    <p:sldId id="314" r:id="rId29"/>
    <p:sldId id="315" r:id="rId30"/>
    <p:sldId id="316" r:id="rId31"/>
    <p:sldId id="318" r:id="rId32"/>
    <p:sldId id="319" r:id="rId33"/>
    <p:sldId id="333" r:id="rId34"/>
    <p:sldId id="337" r:id="rId35"/>
    <p:sldId id="261" r:id="rId36"/>
    <p:sldId id="320" r:id="rId37"/>
    <p:sldId id="321" r:id="rId38"/>
    <p:sldId id="338" r:id="rId39"/>
  </p:sldIdLst>
  <p:sldSz cx="9144000" cy="5143500" type="screen16x9"/>
  <p:notesSz cx="6794500" cy="99314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CA312"/>
    <a:srgbClr val="860089"/>
    <a:srgbClr val="FFDAB0"/>
    <a:srgbClr val="FFC789"/>
    <a:srgbClr val="FFF9F7"/>
    <a:srgbClr val="FFF9F2"/>
    <a:srgbClr val="C9BBBE"/>
    <a:srgbClr val="0E0BFA"/>
    <a:srgbClr val="7E6B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604C789-ED6B-45A1-A7F2-F07F8EDDDC04}">
  <a:tblStyle styleId="{D604C789-ED6B-45A1-A7F2-F07F8EDDDC04}"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0093C2F8-9693-4229-8D5A-0EC416FF4418}" styleName="Table_1">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6" autoAdjust="0"/>
    <p:restoredTop sz="81673" autoAdjust="0"/>
  </p:normalViewPr>
  <p:slideViewPr>
    <p:cSldViewPr snapToGrid="0">
      <p:cViewPr varScale="1">
        <p:scale>
          <a:sx n="119" d="100"/>
          <a:sy n="119" d="100"/>
        </p:scale>
        <p:origin x="1122"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oleObject" Target="file:///K:\SERVICIU\REVIZIE%202018\PREZENTARI%20INVESTROMANIA%20+%20VIDEO\2024\Country%20Presentation\Dividend%20Tax%20Rates%20in%20EU%202023%20%20Tax%20Foundation.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3.4534406648737957E-3"/>
          <c:y val="3.7374082668614247E-3"/>
          <c:w val="0.99427648363004772"/>
          <c:h val="0.99323933791217422"/>
        </c:manualLayout>
      </c:layout>
      <c:barChart>
        <c:barDir val="col"/>
        <c:grouping val="clustered"/>
        <c:varyColors val="0"/>
        <c:ser>
          <c:idx val="0"/>
          <c:order val="0"/>
          <c:spPr>
            <a:solidFill>
              <a:srgbClr val="000066"/>
            </a:solidFill>
            <a:ln>
              <a:noFill/>
            </a:ln>
            <a:effectLst/>
          </c:spPr>
          <c:invertIfNegative val="0"/>
          <c:dPt>
            <c:idx val="1"/>
            <c:invertIfNegative val="0"/>
            <c:bubble3D val="0"/>
            <c:spPr>
              <a:solidFill>
                <a:srgbClr val="000066"/>
              </a:solidFill>
              <a:ln>
                <a:noFill/>
              </a:ln>
              <a:effectLst/>
            </c:spPr>
            <c:extLst>
              <c:ext xmlns:c16="http://schemas.microsoft.com/office/drawing/2014/chart" uri="{C3380CC4-5D6E-409C-BE32-E72D297353CC}">
                <c16:uniqueId val="{00000001-8692-4203-8EDC-4AEE5BE1A1B5}"/>
              </c:ext>
            </c:extLst>
          </c:dPt>
          <c:dPt>
            <c:idx val="2"/>
            <c:invertIfNegative val="0"/>
            <c:bubble3D val="0"/>
            <c:spPr>
              <a:solidFill>
                <a:srgbClr val="000066"/>
              </a:solidFill>
              <a:ln>
                <a:noFill/>
              </a:ln>
              <a:effectLst/>
            </c:spPr>
            <c:extLst>
              <c:ext xmlns:c16="http://schemas.microsoft.com/office/drawing/2014/chart" uri="{C3380CC4-5D6E-409C-BE32-E72D297353CC}">
                <c16:uniqueId val="{00000003-972A-479A-8094-C0BF09D391F7}"/>
              </c:ext>
            </c:extLst>
          </c:dPt>
          <c:dPt>
            <c:idx val="5"/>
            <c:invertIfNegative val="0"/>
            <c:bubble3D val="0"/>
            <c:spPr>
              <a:solidFill>
                <a:srgbClr val="000066"/>
              </a:solidFill>
              <a:ln>
                <a:noFill/>
              </a:ln>
              <a:effectLst/>
            </c:spPr>
            <c:extLst>
              <c:ext xmlns:c16="http://schemas.microsoft.com/office/drawing/2014/chart" uri="{C3380CC4-5D6E-409C-BE32-E72D297353CC}">
                <c16:uniqueId val="{00000005-972A-479A-8094-C0BF09D391F7}"/>
              </c:ext>
            </c:extLst>
          </c:dPt>
          <c:dPt>
            <c:idx val="6"/>
            <c:invertIfNegative val="0"/>
            <c:bubble3D val="0"/>
            <c:spPr>
              <a:solidFill>
                <a:srgbClr val="000066"/>
              </a:solidFill>
              <a:ln>
                <a:noFill/>
              </a:ln>
              <a:effectLst/>
            </c:spPr>
            <c:extLst>
              <c:ext xmlns:c16="http://schemas.microsoft.com/office/drawing/2014/chart" uri="{C3380CC4-5D6E-409C-BE32-E72D297353CC}">
                <c16:uniqueId val="{00000007-972A-479A-8094-C0BF09D391F7}"/>
              </c:ext>
            </c:extLst>
          </c:dPt>
          <c:dPt>
            <c:idx val="7"/>
            <c:invertIfNegative val="0"/>
            <c:bubble3D val="0"/>
            <c:spPr>
              <a:solidFill>
                <a:srgbClr val="00B0F0"/>
              </a:solidFill>
              <a:ln>
                <a:noFill/>
              </a:ln>
              <a:effectLst/>
            </c:spPr>
            <c:extLst>
              <c:ext xmlns:c16="http://schemas.microsoft.com/office/drawing/2014/chart" uri="{C3380CC4-5D6E-409C-BE32-E72D297353CC}">
                <c16:uniqueId val="{00000009-972A-479A-8094-C0BF09D391F7}"/>
              </c:ext>
            </c:extLst>
          </c:dPt>
          <c:dPt>
            <c:idx val="8"/>
            <c:invertIfNegative val="0"/>
            <c:bubble3D val="0"/>
            <c:spPr>
              <a:solidFill>
                <a:srgbClr val="00B0F0"/>
              </a:solidFill>
              <a:ln>
                <a:noFill/>
              </a:ln>
              <a:effectLst/>
            </c:spPr>
            <c:extLst>
              <c:ext xmlns:c16="http://schemas.microsoft.com/office/drawing/2014/chart" uri="{C3380CC4-5D6E-409C-BE32-E72D297353CC}">
                <c16:uniqueId val="{0000000B-972A-479A-8094-C0BF09D391F7}"/>
              </c:ext>
            </c:extLst>
          </c:dPt>
          <c:dPt>
            <c:idx val="9"/>
            <c:invertIfNegative val="0"/>
            <c:bubble3D val="0"/>
            <c:spPr>
              <a:solidFill>
                <a:srgbClr val="00B0F0"/>
              </a:solidFill>
              <a:ln>
                <a:noFill/>
              </a:ln>
              <a:effectLst/>
            </c:spPr>
            <c:extLst>
              <c:ext xmlns:c16="http://schemas.microsoft.com/office/drawing/2014/chart" uri="{C3380CC4-5D6E-409C-BE32-E72D297353CC}">
                <c16:uniqueId val="{0000000D-972A-479A-8094-C0BF09D391F7}"/>
              </c:ext>
            </c:extLst>
          </c:dPt>
          <c:dPt>
            <c:idx val="10"/>
            <c:invertIfNegative val="0"/>
            <c:bubble3D val="0"/>
            <c:spPr>
              <a:solidFill>
                <a:srgbClr val="000066"/>
              </a:solidFill>
              <a:ln>
                <a:noFill/>
              </a:ln>
              <a:effectLst/>
            </c:spPr>
            <c:extLst>
              <c:ext xmlns:c16="http://schemas.microsoft.com/office/drawing/2014/chart" uri="{C3380CC4-5D6E-409C-BE32-E72D297353CC}">
                <c16:uniqueId val="{00000013-972A-479A-8094-C0BF09D391F7}"/>
              </c:ext>
            </c:extLst>
          </c:dPt>
          <c:dPt>
            <c:idx val="11"/>
            <c:invertIfNegative val="0"/>
            <c:bubble3D val="0"/>
            <c:spPr>
              <a:solidFill>
                <a:srgbClr val="00B0F0"/>
              </a:solidFill>
              <a:ln>
                <a:noFill/>
              </a:ln>
              <a:effectLst/>
            </c:spPr>
            <c:extLst>
              <c:ext xmlns:c16="http://schemas.microsoft.com/office/drawing/2014/chart" uri="{C3380CC4-5D6E-409C-BE32-E72D297353CC}">
                <c16:uniqueId val="{00000015-972A-479A-8094-C0BF09D391F7}"/>
              </c:ext>
            </c:extLst>
          </c:dPt>
          <c:dPt>
            <c:idx val="12"/>
            <c:invertIfNegative val="0"/>
            <c:bubble3D val="0"/>
            <c:spPr>
              <a:solidFill>
                <a:srgbClr val="00B0F0"/>
              </a:solidFill>
              <a:ln>
                <a:noFill/>
              </a:ln>
              <a:effectLst/>
            </c:spPr>
            <c:extLst>
              <c:ext xmlns:c16="http://schemas.microsoft.com/office/drawing/2014/chart" uri="{C3380CC4-5D6E-409C-BE32-E72D297353CC}">
                <c16:uniqueId val="{00000013-5A7E-4D40-97F4-29E539886161}"/>
              </c:ext>
            </c:extLst>
          </c:dPt>
          <c:dLbls>
            <c:dLbl>
              <c:idx val="0"/>
              <c:layout>
                <c:manualLayout>
                  <c:x val="6.1657821869478737E-3"/>
                  <c:y val="0.13842669871157015"/>
                </c:manualLayout>
              </c:layout>
              <c:tx>
                <c:rich>
                  <a:bodyPr rot="0" spcFirstLastPara="1" vertOverflow="ellipsis" vert="horz" wrap="square" lIns="38100" tIns="19050" rIns="38100" bIns="19050" anchor="ctr" anchorCtr="0">
                    <a:noAutofit/>
                  </a:bodyPr>
                  <a:lstStyle/>
                  <a:p>
                    <a:pPr algn="just">
                      <a:defRPr sz="1100" b="1" i="0" u="none" strike="noStrike" kern="1200" baseline="0">
                        <a:solidFill>
                          <a:schemeClr val="bg2"/>
                        </a:solidFill>
                        <a:latin typeface="Cambria" panose="02040503050406030204" pitchFamily="18" charset="0"/>
                        <a:ea typeface="+mn-ea"/>
                        <a:cs typeface="+mn-cs"/>
                      </a:defRPr>
                    </a:pPr>
                    <a:fld id="{497C7FFF-E645-4295-9B8C-E19928950DC0}" type="VALUE">
                      <a:rPr lang="en-US" sz="1100">
                        <a:solidFill>
                          <a:schemeClr val="bg1"/>
                        </a:solidFill>
                      </a:rPr>
                      <a:pPr algn="just">
                        <a:defRPr sz="1100" b="1">
                          <a:solidFill>
                            <a:schemeClr val="bg2"/>
                          </a:solidFill>
                          <a:latin typeface="Cambria" panose="02040503050406030204" pitchFamily="18" charset="0"/>
                        </a:defRPr>
                      </a:pPr>
                      <a:t>[VALUE]</a:t>
                    </a:fld>
                    <a:endParaRPr lang="en-US"/>
                  </a:p>
                </c:rich>
              </c:tx>
              <c:numFmt formatCode="#,##0.0" sourceLinked="0"/>
              <c:spPr>
                <a:noFill/>
                <a:ln>
                  <a:noFill/>
                </a:ln>
                <a:effectLst/>
              </c:spPr>
              <c:txPr>
                <a:bodyPr rot="0" spcFirstLastPara="1" vertOverflow="ellipsis" vert="horz" wrap="square" lIns="38100" tIns="19050" rIns="38100" bIns="19050" anchor="ctr" anchorCtr="0">
                  <a:noAutofit/>
                </a:bodyPr>
                <a:lstStyle/>
                <a:p>
                  <a:pPr algn="just">
                    <a:defRPr sz="1100" b="1" i="0" u="none" strike="noStrike" kern="1200" baseline="0">
                      <a:solidFill>
                        <a:schemeClr val="bg2"/>
                      </a:solidFill>
                      <a:latin typeface="Cambria" panose="02040503050406030204" pitchFamily="18"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3.8683013454974997E-2"/>
                      <c:h val="6.5302282532829686E-2"/>
                    </c:manualLayout>
                  </c15:layout>
                  <c15:dlblFieldTable/>
                  <c15:showDataLabelsRange val="0"/>
                </c:ext>
                <c:ext xmlns:c16="http://schemas.microsoft.com/office/drawing/2014/chart" uri="{C3380CC4-5D6E-409C-BE32-E72D297353CC}">
                  <c16:uniqueId val="{0000000E-8692-4203-8EDC-4AEE5BE1A1B5}"/>
                </c:ext>
              </c:extLst>
            </c:dLbl>
            <c:dLbl>
              <c:idx val="1"/>
              <c:layout>
                <c:manualLayout>
                  <c:x val="-2.2700006005828516E-3"/>
                  <c:y val="0.109489874718266"/>
                </c:manualLayout>
              </c:layout>
              <c:numFmt formatCode="#,##0.0" sourceLinked="0"/>
              <c:spPr>
                <a:noFill/>
                <a:ln>
                  <a:noFill/>
                </a:ln>
                <a:effectLst/>
              </c:spPr>
              <c:txPr>
                <a:bodyPr rot="0" spcFirstLastPara="1" vertOverflow="ellipsis" vert="horz" wrap="square" lIns="38100" tIns="19050" rIns="38100" bIns="19050" anchor="ctr" anchorCtr="0">
                  <a:noAutofit/>
                </a:bodyPr>
                <a:lstStyle/>
                <a:p>
                  <a:pPr algn="ctr">
                    <a:defRPr sz="1100" b="1" i="0" u="none" strike="noStrike" kern="1200" baseline="0">
                      <a:solidFill>
                        <a:schemeClr val="bg1"/>
                      </a:solidFill>
                      <a:latin typeface="Cambria" panose="02040503050406030204" pitchFamily="18"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4790253588959182E-2"/>
                      <c:h val="6.5236897725783088E-2"/>
                    </c:manualLayout>
                  </c15:layout>
                </c:ext>
                <c:ext xmlns:c16="http://schemas.microsoft.com/office/drawing/2014/chart" uri="{C3380CC4-5D6E-409C-BE32-E72D297353CC}">
                  <c16:uniqueId val="{00000001-8692-4203-8EDC-4AEE5BE1A1B5}"/>
                </c:ext>
              </c:extLst>
            </c:dLbl>
            <c:dLbl>
              <c:idx val="2"/>
              <c:tx>
                <c:rich>
                  <a:bodyPr/>
                  <a:lstStyle/>
                  <a:p>
                    <a:fld id="{3F791C7C-BD6C-4B9F-9C9C-D9F62FB86A3E}" type="VALUE">
                      <a:rPr lang="en-US">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72A-479A-8094-C0BF09D391F7}"/>
                </c:ext>
              </c:extLst>
            </c:dLbl>
            <c:dLbl>
              <c:idx val="3"/>
              <c:layout>
                <c:manualLayout>
                  <c:x val="-3.0267469096199075E-3"/>
                  <c:y val="8.641490976737926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A7E-4D40-97F4-29E539886161}"/>
                </c:ext>
              </c:extLst>
            </c:dLbl>
            <c:dLbl>
              <c:idx val="7"/>
              <c:layout>
                <c:manualLayout>
                  <c:x val="0"/>
                  <c:y val="7.417049374099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72A-479A-8094-C0BF09D391F7}"/>
                </c:ext>
              </c:extLst>
            </c:dLbl>
            <c:numFmt formatCode="#,##0.0" sourceLinked="0"/>
            <c:spPr>
              <a:noFill/>
              <a:ln>
                <a:noFill/>
              </a:ln>
              <a:effectLst/>
            </c:spPr>
            <c:txPr>
              <a:bodyPr rot="0" spcFirstLastPara="1" vertOverflow="ellipsis" vert="horz" wrap="square" lIns="38100" tIns="19050" rIns="38100" bIns="19050" anchor="ctr" anchorCtr="0">
                <a:spAutoFit/>
              </a:bodyPr>
              <a:lstStyle/>
              <a:p>
                <a:pPr algn="just">
                  <a:defRPr sz="1100" b="1" i="0" u="none" strike="noStrike" kern="1200" baseline="0">
                    <a:solidFill>
                      <a:schemeClr val="bg1"/>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N$7:$Y$7</c:f>
              <c:strCache>
                <c:ptCount val="10"/>
                <c:pt idx="0">
                  <c:v>2017</c:v>
                </c:pt>
                <c:pt idx="1">
                  <c:v>2018</c:v>
                </c:pt>
                <c:pt idx="2">
                  <c:v>2019</c:v>
                </c:pt>
                <c:pt idx="3">
                  <c:v>2020</c:v>
                </c:pt>
                <c:pt idx="4">
                  <c:v>2021</c:v>
                </c:pt>
                <c:pt idx="5">
                  <c:v>2022</c:v>
                </c:pt>
                <c:pt idx="6">
                  <c:v>2023</c:v>
                </c:pt>
                <c:pt idx="7">
                  <c:v>2024*</c:v>
                </c:pt>
                <c:pt idx="8">
                  <c:v>2025*</c:v>
                </c:pt>
                <c:pt idx="9">
                  <c:v>2026*</c:v>
                </c:pt>
              </c:strCache>
            </c:strRef>
          </c:cat>
          <c:val>
            <c:numRef>
              <c:f>Sheet1!$N$8:$Y$8</c:f>
              <c:numCache>
                <c:formatCode>General</c:formatCode>
                <c:ptCount val="10"/>
                <c:pt idx="0" formatCode="0.0">
                  <c:v>8.1999999999999993</c:v>
                </c:pt>
                <c:pt idx="1">
                  <c:v>6</c:v>
                </c:pt>
                <c:pt idx="2">
                  <c:v>3.9</c:v>
                </c:pt>
                <c:pt idx="3">
                  <c:v>-3.7</c:v>
                </c:pt>
                <c:pt idx="4" formatCode="0.0">
                  <c:v>5.7</c:v>
                </c:pt>
                <c:pt idx="5">
                  <c:v>4.0999999999999996</c:v>
                </c:pt>
                <c:pt idx="6">
                  <c:v>2.4</c:v>
                </c:pt>
                <c:pt idx="7">
                  <c:v>1</c:v>
                </c:pt>
                <c:pt idx="8">
                  <c:v>2.5</c:v>
                </c:pt>
                <c:pt idx="9">
                  <c:v>3</c:v>
                </c:pt>
              </c:numCache>
            </c:numRef>
          </c:val>
          <c:extLst>
            <c:ext xmlns:c16="http://schemas.microsoft.com/office/drawing/2014/chart" uri="{C3380CC4-5D6E-409C-BE32-E72D297353CC}">
              <c16:uniqueId val="{0000000F-8692-4203-8EDC-4AEE5BE1A1B5}"/>
            </c:ext>
          </c:extLst>
        </c:ser>
        <c:dLbls>
          <c:dLblPos val="outEnd"/>
          <c:showLegendKey val="0"/>
          <c:showVal val="1"/>
          <c:showCatName val="0"/>
          <c:showSerName val="0"/>
          <c:showPercent val="0"/>
          <c:showBubbleSize val="0"/>
        </c:dLbls>
        <c:gapWidth val="33"/>
        <c:overlap val="10"/>
        <c:axId val="744752504"/>
        <c:axId val="744752896"/>
      </c:barChart>
      <c:dateAx>
        <c:axId val="744752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0"/>
          <a:lstStyle/>
          <a:p>
            <a:pPr>
              <a:defRPr sz="1100" b="1" i="0" u="none" strike="noStrike" kern="1200" cap="none" spc="0" normalizeH="0" baseline="0">
                <a:solidFill>
                  <a:srgbClr val="4264D2"/>
                </a:solidFill>
                <a:latin typeface="Cambria" panose="02040503050406030204" pitchFamily="18" charset="0"/>
                <a:ea typeface="+mn-ea"/>
                <a:cs typeface="+mn-cs"/>
              </a:defRPr>
            </a:pPr>
            <a:endParaRPr lang="en-US"/>
          </a:p>
        </c:txPr>
        <c:crossAx val="744752896"/>
        <c:crosses val="autoZero"/>
        <c:auto val="0"/>
        <c:lblOffset val="100"/>
        <c:baseTimeUnit val="days"/>
      </c:dateAx>
      <c:valAx>
        <c:axId val="744752896"/>
        <c:scaling>
          <c:orientation val="minMax"/>
        </c:scaling>
        <c:delete val="1"/>
        <c:axPos val="l"/>
        <c:numFmt formatCode="0.0" sourceLinked="1"/>
        <c:majorTickMark val="out"/>
        <c:minorTickMark val="none"/>
        <c:tickLblPos val="nextTo"/>
        <c:crossAx val="74475250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600" b="0" i="0" u="none" strike="noStrike" kern="1200" spc="0" baseline="0">
                <a:solidFill>
                  <a:srgbClr val="000000">
                    <a:lumMod val="65000"/>
                    <a:lumOff val="35000"/>
                  </a:srgbClr>
                </a:solidFill>
                <a:latin typeface="+mn-lt"/>
                <a:ea typeface="+mn-ea"/>
                <a:cs typeface="+mn-cs"/>
              </a:defRPr>
            </a:pPr>
            <a:r>
              <a:rPr lang="en-US" sz="1300" b="1" dirty="0">
                <a:solidFill>
                  <a:srgbClr val="2846A8"/>
                </a:solidFill>
                <a:effectLst/>
                <a:latin typeface="Cambria" panose="02040503050406030204" pitchFamily="18" charset="0"/>
                <a:ea typeface="Cambria" panose="02040503050406030204" pitchFamily="18" charset="0"/>
              </a:rPr>
              <a:t>Market size evolution </a:t>
            </a:r>
            <a:r>
              <a:rPr lang="en-US" sz="1300" b="1" i="0" baseline="0" dirty="0">
                <a:solidFill>
                  <a:srgbClr val="2846A8"/>
                </a:solidFill>
                <a:effectLst/>
                <a:latin typeface="Cambria" panose="02040503050406030204" pitchFamily="18" charset="0"/>
                <a:ea typeface="Cambria" panose="02040503050406030204" pitchFamily="18" charset="0"/>
              </a:rPr>
              <a:t>(</a:t>
            </a:r>
            <a:r>
              <a:rPr lang="en-US" sz="1300" b="1" i="0" baseline="0" dirty="0" err="1">
                <a:solidFill>
                  <a:srgbClr val="2846A8"/>
                </a:solidFill>
                <a:effectLst/>
                <a:latin typeface="Cambria" panose="02040503050406030204" pitchFamily="18" charset="0"/>
                <a:ea typeface="Cambria" panose="02040503050406030204" pitchFamily="18" charset="0"/>
              </a:rPr>
              <a:t>Bn</a:t>
            </a:r>
            <a:r>
              <a:rPr lang="en-US" sz="1300" b="1" i="0" baseline="0" dirty="0">
                <a:solidFill>
                  <a:srgbClr val="2846A8"/>
                </a:solidFill>
                <a:effectLst/>
                <a:latin typeface="Cambria" panose="02040503050406030204" pitchFamily="18" charset="0"/>
                <a:ea typeface="Cambria" panose="02040503050406030204" pitchFamily="18" charset="0"/>
              </a:rPr>
              <a:t> </a:t>
            </a:r>
            <a:r>
              <a:rPr lang="en-US" sz="1300" b="1" dirty="0">
                <a:solidFill>
                  <a:srgbClr val="2846A8"/>
                </a:solidFill>
                <a:effectLst/>
                <a:latin typeface="Cambria" panose="02040503050406030204" pitchFamily="18" charset="0"/>
              </a:rPr>
              <a:t>€</a:t>
            </a:r>
            <a:r>
              <a:rPr lang="ro-RO" sz="1300" b="1" i="0" baseline="0" dirty="0">
                <a:solidFill>
                  <a:srgbClr val="2846A8"/>
                </a:solidFill>
                <a:effectLst/>
                <a:latin typeface="Cambria" panose="02040503050406030204" pitchFamily="18" charset="0"/>
                <a:ea typeface="Cambria" panose="02040503050406030204" pitchFamily="18" charset="0"/>
              </a:rPr>
              <a:t>)</a:t>
            </a:r>
            <a:r>
              <a:rPr lang="en-US" sz="1300" b="1" dirty="0">
                <a:solidFill>
                  <a:srgbClr val="2846A8"/>
                </a:solidFill>
                <a:effectLst/>
                <a:latin typeface="Cambria" panose="02040503050406030204" pitchFamily="18" charset="0"/>
                <a:ea typeface="Cambria" panose="02040503050406030204" pitchFamily="18" charset="0"/>
              </a:rPr>
              <a:t> </a:t>
            </a:r>
          </a:p>
        </c:rich>
      </c:tx>
      <c:layout>
        <c:manualLayout>
          <c:xMode val="edge"/>
          <c:yMode val="edge"/>
          <c:x val="0.3064249243325578"/>
          <c:y val="6.9659117644495949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600" b="0" i="0" u="none" strike="noStrike" kern="1200" spc="0" baseline="0">
              <a:solidFill>
                <a:srgbClr val="000000">
                  <a:lumMod val="65000"/>
                  <a:lumOff val="35000"/>
                </a:srgbClr>
              </a:solidFill>
              <a:latin typeface="+mn-lt"/>
              <a:ea typeface="+mn-ea"/>
              <a:cs typeface="+mn-cs"/>
            </a:defRPr>
          </a:pPr>
          <a:endParaRPr lang="en-US"/>
        </a:p>
      </c:txPr>
    </c:title>
    <c:autoTitleDeleted val="0"/>
    <c:plotArea>
      <c:layout>
        <c:manualLayout>
          <c:layoutTarget val="inner"/>
          <c:xMode val="edge"/>
          <c:yMode val="edge"/>
          <c:x val="2.6714158119538801E-2"/>
          <c:y val="0.14939308650151181"/>
          <c:w val="0.94856223171641907"/>
          <c:h val="0.66201758437099711"/>
        </c:manualLayout>
      </c:layout>
      <c:barChart>
        <c:barDir val="col"/>
        <c:grouping val="clustered"/>
        <c:varyColors val="0"/>
        <c:ser>
          <c:idx val="0"/>
          <c:order val="0"/>
          <c:tx>
            <c:strRef>
              <c:f>Sheet1!$A$2</c:f>
              <c:strCache>
                <c:ptCount val="1"/>
                <c:pt idx="0">
                  <c:v>Total</c:v>
                </c:pt>
              </c:strCache>
            </c:strRef>
          </c:tx>
          <c:spPr>
            <a:solidFill>
              <a:srgbClr val="CE325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F4C56"/>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10"/>
                <c:pt idx="0">
                  <c:v>2014</c:v>
                </c:pt>
                <c:pt idx="1">
                  <c:v>2015</c:v>
                </c:pt>
                <c:pt idx="2">
                  <c:v>2016</c:v>
                </c:pt>
                <c:pt idx="3">
                  <c:v>2017</c:v>
                </c:pt>
                <c:pt idx="4">
                  <c:v>2018</c:v>
                </c:pt>
                <c:pt idx="5">
                  <c:v>2019</c:v>
                </c:pt>
                <c:pt idx="6">
                  <c:v>2020</c:v>
                </c:pt>
                <c:pt idx="7">
                  <c:v>2021</c:v>
                </c:pt>
                <c:pt idx="8">
                  <c:v>2022</c:v>
                </c:pt>
                <c:pt idx="9">
                  <c:v>2023</c:v>
                </c:pt>
              </c:strCache>
            </c:strRef>
          </c:cat>
          <c:val>
            <c:numRef>
              <c:f>Sheet1!$B$2:$K$2</c:f>
              <c:numCache>
                <c:formatCode>0.00</c:formatCode>
                <c:ptCount val="10"/>
                <c:pt idx="0">
                  <c:v>16.77</c:v>
                </c:pt>
                <c:pt idx="1">
                  <c:v>15.46</c:v>
                </c:pt>
                <c:pt idx="2">
                  <c:v>15.44</c:v>
                </c:pt>
                <c:pt idx="3">
                  <c:v>17.18</c:v>
                </c:pt>
                <c:pt idx="4">
                  <c:v>18.55</c:v>
                </c:pt>
                <c:pt idx="5">
                  <c:v>18.96</c:v>
                </c:pt>
                <c:pt idx="6">
                  <c:v>16.82</c:v>
                </c:pt>
                <c:pt idx="7">
                  <c:v>21.1</c:v>
                </c:pt>
                <c:pt idx="8">
                  <c:v>22.21</c:v>
                </c:pt>
                <c:pt idx="9">
                  <c:v>23.75</c:v>
                </c:pt>
              </c:numCache>
            </c:numRef>
          </c:val>
          <c:extLst>
            <c:ext xmlns:c16="http://schemas.microsoft.com/office/drawing/2014/chart" uri="{C3380CC4-5D6E-409C-BE32-E72D297353CC}">
              <c16:uniqueId val="{00000000-E85A-4B5C-B773-E0156A5A0B2F}"/>
            </c:ext>
          </c:extLst>
        </c:ser>
        <c:ser>
          <c:idx val="1"/>
          <c:order val="1"/>
          <c:tx>
            <c:strRef>
              <c:f>Sheet1!$A$3</c:f>
              <c:strCache>
                <c:ptCount val="1"/>
                <c:pt idx="0">
                  <c:v>Crop output</c:v>
                </c:pt>
              </c:strCache>
            </c:strRef>
          </c:tx>
          <c:spPr>
            <a:solidFill>
              <a:srgbClr val="9E9A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9E9A00"/>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10"/>
                <c:pt idx="0">
                  <c:v>2014</c:v>
                </c:pt>
                <c:pt idx="1">
                  <c:v>2015</c:v>
                </c:pt>
                <c:pt idx="2">
                  <c:v>2016</c:v>
                </c:pt>
                <c:pt idx="3">
                  <c:v>2017</c:v>
                </c:pt>
                <c:pt idx="4">
                  <c:v>2018</c:v>
                </c:pt>
                <c:pt idx="5">
                  <c:v>2019</c:v>
                </c:pt>
                <c:pt idx="6">
                  <c:v>2020</c:v>
                </c:pt>
                <c:pt idx="7">
                  <c:v>2021</c:v>
                </c:pt>
                <c:pt idx="8">
                  <c:v>2022</c:v>
                </c:pt>
                <c:pt idx="9">
                  <c:v>2023</c:v>
                </c:pt>
              </c:strCache>
            </c:strRef>
          </c:cat>
          <c:val>
            <c:numRef>
              <c:f>Sheet1!$B$3:$K$3</c:f>
              <c:numCache>
                <c:formatCode>0.00</c:formatCode>
                <c:ptCount val="10"/>
                <c:pt idx="0">
                  <c:v>11.03</c:v>
                </c:pt>
                <c:pt idx="1">
                  <c:v>9.8000000000000007</c:v>
                </c:pt>
                <c:pt idx="2">
                  <c:v>10.050000000000001</c:v>
                </c:pt>
                <c:pt idx="3">
                  <c:v>11.64</c:v>
                </c:pt>
                <c:pt idx="4">
                  <c:v>13.15</c:v>
                </c:pt>
                <c:pt idx="5">
                  <c:v>13.26</c:v>
                </c:pt>
                <c:pt idx="6">
                  <c:v>10.91</c:v>
                </c:pt>
                <c:pt idx="7">
                  <c:v>15.02</c:v>
                </c:pt>
                <c:pt idx="8">
                  <c:v>14.58</c:v>
                </c:pt>
                <c:pt idx="9">
                  <c:v>14.69</c:v>
                </c:pt>
              </c:numCache>
            </c:numRef>
          </c:val>
          <c:extLst>
            <c:ext xmlns:c16="http://schemas.microsoft.com/office/drawing/2014/chart" uri="{C3380CC4-5D6E-409C-BE32-E72D297353CC}">
              <c16:uniqueId val="{00000001-E85A-4B5C-B773-E0156A5A0B2F}"/>
            </c:ext>
          </c:extLst>
        </c:ser>
        <c:dLbls>
          <c:dLblPos val="outEnd"/>
          <c:showLegendKey val="0"/>
          <c:showVal val="1"/>
          <c:showCatName val="0"/>
          <c:showSerName val="0"/>
          <c:showPercent val="0"/>
          <c:showBubbleSize val="0"/>
        </c:dLbls>
        <c:gapWidth val="100"/>
        <c:overlap val="-27"/>
        <c:axId val="616400856"/>
        <c:axId val="616397328"/>
      </c:barChart>
      <c:catAx>
        <c:axId val="616400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2846A8"/>
                </a:solidFill>
                <a:latin typeface="Cambria" panose="02040503050406030204" pitchFamily="18" charset="0"/>
                <a:ea typeface="Cambria" panose="02040503050406030204" pitchFamily="18" charset="0"/>
                <a:cs typeface="+mn-cs"/>
              </a:defRPr>
            </a:pPr>
            <a:endParaRPr lang="en-US"/>
          </a:p>
        </c:txPr>
        <c:crossAx val="616397328"/>
        <c:crosses val="autoZero"/>
        <c:auto val="1"/>
        <c:lblAlgn val="ctr"/>
        <c:lblOffset val="100"/>
        <c:noMultiLvlLbl val="0"/>
      </c:catAx>
      <c:valAx>
        <c:axId val="616397328"/>
        <c:scaling>
          <c:orientation val="minMax"/>
        </c:scaling>
        <c:delete val="1"/>
        <c:axPos val="l"/>
        <c:numFmt formatCode="0.00" sourceLinked="1"/>
        <c:majorTickMark val="none"/>
        <c:minorTickMark val="none"/>
        <c:tickLblPos val="nextTo"/>
        <c:crossAx val="61640085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rgbClr val="2846A8"/>
                </a:solidFill>
                <a:latin typeface="Cambria" panose="02040503050406030204" pitchFamily="18" charset="0"/>
                <a:ea typeface="Cambria" panose="02040503050406030204" pitchFamily="18" charset="0"/>
                <a:cs typeface="+mn-cs"/>
              </a:defRPr>
            </a:pPr>
            <a:endParaRPr lang="en-US"/>
          </a:p>
        </c:txPr>
      </c:legendEntry>
      <c:legendEntry>
        <c:idx val="1"/>
        <c:txPr>
          <a:bodyPr rot="0" spcFirstLastPara="1" vertOverflow="ellipsis" vert="horz" wrap="square" anchor="ctr" anchorCtr="1"/>
          <a:lstStyle/>
          <a:p>
            <a:pPr>
              <a:defRPr sz="900" b="0" i="0" u="none" strike="noStrike" kern="1200" baseline="0">
                <a:solidFill>
                  <a:srgbClr val="2846A8"/>
                </a:solidFill>
                <a:latin typeface="Cambria" panose="02040503050406030204" pitchFamily="18" charset="0"/>
                <a:ea typeface="Cambria" panose="02040503050406030204" pitchFamily="18" charset="0"/>
                <a:cs typeface="+mn-cs"/>
              </a:defRPr>
            </a:pPr>
            <a:endParaRPr lang="en-US"/>
          </a:p>
        </c:txPr>
      </c:legendEntry>
      <c:layout>
        <c:manualLayout>
          <c:xMode val="edge"/>
          <c:yMode val="edge"/>
          <c:x val="0.37419892952443673"/>
          <c:y val="0.92664253636916261"/>
          <c:w val="0.24898313812598064"/>
          <c:h val="7.33572286957088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8474155489719362"/>
        </c:manualLayout>
      </c:layout>
      <c:barChart>
        <c:barDir val="col"/>
        <c:grouping val="clustered"/>
        <c:varyColors val="0"/>
        <c:ser>
          <c:idx val="0"/>
          <c:order val="0"/>
          <c:tx>
            <c:strRef>
              <c:f>TEMPO_AMG157A_30_1_2017!$D$1:$O$1</c:f>
              <c:strCache>
                <c:ptCount val="12"/>
                <c:pt idx="0">
                  <c:v>2017</c:v>
                </c:pt>
                <c:pt idx="1">
                  <c:v>2018</c:v>
                </c:pt>
                <c:pt idx="2">
                  <c:v>2019</c:v>
                </c:pt>
                <c:pt idx="3">
                  <c:v>2020</c:v>
                </c:pt>
                <c:pt idx="4">
                  <c:v>2021</c:v>
                </c:pt>
                <c:pt idx="5">
                  <c:v>2022</c:v>
                </c:pt>
                <c:pt idx="6">
                  <c:v>2023</c:v>
                </c:pt>
                <c:pt idx="7">
                  <c:v>2024*</c:v>
                </c:pt>
                <c:pt idx="8">
                  <c:v>2025*</c:v>
                </c:pt>
                <c:pt idx="9">
                  <c:v>2026*</c:v>
                </c:pt>
                <c:pt idx="10">
                  <c:v>2027*</c:v>
                </c:pt>
                <c:pt idx="11">
                  <c:v>2028*</c:v>
                </c:pt>
              </c:strCache>
            </c:strRef>
          </c:tx>
          <c:spPr>
            <a:solidFill>
              <a:srgbClr val="000066"/>
            </a:solidFill>
            <a:ln>
              <a:noFill/>
            </a:ln>
            <a:effectLst/>
          </c:spPr>
          <c:invertIfNegative val="0"/>
          <c:dPt>
            <c:idx val="4"/>
            <c:invertIfNegative val="0"/>
            <c:bubble3D val="0"/>
            <c:extLst>
              <c:ext xmlns:c16="http://schemas.microsoft.com/office/drawing/2014/chart" uri="{C3380CC4-5D6E-409C-BE32-E72D297353CC}">
                <c16:uniqueId val="{00000000-0BEF-4608-8AC0-D413188ABEAD}"/>
              </c:ext>
            </c:extLst>
          </c:dPt>
          <c:dPt>
            <c:idx val="6"/>
            <c:invertIfNegative val="0"/>
            <c:bubble3D val="0"/>
            <c:extLst>
              <c:ext xmlns:c16="http://schemas.microsoft.com/office/drawing/2014/chart" uri="{C3380CC4-5D6E-409C-BE32-E72D297353CC}">
                <c16:uniqueId val="{00000001-0BEF-4608-8AC0-D413188ABEAD}"/>
              </c:ext>
            </c:extLst>
          </c:dPt>
          <c:dPt>
            <c:idx val="7"/>
            <c:invertIfNegative val="0"/>
            <c:bubble3D val="0"/>
            <c:spPr>
              <a:solidFill>
                <a:srgbClr val="4670F8"/>
              </a:solidFill>
              <a:ln>
                <a:noFill/>
              </a:ln>
              <a:effectLst/>
            </c:spPr>
            <c:extLst>
              <c:ext xmlns:c16="http://schemas.microsoft.com/office/drawing/2014/chart" uri="{C3380CC4-5D6E-409C-BE32-E72D297353CC}">
                <c16:uniqueId val="{00000002-0BEF-4608-8AC0-D413188ABEAD}"/>
              </c:ext>
            </c:extLst>
          </c:dPt>
          <c:dPt>
            <c:idx val="8"/>
            <c:invertIfNegative val="0"/>
            <c:bubble3D val="0"/>
            <c:spPr>
              <a:solidFill>
                <a:srgbClr val="4670F8"/>
              </a:solidFill>
              <a:ln>
                <a:noFill/>
              </a:ln>
              <a:effectLst/>
            </c:spPr>
            <c:extLst>
              <c:ext xmlns:c16="http://schemas.microsoft.com/office/drawing/2014/chart" uri="{C3380CC4-5D6E-409C-BE32-E72D297353CC}">
                <c16:uniqueId val="{00000003-0BEF-4608-8AC0-D413188ABEAD}"/>
              </c:ext>
            </c:extLst>
          </c:dPt>
          <c:dPt>
            <c:idx val="9"/>
            <c:invertIfNegative val="0"/>
            <c:bubble3D val="0"/>
            <c:spPr>
              <a:solidFill>
                <a:srgbClr val="4670F8"/>
              </a:solidFill>
              <a:ln>
                <a:noFill/>
              </a:ln>
              <a:effectLst/>
            </c:spPr>
            <c:extLst>
              <c:ext xmlns:c16="http://schemas.microsoft.com/office/drawing/2014/chart" uri="{C3380CC4-5D6E-409C-BE32-E72D297353CC}">
                <c16:uniqueId val="{00000013-0BEF-4608-8AC0-D413188ABEAD}"/>
              </c:ext>
            </c:extLst>
          </c:dPt>
          <c:dPt>
            <c:idx val="10"/>
            <c:invertIfNegative val="0"/>
            <c:bubble3D val="0"/>
            <c:spPr>
              <a:solidFill>
                <a:srgbClr val="4670F8"/>
              </a:solidFill>
              <a:ln>
                <a:noFill/>
              </a:ln>
              <a:effectLst/>
            </c:spPr>
            <c:extLst>
              <c:ext xmlns:c16="http://schemas.microsoft.com/office/drawing/2014/chart" uri="{C3380CC4-5D6E-409C-BE32-E72D297353CC}">
                <c16:uniqueId val="{00000005-0BEF-4608-8AC0-D413188ABEAD}"/>
              </c:ext>
            </c:extLst>
          </c:dPt>
          <c:dPt>
            <c:idx val="11"/>
            <c:invertIfNegative val="0"/>
            <c:bubble3D val="0"/>
            <c:spPr>
              <a:solidFill>
                <a:srgbClr val="4670F8"/>
              </a:solidFill>
              <a:ln>
                <a:noFill/>
              </a:ln>
              <a:effectLst/>
            </c:spPr>
            <c:extLst>
              <c:ext xmlns:c16="http://schemas.microsoft.com/office/drawing/2014/chart" uri="{C3380CC4-5D6E-409C-BE32-E72D297353CC}">
                <c16:uniqueId val="{00000007-0BEF-4608-8AC0-D413188ABEAD}"/>
              </c:ext>
            </c:extLst>
          </c:dPt>
          <c:dPt>
            <c:idx val="13"/>
            <c:invertIfNegative val="0"/>
            <c:bubble3D val="0"/>
            <c:extLst>
              <c:ext xmlns:c16="http://schemas.microsoft.com/office/drawing/2014/chart" uri="{C3380CC4-5D6E-409C-BE32-E72D297353CC}">
                <c16:uniqueId val="{00000008-0BEF-4608-8AC0-D413188ABEAD}"/>
              </c:ext>
            </c:extLst>
          </c:dPt>
          <c:dPt>
            <c:idx val="14"/>
            <c:invertIfNegative val="0"/>
            <c:bubble3D val="0"/>
            <c:extLst>
              <c:ext xmlns:c16="http://schemas.microsoft.com/office/drawing/2014/chart" uri="{C3380CC4-5D6E-409C-BE32-E72D297353CC}">
                <c16:uniqueId val="{00000009-0BEF-4608-8AC0-D413188ABEAD}"/>
              </c:ext>
            </c:extLst>
          </c:dPt>
          <c:dPt>
            <c:idx val="16"/>
            <c:invertIfNegative val="0"/>
            <c:bubble3D val="0"/>
            <c:spPr>
              <a:solidFill>
                <a:srgbClr val="284DC5"/>
              </a:solidFill>
              <a:ln>
                <a:noFill/>
              </a:ln>
              <a:effectLst/>
            </c:spPr>
            <c:extLst>
              <c:ext xmlns:c16="http://schemas.microsoft.com/office/drawing/2014/chart" uri="{C3380CC4-5D6E-409C-BE32-E72D297353CC}">
                <c16:uniqueId val="{0000000B-0BEF-4608-8AC0-D413188ABEAD}"/>
              </c:ext>
            </c:extLst>
          </c:dPt>
          <c:dPt>
            <c:idx val="17"/>
            <c:invertIfNegative val="0"/>
            <c:bubble3D val="0"/>
            <c:spPr>
              <a:solidFill>
                <a:srgbClr val="284DC5"/>
              </a:solidFill>
              <a:ln>
                <a:noFill/>
              </a:ln>
              <a:effectLst/>
            </c:spPr>
            <c:extLst>
              <c:ext xmlns:c16="http://schemas.microsoft.com/office/drawing/2014/chart" uri="{C3380CC4-5D6E-409C-BE32-E72D297353CC}">
                <c16:uniqueId val="{0000000D-0BEF-4608-8AC0-D413188ABEAD}"/>
              </c:ext>
            </c:extLst>
          </c:dPt>
          <c:dLbls>
            <c:dLbl>
              <c:idx val="0"/>
              <c:layout>
                <c:manualLayout>
                  <c:x val="7.3791887125220456E-4"/>
                  <c:y val="9.5117796838824653E-2"/>
                </c:manualLayout>
              </c:layout>
              <c:spPr>
                <a:noFill/>
                <a:ln>
                  <a:noFill/>
                </a:ln>
                <a:effectLst/>
              </c:spPr>
              <c:txPr>
                <a:bodyPr vertOverflow="overflow" horzOverflow="overflow" wrap="square" lIns="38100" tIns="19050" rIns="38100" bIns="19050" anchor="ctr" anchorCtr="0">
                  <a:no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0276425631981187E-2"/>
                      <c:h val="9.659023624659667E-2"/>
                    </c:manualLayout>
                  </c15:layout>
                </c:ext>
                <c:ext xmlns:c16="http://schemas.microsoft.com/office/drawing/2014/chart" uri="{C3380CC4-5D6E-409C-BE32-E72D297353CC}">
                  <c16:uniqueId val="{0000000E-0BEF-4608-8AC0-D413188ABEAD}"/>
                </c:ext>
              </c:extLst>
            </c:dLbl>
            <c:dLbl>
              <c:idx val="1"/>
              <c:layout>
                <c:manualLayout>
                  <c:x val="1.4932392710170488E-3"/>
                  <c:y val="0.17539153295467216"/>
                </c:manualLayout>
              </c:layout>
              <c:tx>
                <c:rich>
                  <a:bodyPr vertOverflow="overflow" horzOverflow="overflow" wrap="square" lIns="38100" tIns="19050" rIns="38100" bIns="19050" anchor="ctr" anchorCtr="0">
                    <a:spAutoFit/>
                  </a:bodyPr>
                  <a:lstStyle/>
                  <a:p>
                    <a:pPr>
                      <a:defRPr sz="1100" b="1">
                        <a:solidFill>
                          <a:srgbClr val="000066"/>
                        </a:solidFill>
                        <a:latin typeface="Cambria" panose="02040503050406030204" pitchFamily="18" charset="0"/>
                        <a:ea typeface="Cambria" panose="02040503050406030204" pitchFamily="18" charset="0"/>
                        <a:cs typeface="Calibri" panose="020F0502020204030204" pitchFamily="34" charset="0"/>
                      </a:defRPr>
                    </a:pPr>
                    <a:fld id="{04705C49-2C0E-4B07-9EA6-18FCCE6EF5A6}" type="VALUE">
                      <a:rPr lang="en-US">
                        <a:solidFill>
                          <a:schemeClr val="bg1"/>
                        </a:solidFill>
                      </a:rPr>
                      <a:pPr>
                        <a:defRPr sz="1100" b="1">
                          <a:solidFill>
                            <a:srgbClr val="000066"/>
                          </a:solidFill>
                          <a:latin typeface="Cambria" panose="02040503050406030204" pitchFamily="18" charset="0"/>
                          <a:ea typeface="Cambria" panose="02040503050406030204" pitchFamily="18" charset="0"/>
                          <a:cs typeface="Calibri" panose="020F0502020204030204" pitchFamily="34" charset="0"/>
                        </a:defRPr>
                      </a:pPr>
                      <a:t>[VALUE]</a:t>
                    </a:fld>
                    <a:endParaRPr lang="en-US"/>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0BEF-4608-8AC0-D413188ABEAD}"/>
                </c:ext>
              </c:extLst>
            </c:dLbl>
            <c:dLbl>
              <c:idx val="2"/>
              <c:layout>
                <c:manualLayout>
                  <c:x val="-2.9864785420340976E-3"/>
                  <c:y val="0.13035404761665284"/>
                </c:manualLayout>
              </c:layout>
              <c:tx>
                <c:rich>
                  <a:bodyPr vertOverflow="overflow" horzOverflow="overflow" wrap="square" lIns="38100" tIns="19050" rIns="38100" bIns="19050" anchor="ctr" anchorCtr="0">
                    <a:no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fld id="{6CA3972F-4384-4621-BFA9-E6C89F615D65}" type="VALUE">
                      <a:rPr lang="en-US">
                        <a:solidFill>
                          <a:schemeClr val="bg1"/>
                        </a:solidFill>
                      </a:rPr>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t>[VALUE]</a:t>
                    </a:fld>
                    <a:endParaRPr lang="en-US"/>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layout>
                    <c:manualLayout>
                      <c:w val="5.6115931804820697E-2"/>
                      <c:h val="6.6271433792027615E-2"/>
                    </c:manualLayout>
                  </c15:layout>
                  <c15:dlblFieldTable/>
                  <c15:showDataLabelsRange val="0"/>
                </c:ext>
                <c:ext xmlns:c16="http://schemas.microsoft.com/office/drawing/2014/chart" uri="{C3380CC4-5D6E-409C-BE32-E72D297353CC}">
                  <c16:uniqueId val="{00000010-0BEF-4608-8AC0-D413188ABEAD}"/>
                </c:ext>
              </c:extLst>
            </c:dLbl>
            <c:dLbl>
              <c:idx val="3"/>
              <c:layout>
                <c:manualLayout>
                  <c:x val="-7.3786008230452671E-4"/>
                  <c:y val="0.12234090703358377"/>
                </c:manualLayout>
              </c:layout>
              <c:spPr>
                <a:noFill/>
                <a:ln>
                  <a:noFill/>
                </a:ln>
                <a:effectLst/>
              </c:spPr>
              <c:txPr>
                <a:bodyPr vertOverflow="overflow" horzOverflow="overflow" wrap="square" lIns="38100" tIns="19050" rIns="38100" bIns="19050" anchor="ctr" anchorCtr="0">
                  <a:no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5.4182128159905932E-2"/>
                      <c:h val="7.7724182820589072E-2"/>
                    </c:manualLayout>
                  </c15:layout>
                </c:ext>
                <c:ext xmlns:c16="http://schemas.microsoft.com/office/drawing/2014/chart" uri="{C3380CC4-5D6E-409C-BE32-E72D297353CC}">
                  <c16:uniqueId val="{00000011-0BEF-4608-8AC0-D413188ABEAD}"/>
                </c:ext>
              </c:extLst>
            </c:dLbl>
            <c:dLbl>
              <c:idx val="4"/>
              <c:layout>
                <c:manualLayout>
                  <c:x val="1.4932392710169939E-3"/>
                  <c:y val="0.1279580800265149"/>
                </c:manualLayout>
              </c:layout>
              <c:numFmt formatCode="#,##0.0" sourceLinked="0"/>
              <c:spPr>
                <a:noFill/>
                <a:ln>
                  <a:noFill/>
                </a:ln>
                <a:effectLst/>
              </c:spPr>
              <c:txPr>
                <a:bodyPr vertOverflow="overflow" horzOverflow="overflow" wrap="square" lIns="38100" tIns="19050" rIns="38100" bIns="19050" anchor="ctr" anchorCtr="0">
                  <a:no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3.2224103468547913E-2"/>
                      <c:h val="9.1795824198194667E-2"/>
                    </c:manualLayout>
                  </c15:layout>
                </c:ext>
                <c:ext xmlns:c16="http://schemas.microsoft.com/office/drawing/2014/chart" uri="{C3380CC4-5D6E-409C-BE32-E72D297353CC}">
                  <c16:uniqueId val="{00000000-0BEF-4608-8AC0-D413188ABEAD}"/>
                </c:ext>
              </c:extLst>
            </c:dLbl>
            <c:dLbl>
              <c:idx val="5"/>
              <c:layout>
                <c:manualLayout>
                  <c:x val="0"/>
                  <c:y val="0.11973851025177167"/>
                </c:manualLayout>
              </c:layout>
              <c:tx>
                <c:rich>
                  <a:bodyPr/>
                  <a:lstStyle/>
                  <a:p>
                    <a:fld id="{4655FA4A-8160-40A8-9D49-A870E46BC5F5}" type="VALUE">
                      <a:rPr lang="en-US">
                        <a:solidFill>
                          <a:schemeClr val="bg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0BEF-4608-8AC0-D413188ABEAD}"/>
                </c:ext>
              </c:extLst>
            </c:dLbl>
            <c:dLbl>
              <c:idx val="6"/>
              <c:layout>
                <c:manualLayout>
                  <c:x val="-1.4932392710170488E-3"/>
                  <c:y val="0.11679916930211127"/>
                </c:manualLayout>
              </c:layout>
              <c:numFmt formatCode="#,##0.0" sourceLinked="0"/>
              <c:spPr>
                <a:noFill/>
                <a:ln>
                  <a:noFill/>
                </a:ln>
                <a:effectLst/>
              </c:spPr>
              <c:txPr>
                <a:bodyPr vertOverflow="overflow" horzOverflow="overflow" wrap="square" lIns="38100" tIns="19050" rIns="38100" bIns="19050" anchor="ctr" anchorCtr="0">
                  <a:sp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EF-4608-8AC0-D413188ABEAD}"/>
                </c:ext>
              </c:extLst>
            </c:dLbl>
            <c:dLbl>
              <c:idx val="7"/>
              <c:layout>
                <c:manualLayout>
                  <c:x val="0"/>
                  <c:y val="0.14095350651994426"/>
                </c:manualLayout>
              </c:layout>
              <c:numFmt formatCode="#,##0.0" sourceLinked="0"/>
              <c:spPr>
                <a:noFill/>
                <a:ln>
                  <a:noFill/>
                </a:ln>
                <a:effectLst/>
              </c:spPr>
              <c:txPr>
                <a:bodyPr vertOverflow="overflow" horzOverflow="overflow" wrap="square" lIns="38100" tIns="19050" rIns="38100" bIns="19050" anchor="ctr" anchorCtr="0">
                  <a:sp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BEF-4608-8AC0-D413188ABEAD}"/>
                </c:ext>
              </c:extLst>
            </c:dLbl>
            <c:dLbl>
              <c:idx val="8"/>
              <c:layout>
                <c:manualLayout>
                  <c:x val="0"/>
                  <c:y val="0.12791402171752997"/>
                </c:manualLayout>
              </c:layout>
              <c:tx>
                <c:rich>
                  <a:bodyPr/>
                  <a:lstStyle/>
                  <a:p>
                    <a:fld id="{BEF48DC1-EED3-4989-B1F3-318509E384C6}" type="VALUE">
                      <a:rPr lang="en-US">
                        <a:solidFill>
                          <a:schemeClr val="bg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BEF-4608-8AC0-D413188ABEAD}"/>
                </c:ext>
              </c:extLst>
            </c:dLbl>
            <c:dLbl>
              <c:idx val="9"/>
              <c:layout>
                <c:manualLayout>
                  <c:x val="-1.0950294822051481E-16"/>
                  <c:y val="0.1420831531268754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BEF-4608-8AC0-D413188ABEAD}"/>
                </c:ext>
              </c:extLst>
            </c:dLbl>
            <c:dLbl>
              <c:idx val="10"/>
              <c:layout>
                <c:manualLayout>
                  <c:x val="2.2398001175778955E-3"/>
                  <c:y val="0.12043458486752501"/>
                </c:manualLayout>
              </c:layout>
              <c:spPr>
                <a:noFill/>
                <a:ln>
                  <a:noFill/>
                </a:ln>
                <a:effectLst/>
              </c:spPr>
              <c:txPr>
                <a:bodyPr vertOverflow="overflow" horzOverflow="overflow" wrap="square" lIns="38100" tIns="19050" rIns="38100" bIns="19050" anchor="ctr" anchorCtr="0">
                  <a:no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4.8649735449735443E-2"/>
                      <c:h val="9.1795824198194667E-2"/>
                    </c:manualLayout>
                  </c15:layout>
                </c:ext>
                <c:ext xmlns:c16="http://schemas.microsoft.com/office/drawing/2014/chart" uri="{C3380CC4-5D6E-409C-BE32-E72D297353CC}">
                  <c16:uniqueId val="{00000005-0BEF-4608-8AC0-D413188ABEAD}"/>
                </c:ext>
              </c:extLst>
            </c:dLbl>
            <c:spPr>
              <a:noFill/>
              <a:ln>
                <a:noFill/>
              </a:ln>
              <a:effectLst/>
            </c:spPr>
            <c:txPr>
              <a:bodyPr vertOverflow="overflow" horzOverflow="overflow" wrap="square" lIns="38100" tIns="19050" rIns="38100" bIns="19050" anchor="ctr" anchorCtr="0">
                <a:spAutoFit/>
              </a:bodyPr>
              <a:lstStyle/>
              <a:p>
                <a:pPr>
                  <a:defRPr sz="1100" b="1">
                    <a:solidFill>
                      <a:schemeClr val="bg1"/>
                    </a:solidFill>
                    <a:latin typeface="Cambria" panose="02040503050406030204" pitchFamily="18" charset="0"/>
                    <a:ea typeface="Cambria" panose="02040503050406030204" pitchFamily="18" charset="0"/>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EMPO_AMG157A_30_1_2017!$D$1:$O$1</c:f>
              <c:strCache>
                <c:ptCount val="12"/>
                <c:pt idx="0">
                  <c:v>2017</c:v>
                </c:pt>
                <c:pt idx="1">
                  <c:v>2018</c:v>
                </c:pt>
                <c:pt idx="2">
                  <c:v>2019</c:v>
                </c:pt>
                <c:pt idx="3">
                  <c:v>2020</c:v>
                </c:pt>
                <c:pt idx="4">
                  <c:v>2021</c:v>
                </c:pt>
                <c:pt idx="5">
                  <c:v>2022</c:v>
                </c:pt>
                <c:pt idx="6">
                  <c:v>2023</c:v>
                </c:pt>
                <c:pt idx="7">
                  <c:v>2024*</c:v>
                </c:pt>
                <c:pt idx="8">
                  <c:v>2025*</c:v>
                </c:pt>
                <c:pt idx="9">
                  <c:v>2026*</c:v>
                </c:pt>
                <c:pt idx="10">
                  <c:v>2027*</c:v>
                </c:pt>
                <c:pt idx="11">
                  <c:v>2028*</c:v>
                </c:pt>
              </c:strCache>
            </c:strRef>
          </c:cat>
          <c:val>
            <c:numRef>
              <c:f>TEMPO_AMG157A_30_1_2017!$D$2:$O$2</c:f>
              <c:numCache>
                <c:formatCode>0.0</c:formatCode>
                <c:ptCount val="12"/>
                <c:pt idx="0">
                  <c:v>1.3</c:v>
                </c:pt>
                <c:pt idx="1">
                  <c:v>4.5999999999999996</c:v>
                </c:pt>
                <c:pt idx="2">
                  <c:v>3.8</c:v>
                </c:pt>
                <c:pt idx="3">
                  <c:v>2.6</c:v>
                </c:pt>
                <c:pt idx="4">
                  <c:v>5.0999999999999996</c:v>
                </c:pt>
                <c:pt idx="5">
                  <c:v>13.8</c:v>
                </c:pt>
                <c:pt idx="6">
                  <c:v>10.4</c:v>
                </c:pt>
                <c:pt idx="7">
                  <c:v>5.6</c:v>
                </c:pt>
                <c:pt idx="8">
                  <c:v>4.4000000000000004</c:v>
                </c:pt>
                <c:pt idx="9">
                  <c:v>3.3</c:v>
                </c:pt>
                <c:pt idx="10">
                  <c:v>3</c:v>
                </c:pt>
                <c:pt idx="11">
                  <c:v>3</c:v>
                </c:pt>
              </c:numCache>
            </c:numRef>
          </c:val>
          <c:extLst>
            <c:ext xmlns:c16="http://schemas.microsoft.com/office/drawing/2014/chart" uri="{C3380CC4-5D6E-409C-BE32-E72D297353CC}">
              <c16:uniqueId val="{00000012-F234-461A-8888-3179F851C3C7}"/>
            </c:ext>
          </c:extLst>
        </c:ser>
        <c:dLbls>
          <c:dLblPos val="outEnd"/>
          <c:showLegendKey val="0"/>
          <c:showVal val="1"/>
          <c:showCatName val="0"/>
          <c:showSerName val="0"/>
          <c:showPercent val="0"/>
          <c:showBubbleSize val="0"/>
        </c:dLbls>
        <c:gapWidth val="50"/>
        <c:overlap val="25"/>
        <c:axId val="744761128"/>
        <c:axId val="744761520"/>
      </c:barChart>
      <c:catAx>
        <c:axId val="744761128"/>
        <c:scaling>
          <c:orientation val="minMax"/>
        </c:scaling>
        <c:delete val="0"/>
        <c:axPos val="b"/>
        <c:numFmt formatCode="General" sourceLinked="1"/>
        <c:majorTickMark val="out"/>
        <c:minorTickMark val="none"/>
        <c:tickLblPos val="nextTo"/>
        <c:spPr>
          <a:noFill/>
          <a:ln w="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rgbClr val="002060"/>
                </a:solidFill>
                <a:latin typeface="Cambria" panose="02040503050406030204" pitchFamily="18" charset="0"/>
                <a:ea typeface="+mn-ea"/>
                <a:cs typeface="+mn-cs"/>
              </a:defRPr>
            </a:pPr>
            <a:endParaRPr lang="en-US"/>
          </a:p>
        </c:txPr>
        <c:crossAx val="744761520"/>
        <c:crosses val="autoZero"/>
        <c:auto val="1"/>
        <c:lblAlgn val="ctr"/>
        <c:lblOffset val="100"/>
        <c:tickLblSkip val="1"/>
        <c:noMultiLvlLbl val="0"/>
      </c:catAx>
      <c:valAx>
        <c:axId val="744761520"/>
        <c:scaling>
          <c:orientation val="minMax"/>
        </c:scaling>
        <c:delete val="1"/>
        <c:axPos val="l"/>
        <c:numFmt formatCode="0.0" sourceLinked="1"/>
        <c:majorTickMark val="none"/>
        <c:minorTickMark val="none"/>
        <c:tickLblPos val="nextTo"/>
        <c:crossAx val="7447611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
          <c:y val="6.1509704352160502E-3"/>
          <c:w val="1"/>
          <c:h val="0.83059909288510392"/>
        </c:manualLayout>
      </c:layout>
      <c:barChart>
        <c:barDir val="col"/>
        <c:grouping val="clustered"/>
        <c:varyColors val="0"/>
        <c:ser>
          <c:idx val="0"/>
          <c:order val="0"/>
          <c:tx>
            <c:strRef>
              <c:f>TEMPO_AMG157A_30_1_2017!$D$1:$O$1</c:f>
              <c:strCache>
                <c:ptCount val="12"/>
                <c:pt idx="0">
                  <c:v>2017</c:v>
                </c:pt>
                <c:pt idx="1">
                  <c:v>2018</c:v>
                </c:pt>
                <c:pt idx="2">
                  <c:v>2019</c:v>
                </c:pt>
                <c:pt idx="3">
                  <c:v>2020</c:v>
                </c:pt>
                <c:pt idx="4">
                  <c:v>2021</c:v>
                </c:pt>
                <c:pt idx="5">
                  <c:v>2022</c:v>
                </c:pt>
                <c:pt idx="6">
                  <c:v>2023</c:v>
                </c:pt>
                <c:pt idx="7">
                  <c:v>2024*</c:v>
                </c:pt>
                <c:pt idx="8">
                  <c:v>2025*</c:v>
                </c:pt>
                <c:pt idx="9">
                  <c:v>2026*</c:v>
                </c:pt>
                <c:pt idx="10">
                  <c:v>2027*</c:v>
                </c:pt>
                <c:pt idx="11">
                  <c:v>2028*</c:v>
                </c:pt>
              </c:strCache>
            </c:strRef>
          </c:tx>
          <c:spPr>
            <a:solidFill>
              <a:srgbClr val="005400"/>
            </a:solidFill>
            <a:ln>
              <a:noFill/>
            </a:ln>
            <a:effectLst/>
          </c:spPr>
          <c:invertIfNegative val="0"/>
          <c:dPt>
            <c:idx val="4"/>
            <c:invertIfNegative val="0"/>
            <c:bubble3D val="0"/>
            <c:spPr>
              <a:solidFill>
                <a:srgbClr val="005400"/>
              </a:solidFill>
              <a:ln>
                <a:noFill/>
              </a:ln>
              <a:effectLst/>
            </c:spPr>
            <c:extLst>
              <c:ext xmlns:c16="http://schemas.microsoft.com/office/drawing/2014/chart" uri="{C3380CC4-5D6E-409C-BE32-E72D297353CC}">
                <c16:uniqueId val="{00000001-8854-4AEF-87E3-AA54BF3A2624}"/>
              </c:ext>
            </c:extLst>
          </c:dPt>
          <c:dPt>
            <c:idx val="5"/>
            <c:invertIfNegative val="0"/>
            <c:bubble3D val="0"/>
            <c:spPr>
              <a:solidFill>
                <a:srgbClr val="005400"/>
              </a:solidFill>
              <a:ln>
                <a:noFill/>
              </a:ln>
              <a:effectLst/>
            </c:spPr>
            <c:extLst>
              <c:ext xmlns:c16="http://schemas.microsoft.com/office/drawing/2014/chart" uri="{C3380CC4-5D6E-409C-BE32-E72D297353CC}">
                <c16:uniqueId val="{00000003-8854-4AEF-87E3-AA54BF3A2624}"/>
              </c:ext>
            </c:extLst>
          </c:dPt>
          <c:dPt>
            <c:idx val="6"/>
            <c:invertIfNegative val="0"/>
            <c:bubble3D val="0"/>
            <c:spPr>
              <a:solidFill>
                <a:srgbClr val="005400"/>
              </a:solidFill>
              <a:ln>
                <a:noFill/>
              </a:ln>
              <a:effectLst/>
            </c:spPr>
            <c:extLst>
              <c:ext xmlns:c16="http://schemas.microsoft.com/office/drawing/2014/chart" uri="{C3380CC4-5D6E-409C-BE32-E72D297353CC}">
                <c16:uniqueId val="{00000005-8854-4AEF-87E3-AA54BF3A2624}"/>
              </c:ext>
            </c:extLst>
          </c:dPt>
          <c:dPt>
            <c:idx val="7"/>
            <c:invertIfNegative val="0"/>
            <c:bubble3D val="0"/>
            <c:spPr>
              <a:solidFill>
                <a:srgbClr val="9950A8"/>
              </a:solidFill>
              <a:ln>
                <a:noFill/>
              </a:ln>
              <a:effectLst/>
            </c:spPr>
            <c:extLst>
              <c:ext xmlns:c16="http://schemas.microsoft.com/office/drawing/2014/chart" uri="{C3380CC4-5D6E-409C-BE32-E72D297353CC}">
                <c16:uniqueId val="{00000007-8854-4AEF-87E3-AA54BF3A2624}"/>
              </c:ext>
            </c:extLst>
          </c:dPt>
          <c:dPt>
            <c:idx val="8"/>
            <c:invertIfNegative val="0"/>
            <c:bubble3D val="0"/>
            <c:spPr>
              <a:solidFill>
                <a:srgbClr val="9950A8"/>
              </a:solidFill>
              <a:ln>
                <a:noFill/>
              </a:ln>
              <a:effectLst/>
            </c:spPr>
            <c:extLst>
              <c:ext xmlns:c16="http://schemas.microsoft.com/office/drawing/2014/chart" uri="{C3380CC4-5D6E-409C-BE32-E72D297353CC}">
                <c16:uniqueId val="{00000009-8854-4AEF-87E3-AA54BF3A2624}"/>
              </c:ext>
            </c:extLst>
          </c:dPt>
          <c:dPt>
            <c:idx val="9"/>
            <c:invertIfNegative val="0"/>
            <c:bubble3D val="0"/>
            <c:spPr>
              <a:solidFill>
                <a:srgbClr val="9950A8"/>
              </a:solidFill>
              <a:ln>
                <a:noFill/>
              </a:ln>
              <a:effectLst/>
            </c:spPr>
            <c:extLst>
              <c:ext xmlns:c16="http://schemas.microsoft.com/office/drawing/2014/chart" uri="{C3380CC4-5D6E-409C-BE32-E72D297353CC}">
                <c16:uniqueId val="{0000000B-6D59-4706-8E94-CD15563D434C}"/>
              </c:ext>
            </c:extLst>
          </c:dPt>
          <c:dPt>
            <c:idx val="10"/>
            <c:invertIfNegative val="0"/>
            <c:bubble3D val="0"/>
            <c:spPr>
              <a:solidFill>
                <a:srgbClr val="9950A8"/>
              </a:solidFill>
              <a:ln>
                <a:noFill/>
              </a:ln>
              <a:effectLst/>
            </c:spPr>
            <c:extLst>
              <c:ext xmlns:c16="http://schemas.microsoft.com/office/drawing/2014/chart" uri="{C3380CC4-5D6E-409C-BE32-E72D297353CC}">
                <c16:uniqueId val="{0000000B-8854-4AEF-87E3-AA54BF3A2624}"/>
              </c:ext>
            </c:extLst>
          </c:dPt>
          <c:dPt>
            <c:idx val="11"/>
            <c:invertIfNegative val="0"/>
            <c:bubble3D val="0"/>
            <c:spPr>
              <a:solidFill>
                <a:srgbClr val="9950A8"/>
              </a:solidFill>
              <a:ln>
                <a:noFill/>
              </a:ln>
              <a:effectLst/>
            </c:spPr>
            <c:extLst>
              <c:ext xmlns:c16="http://schemas.microsoft.com/office/drawing/2014/chart" uri="{C3380CC4-5D6E-409C-BE32-E72D297353CC}">
                <c16:uniqueId val="{0000000D-8854-4AEF-87E3-AA54BF3A2624}"/>
              </c:ext>
            </c:extLst>
          </c:dPt>
          <c:dPt>
            <c:idx val="13"/>
            <c:invertIfNegative val="0"/>
            <c:bubble3D val="0"/>
            <c:spPr>
              <a:solidFill>
                <a:srgbClr val="00CC00"/>
              </a:solidFill>
              <a:ln>
                <a:noFill/>
              </a:ln>
              <a:effectLst/>
            </c:spPr>
            <c:extLst>
              <c:ext xmlns:c16="http://schemas.microsoft.com/office/drawing/2014/chart" uri="{C3380CC4-5D6E-409C-BE32-E72D297353CC}">
                <c16:uniqueId val="{0000000F-8854-4AEF-87E3-AA54BF3A2624}"/>
              </c:ext>
            </c:extLst>
          </c:dPt>
          <c:dPt>
            <c:idx val="14"/>
            <c:invertIfNegative val="0"/>
            <c:bubble3D val="0"/>
            <c:spPr>
              <a:solidFill>
                <a:srgbClr val="00CC00"/>
              </a:solidFill>
              <a:ln>
                <a:noFill/>
              </a:ln>
              <a:effectLst/>
            </c:spPr>
            <c:extLst>
              <c:ext xmlns:c16="http://schemas.microsoft.com/office/drawing/2014/chart" uri="{C3380CC4-5D6E-409C-BE32-E72D297353CC}">
                <c16:uniqueId val="{00000011-8854-4AEF-87E3-AA54BF3A2624}"/>
              </c:ext>
            </c:extLst>
          </c:dPt>
          <c:dLbls>
            <c:spPr>
              <a:noFill/>
              <a:ln>
                <a:noFill/>
              </a:ln>
              <a:effectLst/>
            </c:spPr>
            <c:txPr>
              <a:bodyPr rot="0" spcFirstLastPara="1" vertOverflow="ellipsis" vert="horz" wrap="square" lIns="38100" tIns="19050" rIns="38100" bIns="19050" anchor="ctr" anchorCtr="0">
                <a:spAutoFit/>
              </a:bodyPr>
              <a:lstStyle/>
              <a:p>
                <a:pPr>
                  <a:defRPr sz="1100" b="1" i="0" u="none" strike="noStrike" kern="1200" baseline="0">
                    <a:solidFill>
                      <a:schemeClr val="bg1"/>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MPO_AMG157A_30_1_2017!$D$1:$O$1</c:f>
              <c:strCache>
                <c:ptCount val="12"/>
                <c:pt idx="0">
                  <c:v>2017</c:v>
                </c:pt>
                <c:pt idx="1">
                  <c:v>2018</c:v>
                </c:pt>
                <c:pt idx="2">
                  <c:v>2019</c:v>
                </c:pt>
                <c:pt idx="3">
                  <c:v>2020</c:v>
                </c:pt>
                <c:pt idx="4">
                  <c:v>2021</c:v>
                </c:pt>
                <c:pt idx="5">
                  <c:v>2022</c:v>
                </c:pt>
                <c:pt idx="6">
                  <c:v>2023</c:v>
                </c:pt>
                <c:pt idx="7">
                  <c:v>2024*</c:v>
                </c:pt>
                <c:pt idx="8">
                  <c:v>2025*</c:v>
                </c:pt>
                <c:pt idx="9">
                  <c:v>2026*</c:v>
                </c:pt>
                <c:pt idx="10">
                  <c:v>2027*</c:v>
                </c:pt>
                <c:pt idx="11">
                  <c:v>2028*</c:v>
                </c:pt>
              </c:strCache>
            </c:strRef>
          </c:cat>
          <c:val>
            <c:numRef>
              <c:f>TEMPO_AMG157A_30_1_2017!$D$2:$O$2</c:f>
              <c:numCache>
                <c:formatCode>General</c:formatCode>
                <c:ptCount val="12"/>
                <c:pt idx="0">
                  <c:v>6.1</c:v>
                </c:pt>
                <c:pt idx="1">
                  <c:v>5.3</c:v>
                </c:pt>
                <c:pt idx="2">
                  <c:v>4.9000000000000004</c:v>
                </c:pt>
                <c:pt idx="3">
                  <c:v>6.1</c:v>
                </c:pt>
                <c:pt idx="4" formatCode="0.0">
                  <c:v>5.6</c:v>
                </c:pt>
                <c:pt idx="5">
                  <c:v>5.6</c:v>
                </c:pt>
                <c:pt idx="6">
                  <c:v>5.6</c:v>
                </c:pt>
                <c:pt idx="7">
                  <c:v>5.4</c:v>
                </c:pt>
                <c:pt idx="8">
                  <c:v>5.3</c:v>
                </c:pt>
                <c:pt idx="9">
                  <c:v>5.2</c:v>
                </c:pt>
                <c:pt idx="10" formatCode="0.0">
                  <c:v>5.0999999999999996</c:v>
                </c:pt>
                <c:pt idx="11">
                  <c:v>5.0999999999999996</c:v>
                </c:pt>
              </c:numCache>
            </c:numRef>
          </c:val>
          <c:extLst>
            <c:ext xmlns:c16="http://schemas.microsoft.com/office/drawing/2014/chart" uri="{C3380CC4-5D6E-409C-BE32-E72D297353CC}">
              <c16:uniqueId val="{0000000A-BFFC-4449-A5A9-015F98F34370}"/>
            </c:ext>
          </c:extLst>
        </c:ser>
        <c:dLbls>
          <c:showLegendKey val="0"/>
          <c:showVal val="0"/>
          <c:showCatName val="0"/>
          <c:showSerName val="0"/>
          <c:showPercent val="0"/>
          <c:showBubbleSize val="0"/>
        </c:dLbls>
        <c:gapWidth val="50"/>
        <c:overlap val="25"/>
        <c:axId val="744762696"/>
        <c:axId val="744763088"/>
      </c:barChart>
      <c:catAx>
        <c:axId val="744762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rgbClr val="005400"/>
                </a:solidFill>
                <a:latin typeface="Cambria" panose="02040503050406030204" pitchFamily="18" charset="0"/>
                <a:ea typeface="+mn-ea"/>
                <a:cs typeface="+mn-cs"/>
              </a:defRPr>
            </a:pPr>
            <a:endParaRPr lang="en-US"/>
          </a:p>
        </c:txPr>
        <c:crossAx val="744763088"/>
        <c:crosses val="autoZero"/>
        <c:auto val="1"/>
        <c:lblAlgn val="ctr"/>
        <c:lblOffset val="100"/>
        <c:noMultiLvlLbl val="0"/>
      </c:catAx>
      <c:valAx>
        <c:axId val="744763088"/>
        <c:scaling>
          <c:orientation val="minMax"/>
        </c:scaling>
        <c:delete val="1"/>
        <c:axPos val="l"/>
        <c:numFmt formatCode="General" sourceLinked="1"/>
        <c:majorTickMark val="none"/>
        <c:minorTickMark val="none"/>
        <c:tickLblPos val="nextTo"/>
        <c:crossAx val="744762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136461772923546E-2"/>
          <c:y val="3.6050296038679416E-2"/>
          <c:w val="0.97038089492845647"/>
          <c:h val="0.70475511161634663"/>
        </c:manualLayout>
      </c:layout>
      <c:barChart>
        <c:barDir val="col"/>
        <c:grouping val="clustered"/>
        <c:varyColors val="0"/>
        <c:ser>
          <c:idx val="0"/>
          <c:order val="0"/>
          <c:tx>
            <c:strRef>
              <c:f>Sheet1!$B$1</c:f>
              <c:strCache>
                <c:ptCount val="1"/>
                <c:pt idx="0">
                  <c:v>Jul-23</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229B-4671-BDC9-A7D0E040700D}"/>
              </c:ext>
            </c:extLst>
          </c:dPt>
          <c:dPt>
            <c:idx val="2"/>
            <c:invertIfNegative val="0"/>
            <c:bubble3D val="0"/>
            <c:spPr>
              <a:solidFill>
                <a:srgbClr val="002060"/>
              </a:solidFill>
              <a:ln>
                <a:noFill/>
              </a:ln>
              <a:effectLst/>
            </c:spPr>
            <c:extLst>
              <c:ext xmlns:c16="http://schemas.microsoft.com/office/drawing/2014/chart" uri="{C3380CC4-5D6E-409C-BE32-E72D297353CC}">
                <c16:uniqueId val="{00000003-229B-4671-BDC9-A7D0E040700D}"/>
              </c:ext>
            </c:extLst>
          </c:dPt>
          <c:dPt>
            <c:idx val="3"/>
            <c:invertIfNegative val="0"/>
            <c:bubble3D val="0"/>
            <c:spPr>
              <a:solidFill>
                <a:srgbClr val="C00000"/>
              </a:solidFill>
              <a:ln>
                <a:noFill/>
              </a:ln>
              <a:effectLst/>
            </c:spPr>
            <c:extLst>
              <c:ext xmlns:c16="http://schemas.microsoft.com/office/drawing/2014/chart" uri="{C3380CC4-5D6E-409C-BE32-E72D297353CC}">
                <c16:uniqueId val="{00000005-229B-4671-BDC9-A7D0E040700D}"/>
              </c:ext>
            </c:extLst>
          </c:dPt>
          <c:dLbls>
            <c:dLbl>
              <c:idx val="1"/>
              <c:tx>
                <c:rich>
                  <a:bodyPr/>
                  <a:lstStyle/>
                  <a:p>
                    <a:fld id="{EB80CFE2-B69A-47DB-81D6-98883F79980C}" type="VALUE">
                      <a:rPr lang="en-US">
                        <a:solidFill>
                          <a:srgbClr val="005828"/>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29B-4671-BDC9-A7D0E040700D}"/>
                </c:ext>
              </c:extLst>
            </c:dLbl>
            <c:dLbl>
              <c:idx val="2"/>
              <c:tx>
                <c:rich>
                  <a:bodyPr rot="0" spcFirstLastPara="1" vertOverflow="ellipsis" vert="horz" wrap="square" lIns="38100" tIns="19050" rIns="38100" bIns="19050" anchor="ctr" anchorCtr="1">
                    <a:spAutoFit/>
                  </a:bodyPr>
                  <a:lstStyle/>
                  <a:p>
                    <a:pPr>
                      <a:defRPr sz="700" b="1" i="0" u="none" strike="noStrike" kern="1200" baseline="0">
                        <a:solidFill>
                          <a:srgbClr val="C00000"/>
                        </a:solidFill>
                        <a:latin typeface="Cambria" panose="02040503050406030204" pitchFamily="18" charset="0"/>
                        <a:ea typeface="Cambria" panose="02040503050406030204" pitchFamily="18" charset="0"/>
                        <a:cs typeface="+mn-cs"/>
                      </a:defRPr>
                    </a:pPr>
                    <a:fld id="{2478EC37-7B1D-42B4-A499-0BE429AB11A5}" type="VALUE">
                      <a:rPr lang="en-US" sz="700">
                        <a:solidFill>
                          <a:srgbClr val="005828"/>
                        </a:solidFill>
                      </a:rPr>
                      <a:pPr>
                        <a:defRPr sz="700" b="1">
                          <a:solidFill>
                            <a:srgbClr val="C00000"/>
                          </a:solidFill>
                          <a:latin typeface="Cambria" panose="02040503050406030204" pitchFamily="18" charset="0"/>
                          <a:ea typeface="Cambria" panose="02040503050406030204" pitchFamily="18" charset="0"/>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rgbClr val="C00000"/>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29B-4671-BDC9-A7D0E040700D}"/>
                </c:ext>
              </c:extLst>
            </c:dLbl>
            <c:dLbl>
              <c:idx val="3"/>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rgbClr val="C00000"/>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29B-4671-BDC9-A7D0E040700D}"/>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rgbClr val="005828"/>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Bulgaria</c:v>
                </c:pt>
                <c:pt idx="1">
                  <c:v>Hungary</c:v>
                </c:pt>
                <c:pt idx="2">
                  <c:v>Latvia</c:v>
                </c:pt>
                <c:pt idx="3">
                  <c:v>Romania</c:v>
                </c:pt>
                <c:pt idx="4">
                  <c:v>Slovakia</c:v>
                </c:pt>
                <c:pt idx="5">
                  <c:v>Czech Republic</c:v>
                </c:pt>
                <c:pt idx="6">
                  <c:v>Estonia</c:v>
                </c:pt>
                <c:pt idx="7">
                  <c:v>Croatia</c:v>
                </c:pt>
                <c:pt idx="8">
                  <c:v>Lithuania</c:v>
                </c:pt>
                <c:pt idx="9">
                  <c:v>Malta</c:v>
                </c:pt>
                <c:pt idx="10">
                  <c:v>Portugal</c:v>
                </c:pt>
                <c:pt idx="11">
                  <c:v>Greece</c:v>
                </c:pt>
                <c:pt idx="12">
                  <c:v>Poland</c:v>
                </c:pt>
                <c:pt idx="13">
                  <c:v>Cyprus</c:v>
                </c:pt>
                <c:pt idx="14">
                  <c:v>Slovenia</c:v>
                </c:pt>
                <c:pt idx="15">
                  <c:v>Spain</c:v>
                </c:pt>
                <c:pt idx="16">
                  <c:v>France</c:v>
                </c:pt>
                <c:pt idx="17">
                  <c:v>Germany</c:v>
                </c:pt>
                <c:pt idx="18">
                  <c:v>Belgium</c:v>
                </c:pt>
                <c:pt idx="19">
                  <c:v>Netherlands</c:v>
                </c:pt>
                <c:pt idx="20">
                  <c:v>Ireland</c:v>
                </c:pt>
                <c:pt idx="21">
                  <c:v>Luxembourg</c:v>
                </c:pt>
              </c:strCache>
            </c:strRef>
          </c:cat>
          <c:val>
            <c:numRef>
              <c:f>Sheet1!$B$2:$B$23</c:f>
              <c:numCache>
                <c:formatCode>General</c:formatCode>
                <c:ptCount val="22"/>
                <c:pt idx="0">
                  <c:v>477</c:v>
                </c:pt>
                <c:pt idx="1">
                  <c:v>675</c:v>
                </c:pt>
                <c:pt idx="2">
                  <c:v>700</c:v>
                </c:pt>
                <c:pt idx="3">
                  <c:v>743</c:v>
                </c:pt>
                <c:pt idx="4">
                  <c:v>750</c:v>
                </c:pt>
                <c:pt idx="5">
                  <c:v>755</c:v>
                </c:pt>
                <c:pt idx="6">
                  <c:v>820</c:v>
                </c:pt>
                <c:pt idx="7">
                  <c:v>840</c:v>
                </c:pt>
                <c:pt idx="8">
                  <c:v>924</c:v>
                </c:pt>
                <c:pt idx="9">
                  <c:v>925</c:v>
                </c:pt>
                <c:pt idx="10">
                  <c:v>957</c:v>
                </c:pt>
                <c:pt idx="11">
                  <c:v>968</c:v>
                </c:pt>
                <c:pt idx="12">
                  <c:v>998</c:v>
                </c:pt>
                <c:pt idx="13">
                  <c:v>1000</c:v>
                </c:pt>
                <c:pt idx="14">
                  <c:v>1254</c:v>
                </c:pt>
                <c:pt idx="15">
                  <c:v>1323</c:v>
                </c:pt>
                <c:pt idx="16">
                  <c:v>1767</c:v>
                </c:pt>
                <c:pt idx="17">
                  <c:v>2054</c:v>
                </c:pt>
                <c:pt idx="18">
                  <c:v>2070</c:v>
                </c:pt>
                <c:pt idx="19">
                  <c:v>2134</c:v>
                </c:pt>
                <c:pt idx="20">
                  <c:v>2146</c:v>
                </c:pt>
                <c:pt idx="21">
                  <c:v>2571</c:v>
                </c:pt>
              </c:numCache>
            </c:numRef>
          </c:val>
          <c:extLst>
            <c:ext xmlns:c16="http://schemas.microsoft.com/office/drawing/2014/chart" uri="{C3380CC4-5D6E-409C-BE32-E72D297353CC}">
              <c16:uniqueId val="{00000004-229B-4671-BDC9-A7D0E040700D}"/>
            </c:ext>
          </c:extLst>
        </c:ser>
        <c:dLbls>
          <c:dLblPos val="outEnd"/>
          <c:showLegendKey val="0"/>
          <c:showVal val="1"/>
          <c:showCatName val="0"/>
          <c:showSerName val="0"/>
          <c:showPercent val="0"/>
          <c:showBubbleSize val="0"/>
        </c:dLbls>
        <c:gapWidth val="80"/>
        <c:overlap val="-27"/>
        <c:axId val="744754856"/>
        <c:axId val="744756032"/>
        <c:extLst/>
      </c:barChart>
      <c:catAx>
        <c:axId val="744754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1" i="0" u="none" strike="noStrike" kern="1200" baseline="0">
                <a:solidFill>
                  <a:srgbClr val="005828"/>
                </a:solidFill>
                <a:latin typeface="Cambria" panose="02040503050406030204" pitchFamily="18" charset="0"/>
                <a:ea typeface="Cambria" panose="02040503050406030204" pitchFamily="18" charset="0"/>
                <a:cs typeface="+mn-cs"/>
              </a:defRPr>
            </a:pPr>
            <a:endParaRPr lang="en-US"/>
          </a:p>
        </c:txPr>
        <c:crossAx val="744756032"/>
        <c:crosses val="autoZero"/>
        <c:auto val="1"/>
        <c:lblAlgn val="ctr"/>
        <c:lblOffset val="100"/>
        <c:noMultiLvlLbl val="0"/>
      </c:catAx>
      <c:valAx>
        <c:axId val="744756032"/>
        <c:scaling>
          <c:orientation val="minMax"/>
        </c:scaling>
        <c:delete val="1"/>
        <c:axPos val="l"/>
        <c:numFmt formatCode="General" sourceLinked="1"/>
        <c:majorTickMark val="none"/>
        <c:minorTickMark val="none"/>
        <c:tickLblPos val="nextTo"/>
        <c:crossAx val="744754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5.1904328632910328E-2"/>
          <c:y val="3.38642897422647E-2"/>
          <c:w val="0.90010863097297367"/>
          <c:h val="0.74800305344421625"/>
        </c:manualLayout>
      </c:layout>
      <c:barChart>
        <c:barDir val="col"/>
        <c:grouping val="clustered"/>
        <c:varyColors val="0"/>
        <c:ser>
          <c:idx val="0"/>
          <c:order val="0"/>
          <c:tx>
            <c:strRef>
              <c:f>'grafic combinat'!$A$5</c:f>
              <c:strCache>
                <c:ptCount val="1"/>
                <c:pt idx="0">
                  <c:v>FDI stock</c:v>
                </c:pt>
              </c:strCache>
            </c:strRef>
          </c:tx>
          <c:spPr>
            <a:solidFill>
              <a:srgbClr val="C9BBBE"/>
            </a:solidFill>
            <a:ln>
              <a:noFill/>
            </a:ln>
            <a:effectLst/>
          </c:spPr>
          <c:invertIfNegative val="0"/>
          <c:dPt>
            <c:idx val="4"/>
            <c:invertIfNegative val="0"/>
            <c:bubble3D val="0"/>
            <c:spPr>
              <a:solidFill>
                <a:srgbClr val="C9BBBE"/>
              </a:solidFill>
              <a:ln>
                <a:noFill/>
              </a:ln>
              <a:effectLst/>
            </c:spPr>
            <c:extLst>
              <c:ext xmlns:c16="http://schemas.microsoft.com/office/drawing/2014/chart" uri="{C3380CC4-5D6E-409C-BE32-E72D297353CC}">
                <c16:uniqueId val="{00000001-1C9E-434A-B135-2C541C42B684}"/>
              </c:ext>
            </c:extLst>
          </c:dPt>
          <c:dPt>
            <c:idx val="15"/>
            <c:invertIfNegative val="0"/>
            <c:bubble3D val="0"/>
            <c:spPr>
              <a:solidFill>
                <a:srgbClr val="C9BBBE"/>
              </a:solidFill>
              <a:ln>
                <a:noFill/>
              </a:ln>
              <a:effectLst/>
            </c:spPr>
            <c:extLst>
              <c:ext xmlns:c16="http://schemas.microsoft.com/office/drawing/2014/chart" uri="{C3380CC4-5D6E-409C-BE32-E72D297353CC}">
                <c16:uniqueId val="{00000003-1C9E-434A-B135-2C541C42B684}"/>
              </c:ext>
            </c:extLst>
          </c:dPt>
          <c:dPt>
            <c:idx val="16"/>
            <c:invertIfNegative val="0"/>
            <c:bubble3D val="0"/>
            <c:spPr>
              <a:solidFill>
                <a:srgbClr val="C9BBBE"/>
              </a:solidFill>
              <a:ln>
                <a:noFill/>
              </a:ln>
              <a:effectLst/>
            </c:spPr>
            <c:extLst>
              <c:ext xmlns:c16="http://schemas.microsoft.com/office/drawing/2014/chart" uri="{C3380CC4-5D6E-409C-BE32-E72D297353CC}">
                <c16:uniqueId val="{00000005-37FA-420E-B194-5C0B7B96CDFB}"/>
              </c:ext>
            </c:extLst>
          </c:dPt>
          <c:dLbls>
            <c:dLbl>
              <c:idx val="16"/>
              <c:tx>
                <c:rich>
                  <a:bodyPr/>
                  <a:lstStyle/>
                  <a:p>
                    <a:fld id="{B82B9FB2-060B-44E7-AED1-AC705F4CAAAD}" type="VALUE">
                      <a:rPr lang="en-US" b="1">
                        <a:solidFill>
                          <a:srgbClr val="7E6B6E"/>
                        </a:solidFill>
                      </a:rPr>
                      <a:pPr/>
                      <a:t>[VALUE]</a:t>
                    </a:fld>
                    <a:endParaRPr lang="en-US"/>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7FA-420E-B194-5C0B7B96CDFB}"/>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6A565A"/>
                    </a:solidFill>
                    <a:latin typeface="Cambria" panose="02040503050406030204" pitchFamily="18"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 combinat'!$B$3:$V$3</c:f>
              <c:numCache>
                <c:formatCode>0</c:formatCode>
                <c:ptCount val="17"/>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formatCode="General">
                  <c:v>2023</c:v>
                </c:pt>
              </c:numCache>
            </c:numRef>
          </c:cat>
          <c:val>
            <c:numRef>
              <c:f>'grafic combinat'!$B$5:$V$5</c:f>
              <c:numCache>
                <c:formatCode>0.0</c:formatCode>
                <c:ptCount val="17"/>
                <c:pt idx="0">
                  <c:v>42.77</c:v>
                </c:pt>
                <c:pt idx="1">
                  <c:v>48.798000000000002</c:v>
                </c:pt>
                <c:pt idx="2">
                  <c:v>48.826999999999998</c:v>
                </c:pt>
                <c:pt idx="3">
                  <c:v>51.414000000000001</c:v>
                </c:pt>
                <c:pt idx="4">
                  <c:v>53.722999999999999</c:v>
                </c:pt>
                <c:pt idx="5">
                  <c:v>57.850999999999999</c:v>
                </c:pt>
                <c:pt idx="6">
                  <c:v>60.639000000000003</c:v>
                </c:pt>
                <c:pt idx="7">
                  <c:v>61.999000000000002</c:v>
                </c:pt>
                <c:pt idx="8">
                  <c:v>64.662999999999997</c:v>
                </c:pt>
                <c:pt idx="9">
                  <c:v>70.742000000000004</c:v>
                </c:pt>
                <c:pt idx="10">
                  <c:v>75.850999999999999</c:v>
                </c:pt>
                <c:pt idx="11">
                  <c:v>81.123999999999995</c:v>
                </c:pt>
                <c:pt idx="12">
                  <c:v>88.304000000000002</c:v>
                </c:pt>
                <c:pt idx="13">
                  <c:v>90.772999999999996</c:v>
                </c:pt>
                <c:pt idx="14">
                  <c:v>100.264</c:v>
                </c:pt>
                <c:pt idx="15">
                  <c:v>107.944</c:v>
                </c:pt>
                <c:pt idx="16">
                  <c:v>118.23099999999999</c:v>
                </c:pt>
              </c:numCache>
            </c:numRef>
          </c:val>
          <c:extLst>
            <c:ext xmlns:c16="http://schemas.microsoft.com/office/drawing/2014/chart" uri="{C3380CC4-5D6E-409C-BE32-E72D297353CC}">
              <c16:uniqueId val="{00000000-18B3-4ACF-AD46-579AC7CDD97F}"/>
            </c:ext>
          </c:extLst>
        </c:ser>
        <c:dLbls>
          <c:showLegendKey val="0"/>
          <c:showVal val="1"/>
          <c:showCatName val="0"/>
          <c:showSerName val="0"/>
          <c:showPercent val="0"/>
          <c:showBubbleSize val="0"/>
        </c:dLbls>
        <c:gapWidth val="40"/>
        <c:axId val="744755248"/>
        <c:axId val="744752112"/>
      </c:barChart>
      <c:lineChart>
        <c:grouping val="standard"/>
        <c:varyColors val="0"/>
        <c:ser>
          <c:idx val="1"/>
          <c:order val="1"/>
          <c:tx>
            <c:strRef>
              <c:f>'grafic combinat'!$A$4</c:f>
              <c:strCache>
                <c:ptCount val="1"/>
                <c:pt idx="0">
                  <c:v>FDI flows </c:v>
                </c:pt>
              </c:strCache>
            </c:strRef>
          </c:tx>
          <c:spPr>
            <a:ln w="28575" cap="rnd">
              <a:solidFill>
                <a:srgbClr val="0000FF"/>
              </a:solidFill>
              <a:round/>
            </a:ln>
            <a:effectLst/>
          </c:spPr>
          <c:marker>
            <c:symbol val="none"/>
          </c:marker>
          <c:dLbls>
            <c:dLbl>
              <c:idx val="15"/>
              <c:spPr>
                <a:gradFill>
                  <a:gsLst>
                    <a:gs pos="0">
                      <a:srgbClr val="FFF9F2"/>
                    </a:gs>
                    <a:gs pos="74000">
                      <a:srgbClr val="FFC789"/>
                    </a:gs>
                    <a:gs pos="83000">
                      <a:srgbClr val="FFC789"/>
                    </a:gs>
                    <a:gs pos="100000">
                      <a:srgbClr val="FFDAB0"/>
                    </a:gs>
                  </a:gsLst>
                  <a:lin ang="5400000" scaled="1"/>
                </a:grad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00FF"/>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1C9E-434A-B135-2C541C42B684}"/>
                </c:ext>
              </c:extLst>
            </c:dLbl>
            <c:dLbl>
              <c:idx val="16"/>
              <c:tx>
                <c:rich>
                  <a:bodyPr rot="0" spcFirstLastPara="1" vertOverflow="ellipsis" vert="horz" wrap="square" lIns="38100" tIns="19050" rIns="38100" bIns="19050" anchor="ctr" anchorCtr="0">
                    <a:spAutoFit/>
                  </a:bodyPr>
                  <a:lstStyle/>
                  <a:p>
                    <a:pPr algn="ctr">
                      <a:defRPr lang="en-US" sz="1100" b="1" i="0" u="none" strike="noStrike" kern="1200" baseline="0">
                        <a:solidFill>
                          <a:srgbClr val="0000FF"/>
                        </a:solidFill>
                        <a:latin typeface="Cambria" panose="02040503050406030204" pitchFamily="18" charset="0"/>
                        <a:ea typeface="+mn-ea"/>
                        <a:cs typeface="+mn-cs"/>
                      </a:defRPr>
                    </a:pPr>
                    <a:fld id="{29BBFF2F-0C3F-4F98-9E1D-F684B26FC29B}" type="VALUE">
                      <a:rPr lang="en-US" sz="1100" b="1" i="0" u="none" strike="noStrike" kern="1200" baseline="0">
                        <a:solidFill>
                          <a:srgbClr val="0000FF"/>
                        </a:solidFill>
                        <a:latin typeface="Cambria" panose="02040503050406030204" pitchFamily="18" charset="0"/>
                        <a:ea typeface="+mn-ea"/>
                        <a:cs typeface="+mn-cs"/>
                      </a:rPr>
                      <a:pPr algn="ctr">
                        <a:defRPr lang="en-US" sz="1100" b="1">
                          <a:solidFill>
                            <a:srgbClr val="0000FF"/>
                          </a:solidFill>
                          <a:latin typeface="Cambria" panose="02040503050406030204" pitchFamily="18" charset="0"/>
                        </a:defRPr>
                      </a:pPr>
                      <a:t>[VALUE]</a:t>
                    </a:fld>
                    <a:endParaRPr lang="en-US"/>
                  </a:p>
                </c:rich>
              </c:tx>
              <c:spPr>
                <a:gradFill flip="none" rotWithShape="1">
                  <a:gsLst>
                    <a:gs pos="0">
                      <a:srgbClr val="FFF9F7"/>
                    </a:gs>
                    <a:gs pos="74000">
                      <a:srgbClr val="FFC789"/>
                    </a:gs>
                    <a:gs pos="83000">
                      <a:srgbClr val="FFC789"/>
                    </a:gs>
                    <a:gs pos="100000">
                      <a:srgbClr val="FFDAB0"/>
                    </a:gs>
                  </a:gsLst>
                  <a:lin ang="5400000" scaled="1"/>
                  <a:tileRect/>
                </a:grad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rgbClr val="0000FF"/>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C9E-434A-B135-2C541C42B684}"/>
                </c:ext>
              </c:extLst>
            </c:dLbl>
            <c:spPr>
              <a:gradFill>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grad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00FF"/>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ic combinat'!$B$3:$U$3</c:f>
              <c:numCache>
                <c:formatCode>0</c:formatCode>
                <c:ptCount val="16"/>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numCache>
            </c:numRef>
          </c:cat>
          <c:val>
            <c:numRef>
              <c:f>'grafic combinat'!$B$4:$V$4</c:f>
              <c:numCache>
                <c:formatCode>0.0</c:formatCode>
                <c:ptCount val="17"/>
                <c:pt idx="0">
                  <c:v>7.25</c:v>
                </c:pt>
                <c:pt idx="1">
                  <c:v>9.4960000000000004</c:v>
                </c:pt>
                <c:pt idx="2">
                  <c:v>3.3570000000000002</c:v>
                </c:pt>
                <c:pt idx="3">
                  <c:v>2.2629999999999999</c:v>
                </c:pt>
                <c:pt idx="4">
                  <c:v>1.7</c:v>
                </c:pt>
                <c:pt idx="5">
                  <c:v>2.4889999999999999</c:v>
                </c:pt>
                <c:pt idx="6">
                  <c:v>2.7120000000000002</c:v>
                </c:pt>
                <c:pt idx="7">
                  <c:v>2.4209999999999998</c:v>
                </c:pt>
                <c:pt idx="8">
                  <c:v>3.4609999999999999</c:v>
                </c:pt>
                <c:pt idx="9">
                  <c:v>4.5170000000000003</c:v>
                </c:pt>
                <c:pt idx="10">
                  <c:v>4.7969999999999997</c:v>
                </c:pt>
                <c:pt idx="11">
                  <c:v>5.266</c:v>
                </c:pt>
                <c:pt idx="12">
                  <c:v>5.173</c:v>
                </c:pt>
                <c:pt idx="13">
                  <c:v>3.0049999999999999</c:v>
                </c:pt>
                <c:pt idx="14">
                  <c:v>8.9670000000000005</c:v>
                </c:pt>
                <c:pt idx="15">
                  <c:v>10.587</c:v>
                </c:pt>
                <c:pt idx="16">
                  <c:v>6.7480000000000002</c:v>
                </c:pt>
              </c:numCache>
            </c:numRef>
          </c:val>
          <c:smooth val="0"/>
          <c:extLst>
            <c:ext xmlns:c16="http://schemas.microsoft.com/office/drawing/2014/chart" uri="{C3380CC4-5D6E-409C-BE32-E72D297353CC}">
              <c16:uniqueId val="{00000006-18B3-4ACF-AD46-579AC7CDD97F}"/>
            </c:ext>
          </c:extLst>
        </c:ser>
        <c:dLbls>
          <c:showLegendKey val="0"/>
          <c:showVal val="1"/>
          <c:showCatName val="0"/>
          <c:showSerName val="0"/>
          <c:showPercent val="0"/>
          <c:showBubbleSize val="0"/>
        </c:dLbls>
        <c:marker val="1"/>
        <c:smooth val="0"/>
        <c:axId val="744755640"/>
        <c:axId val="744753680"/>
      </c:lineChart>
      <c:catAx>
        <c:axId val="74475524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2846A8"/>
                </a:solidFill>
                <a:latin typeface="Cambria" panose="02040503050406030204" pitchFamily="18" charset="0"/>
                <a:ea typeface="+mn-ea"/>
                <a:cs typeface="+mn-cs"/>
              </a:defRPr>
            </a:pPr>
            <a:endParaRPr lang="en-US"/>
          </a:p>
        </c:txPr>
        <c:crossAx val="744752112"/>
        <c:crosses val="autoZero"/>
        <c:auto val="1"/>
        <c:lblAlgn val="ctr"/>
        <c:lblOffset val="100"/>
        <c:noMultiLvlLbl val="0"/>
      </c:catAx>
      <c:valAx>
        <c:axId val="744752112"/>
        <c:scaling>
          <c:orientation val="minMax"/>
        </c:scaling>
        <c:delete val="0"/>
        <c:axPos val="l"/>
        <c:majorGridlines>
          <c:spPr>
            <a:ln w="9525" cap="flat" cmpd="sng" algn="ctr">
              <a:no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rgbClr val="6A565A"/>
                </a:solidFill>
                <a:latin typeface="Cambria" panose="02040503050406030204" pitchFamily="18" charset="0"/>
                <a:ea typeface="+mn-ea"/>
                <a:cs typeface="+mn-cs"/>
              </a:defRPr>
            </a:pPr>
            <a:endParaRPr lang="en-US"/>
          </a:p>
        </c:txPr>
        <c:crossAx val="744755248"/>
        <c:crosses val="autoZero"/>
        <c:crossBetween val="between"/>
      </c:valAx>
      <c:valAx>
        <c:axId val="744753680"/>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rgbClr val="0000FF"/>
                </a:solidFill>
                <a:latin typeface="Cambria" panose="02040503050406030204" pitchFamily="18" charset="0"/>
                <a:ea typeface="+mn-ea"/>
                <a:cs typeface="+mn-cs"/>
              </a:defRPr>
            </a:pPr>
            <a:endParaRPr lang="en-US"/>
          </a:p>
        </c:txPr>
        <c:crossAx val="744755640"/>
        <c:crosses val="max"/>
        <c:crossBetween val="between"/>
      </c:valAx>
      <c:catAx>
        <c:axId val="744755640"/>
        <c:scaling>
          <c:orientation val="minMax"/>
        </c:scaling>
        <c:delete val="1"/>
        <c:axPos val="b"/>
        <c:numFmt formatCode="0" sourceLinked="1"/>
        <c:majorTickMark val="none"/>
        <c:minorTickMark val="none"/>
        <c:tickLblPos val="nextTo"/>
        <c:crossAx val="744753680"/>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200" b="1" i="0" u="none" strike="noStrike" kern="1200" baseline="0">
                <a:solidFill>
                  <a:srgbClr val="545558"/>
                </a:solidFill>
                <a:latin typeface="Cambria" panose="02040503050406030204" pitchFamily="18" charset="0"/>
                <a:ea typeface="+mn-ea"/>
                <a:cs typeface="+mn-cs"/>
              </a:defRPr>
            </a:pPr>
            <a:endParaRPr lang="en-US"/>
          </a:p>
        </c:txPr>
      </c:legendEntry>
      <c:legendEntry>
        <c:idx val="1"/>
        <c:txPr>
          <a:bodyPr rot="0" spcFirstLastPara="1" vertOverflow="ellipsis" vert="horz" wrap="square" anchor="ctr" anchorCtr="1"/>
          <a:lstStyle/>
          <a:p>
            <a:pPr>
              <a:defRPr sz="1200" b="1" i="0" u="none" strike="noStrike" kern="1200" baseline="0">
                <a:solidFill>
                  <a:srgbClr val="0000FF"/>
                </a:solidFill>
                <a:latin typeface="Cambria" panose="02040503050406030204" pitchFamily="18" charset="0"/>
                <a:ea typeface="+mn-ea"/>
                <a:cs typeface="+mn-cs"/>
              </a:defRPr>
            </a:pPr>
            <a:endParaRPr lang="en-US"/>
          </a:p>
        </c:txPr>
      </c:legendEntry>
      <c:layout>
        <c:manualLayout>
          <c:xMode val="edge"/>
          <c:yMode val="edge"/>
          <c:x val="0.34597119780062641"/>
          <c:y val="0.89118784673722684"/>
          <c:w val="0.30471972584154294"/>
          <c:h val="7.115428201210168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Cambria" panose="02040503050406030204" pitchFamily="18"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rgbClr val="2846A8"/>
                </a:solidFill>
                <a:latin typeface="Cambria" panose="02040503050406030204" pitchFamily="18" charset="0"/>
                <a:ea typeface="Cambria" panose="02040503050406030204" pitchFamily="18" charset="0"/>
                <a:cs typeface="+mn-cs"/>
              </a:defRPr>
            </a:pPr>
            <a:r>
              <a:rPr lang="en-US" sz="1200" b="0" i="0" baseline="0" dirty="0">
                <a:solidFill>
                  <a:srgbClr val="2846A8"/>
                </a:solidFill>
                <a:effectLst/>
                <a:latin typeface="Cambria" panose="02040503050406030204" pitchFamily="18" charset="0"/>
                <a:ea typeface="Cambria" panose="02040503050406030204" pitchFamily="18" charset="0"/>
              </a:rPr>
              <a:t>Graduates in the vocational, post high school and foremen education in 2022</a:t>
            </a:r>
            <a:r>
              <a:rPr lang="ro-RO" sz="1200" b="0" i="0" baseline="0" dirty="0">
                <a:solidFill>
                  <a:srgbClr val="2846A8"/>
                </a:solidFill>
                <a:effectLst/>
                <a:latin typeface="Cambria" panose="02040503050406030204" pitchFamily="18" charset="0"/>
                <a:ea typeface="Cambria" panose="02040503050406030204" pitchFamily="18" charset="0"/>
              </a:rPr>
              <a:t> </a:t>
            </a:r>
            <a:endParaRPr lang="en-US" sz="1200" b="0" i="0" baseline="0" dirty="0">
              <a:solidFill>
                <a:srgbClr val="2846A8"/>
              </a:solidFill>
              <a:effectLst/>
              <a:latin typeface="Cambria" panose="02040503050406030204" pitchFamily="18" charset="0"/>
              <a:ea typeface="Cambria" panose="02040503050406030204" pitchFamily="18" charset="0"/>
            </a:endParaRPr>
          </a:p>
          <a:p>
            <a:pPr>
              <a:defRPr sz="1200">
                <a:solidFill>
                  <a:srgbClr val="2846A8"/>
                </a:solidFill>
                <a:latin typeface="Cambria" panose="02040503050406030204" pitchFamily="18" charset="0"/>
                <a:ea typeface="Cambria" panose="02040503050406030204" pitchFamily="18" charset="0"/>
              </a:defRPr>
            </a:pPr>
            <a:r>
              <a:rPr lang="ro-RO" sz="1200" b="0" i="0" baseline="0" dirty="0">
                <a:solidFill>
                  <a:srgbClr val="2846A8"/>
                </a:solidFill>
                <a:effectLst/>
                <a:latin typeface="Cambria" panose="02040503050406030204" pitchFamily="18" charset="0"/>
                <a:ea typeface="Cambria" panose="02040503050406030204" pitchFamily="18" charset="0"/>
              </a:rPr>
              <a:t>(number of persons)</a:t>
            </a:r>
            <a:endParaRPr lang="en-US" sz="1200" dirty="0">
              <a:solidFill>
                <a:srgbClr val="2846A8"/>
              </a:solidFill>
              <a:effectLst/>
              <a:latin typeface="Cambria" panose="02040503050406030204" pitchFamily="18" charset="0"/>
              <a:ea typeface="Cambria" panose="02040503050406030204" pitchFamily="18" charset="0"/>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rgbClr val="2846A8"/>
              </a:solidFill>
              <a:latin typeface="Cambria" panose="02040503050406030204" pitchFamily="18" charset="0"/>
              <a:ea typeface="Cambria" panose="02040503050406030204" pitchFamily="18" charset="0"/>
              <a:cs typeface="+mn-cs"/>
            </a:defRPr>
          </a:pPr>
          <a:endParaRPr lang="en-US"/>
        </a:p>
      </c:txPr>
    </c:title>
    <c:autoTitleDeleted val="0"/>
    <c:plotArea>
      <c:layout>
        <c:manualLayout>
          <c:layoutTarget val="inner"/>
          <c:xMode val="edge"/>
          <c:yMode val="edge"/>
          <c:x val="0.31568946703125128"/>
          <c:y val="0.19106918238993711"/>
          <c:w val="0.60492209686586051"/>
          <c:h val="0.69762021492596449"/>
        </c:manualLayout>
      </c:layout>
      <c:barChart>
        <c:barDir val="bar"/>
        <c:grouping val="clustered"/>
        <c:varyColors val="0"/>
        <c:ser>
          <c:idx val="0"/>
          <c:order val="0"/>
          <c:spPr>
            <a:solidFill>
              <a:srgbClr val="274D5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2846A8"/>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EMPO_SCL109E_6_10_2021 (1)'!$A$3:$A$7</c:f>
              <c:strCache>
                <c:ptCount val="5"/>
                <c:pt idx="0">
                  <c:v>Vocational schools - 2nd cycle</c:v>
                </c:pt>
                <c:pt idx="1">
                  <c:v>Special vocational schools - 2nd cycle</c:v>
                </c:pt>
                <c:pt idx="2">
                  <c:v>Post-secondary schools</c:v>
                </c:pt>
                <c:pt idx="3">
                  <c:v>Foremen schools</c:v>
                </c:pt>
                <c:pt idx="4">
                  <c:v>Special post-secondary schools</c:v>
                </c:pt>
              </c:strCache>
            </c:strRef>
          </c:cat>
          <c:val>
            <c:numRef>
              <c:f>'TEMPO_SCL109E_6_10_2021 (1)'!$B$3:$B$7</c:f>
              <c:numCache>
                <c:formatCode>General</c:formatCode>
                <c:ptCount val="5"/>
                <c:pt idx="0">
                  <c:v>27459</c:v>
                </c:pt>
                <c:pt idx="1">
                  <c:v>1013</c:v>
                </c:pt>
                <c:pt idx="2">
                  <c:v>28151</c:v>
                </c:pt>
                <c:pt idx="3">
                  <c:v>2268</c:v>
                </c:pt>
                <c:pt idx="4">
                  <c:v>97</c:v>
                </c:pt>
              </c:numCache>
            </c:numRef>
          </c:val>
          <c:extLst>
            <c:ext xmlns:c16="http://schemas.microsoft.com/office/drawing/2014/chart" uri="{C3380CC4-5D6E-409C-BE32-E72D297353CC}">
              <c16:uniqueId val="{00000000-3B59-434D-BCDE-3E452F45BFA7}"/>
            </c:ext>
          </c:extLst>
        </c:ser>
        <c:ser>
          <c:idx val="1"/>
          <c:order val="1"/>
          <c:spPr>
            <a:solidFill>
              <a:schemeClr val="accent2"/>
            </a:solidFill>
            <a:ln>
              <a:noFill/>
            </a:ln>
            <a:effectLst/>
          </c:spPr>
          <c:invertIfNegative val="0"/>
          <c:val>
            <c:numLit>
              <c:formatCode>General</c:formatCode>
              <c:ptCount val="1"/>
              <c:pt idx="0">
                <c:v>1</c:v>
              </c:pt>
            </c:numLit>
          </c:val>
          <c:extLst>
            <c:ext xmlns:c16="http://schemas.microsoft.com/office/drawing/2014/chart" uri="{C3380CC4-5D6E-409C-BE32-E72D297353CC}">
              <c16:uniqueId val="{00000000-958F-4AD1-BBC9-9CCA216CE13E}"/>
            </c:ext>
          </c:extLst>
        </c:ser>
        <c:dLbls>
          <c:showLegendKey val="0"/>
          <c:showVal val="0"/>
          <c:showCatName val="0"/>
          <c:showSerName val="0"/>
          <c:showPercent val="0"/>
          <c:showBubbleSize val="0"/>
        </c:dLbls>
        <c:gapWidth val="100"/>
        <c:axId val="744769752"/>
        <c:axId val="616387920"/>
      </c:barChart>
      <c:catAx>
        <c:axId val="7447697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2846A8"/>
                </a:solidFill>
                <a:latin typeface="Cambria" panose="02040503050406030204" pitchFamily="18" charset="0"/>
                <a:ea typeface="Cambria" panose="02040503050406030204" pitchFamily="18" charset="0"/>
                <a:cs typeface="+mn-cs"/>
              </a:defRPr>
            </a:pPr>
            <a:endParaRPr lang="en-US"/>
          </a:p>
        </c:txPr>
        <c:crossAx val="616387920"/>
        <c:crosses val="autoZero"/>
        <c:auto val="1"/>
        <c:lblAlgn val="ctr"/>
        <c:lblOffset val="100"/>
        <c:noMultiLvlLbl val="0"/>
      </c:catAx>
      <c:valAx>
        <c:axId val="616387920"/>
        <c:scaling>
          <c:orientation val="minMax"/>
          <c:max val="35000"/>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2846A8"/>
                </a:solidFill>
                <a:latin typeface="Cambria" panose="02040503050406030204" pitchFamily="18" charset="0"/>
                <a:ea typeface="Cambria" panose="02040503050406030204" pitchFamily="18" charset="0"/>
                <a:cs typeface="+mn-cs"/>
              </a:defRPr>
            </a:pPr>
            <a:endParaRPr lang="en-US"/>
          </a:p>
        </c:txPr>
        <c:crossAx val="744769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500" b="1" i="0" u="none" strike="noStrike" kern="1200" spc="0" baseline="0">
                <a:solidFill>
                  <a:srgbClr val="3E4655">
                    <a:lumMod val="65000"/>
                    <a:lumOff val="35000"/>
                  </a:srgbClr>
                </a:solidFill>
                <a:latin typeface="Cambria" panose="02040503050406030204" pitchFamily="18" charset="0"/>
                <a:ea typeface="Cambria" panose="02040503050406030204" pitchFamily="18" charset="0"/>
                <a:cs typeface="+mn-cs"/>
              </a:defRPr>
            </a:pPr>
            <a:r>
              <a:rPr lang="en-US" sz="1300" b="1" dirty="0">
                <a:solidFill>
                  <a:srgbClr val="2846A8"/>
                </a:solidFill>
              </a:rPr>
              <a:t>Corporate </a:t>
            </a:r>
            <a:r>
              <a:rPr lang="en-US" sz="1300" b="1" i="0" u="none" strike="noStrike" kern="1200" spc="0" baseline="0" dirty="0">
                <a:solidFill>
                  <a:srgbClr val="2846A8"/>
                </a:solidFill>
                <a:latin typeface="Cambria" panose="02040503050406030204" pitchFamily="18" charset="0"/>
                <a:ea typeface="Cambria" panose="02040503050406030204" pitchFamily="18" charset="0"/>
                <a:cs typeface="+mn-cs"/>
              </a:rPr>
              <a:t>income tax rates in 2025 (%)</a:t>
            </a:r>
          </a:p>
        </c:rich>
      </c:tx>
      <c:layout>
        <c:manualLayout>
          <c:xMode val="edge"/>
          <c:yMode val="edge"/>
          <c:x val="0.35476224339828377"/>
          <c:y val="0.22147517195392941"/>
        </c:manualLayout>
      </c:layout>
      <c:overlay val="0"/>
      <c:spPr>
        <a:noFill/>
        <a:ln>
          <a:noFill/>
        </a:ln>
        <a:effectLst/>
      </c:spPr>
      <c:txPr>
        <a:bodyPr rot="0" spcFirstLastPara="1" vertOverflow="ellipsis" vert="horz" wrap="square" anchor="ctr" anchorCtr="1"/>
        <a:lstStyle/>
        <a:p>
          <a:pPr algn="ctr" rtl="0">
            <a:defRPr sz="1500" b="1" i="0" u="none" strike="noStrike" kern="1200" spc="0" baseline="0">
              <a:solidFill>
                <a:srgbClr val="3E4655">
                  <a:lumMod val="65000"/>
                  <a:lumOff val="35000"/>
                </a:srgbClr>
              </a:solidFill>
              <a:latin typeface="Cambria" panose="02040503050406030204" pitchFamily="18" charset="0"/>
              <a:ea typeface="Cambria" panose="02040503050406030204" pitchFamily="18" charset="0"/>
              <a:cs typeface="+mn-cs"/>
            </a:defRPr>
          </a:pPr>
          <a:endParaRPr lang="en-US"/>
        </a:p>
      </c:txPr>
    </c:title>
    <c:autoTitleDeleted val="0"/>
    <c:plotArea>
      <c:layout>
        <c:manualLayout>
          <c:layoutTarget val="inner"/>
          <c:xMode val="edge"/>
          <c:yMode val="edge"/>
          <c:x val="3.8619928368328958E-3"/>
          <c:y val="0"/>
          <c:w val="0.99505293088363955"/>
          <c:h val="0.81116266716660412"/>
        </c:manualLayout>
      </c:layout>
      <c:barChart>
        <c:barDir val="col"/>
        <c:grouping val="clustered"/>
        <c:varyColors val="0"/>
        <c:ser>
          <c:idx val="0"/>
          <c:order val="0"/>
          <c:tx>
            <c:strRef>
              <c:f>'Corporate Tax'!$C$1</c:f>
              <c:strCache>
                <c:ptCount val="1"/>
                <c:pt idx="0">
                  <c:v>Corporate tax rates (%)                     2024</c:v>
                </c:pt>
              </c:strCache>
            </c:strRef>
          </c:tx>
          <c:spPr>
            <a:solidFill>
              <a:srgbClr val="ECA312"/>
            </a:solidFill>
            <a:ln>
              <a:noFill/>
            </a:ln>
            <a:effectLst/>
          </c:spPr>
          <c:invertIfNegative val="0"/>
          <c:dPt>
            <c:idx val="5"/>
            <c:invertIfNegative val="0"/>
            <c:bubble3D val="0"/>
            <c:spPr>
              <a:solidFill>
                <a:srgbClr val="FF0000"/>
              </a:solidFill>
              <a:ln>
                <a:noFill/>
              </a:ln>
              <a:effectLst/>
            </c:spPr>
            <c:extLst>
              <c:ext xmlns:c16="http://schemas.microsoft.com/office/drawing/2014/chart" uri="{C3380CC4-5D6E-409C-BE32-E72D297353CC}">
                <c16:uniqueId val="{00000001-8F5E-43EE-9376-EA43258D218F}"/>
              </c:ext>
            </c:extLst>
          </c:dPt>
          <c:dPt>
            <c:idx val="6"/>
            <c:invertIfNegative val="0"/>
            <c:bubble3D val="0"/>
            <c:spPr>
              <a:solidFill>
                <a:srgbClr val="ECA312"/>
              </a:solidFill>
              <a:ln>
                <a:noFill/>
              </a:ln>
              <a:effectLst/>
            </c:spPr>
            <c:extLst>
              <c:ext xmlns:c16="http://schemas.microsoft.com/office/drawing/2014/chart" uri="{C3380CC4-5D6E-409C-BE32-E72D297353CC}">
                <c16:uniqueId val="{00000003-963B-4AEB-88BB-77EF531FEF2F}"/>
              </c:ext>
            </c:extLst>
          </c:dPt>
          <c:dLbls>
            <c:dLbl>
              <c:idx val="0"/>
              <c:layout>
                <c:manualLayout>
                  <c:x val="1.726253347466603E-18"/>
                  <c:y val="0.1670224048896632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63B-4AEB-88BB-77EF531FEF2F}"/>
                </c:ext>
              </c:extLst>
            </c:dLbl>
            <c:dLbl>
              <c:idx val="2"/>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D262-4371-9C6D-1ED1D76A572D}"/>
                </c:ext>
              </c:extLst>
            </c:dLbl>
            <c:dLbl>
              <c:idx val="3"/>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D262-4371-9C6D-1ED1D76A572D}"/>
                </c:ext>
              </c:extLst>
            </c:dLbl>
            <c:dLbl>
              <c:idx val="4"/>
              <c:layout>
                <c:manualLayout>
                  <c:x val="-2.6922657690607059E-17"/>
                  <c:y val="0.27309609730350426"/>
                </c:manualLayout>
              </c:layout>
              <c:tx>
                <c:rich>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fld id="{07A21554-BE8F-426A-8156-4549E8A5AC3D}" type="VALUE">
                      <a:rPr lang="en-US">
                        <a:solidFill>
                          <a:schemeClr val="tx1"/>
                        </a:solidFill>
                      </a:rPr>
                      <a:pPr>
                        <a:defRPr sz="900" b="1">
                          <a:solidFill>
                            <a:schemeClr val="tx1"/>
                          </a:solidFill>
                        </a:defRPr>
                      </a:pPr>
                      <a:t>[VALUE]</a:t>
                    </a:fld>
                    <a:endParaRPr lang="en-US"/>
                  </a:p>
                </c:rich>
              </c:tx>
              <c:numFmt formatCode="#,##0.0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262-4371-9C6D-1ED1D76A572D}"/>
                </c:ext>
              </c:extLst>
            </c:dLbl>
            <c:dLbl>
              <c:idx val="5"/>
              <c:tx>
                <c:rich>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fld id="{E5DD10E2-98D6-4BE6-82BE-2CDB63C44CC8}" type="CELLREF">
                      <a:rPr lang="en-US" smtClean="0">
                        <a:solidFill>
                          <a:schemeClr val="tx1"/>
                        </a:solidFill>
                      </a:rPr>
                      <a:pPr>
                        <a:defRPr sz="900" b="1">
                          <a:solidFill>
                            <a:schemeClr val="tx1"/>
                          </a:solidFill>
                        </a:defRPr>
                      </a:pPr>
                      <a:t>[CELLREF]</a:t>
                    </a:fld>
                    <a:endParaRPr lang="en-US"/>
                  </a:p>
                </c:rich>
              </c:tx>
              <c:numFmt formatCode="#,##0.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dlblFTEntry>
                      <c15:txfldGUID>{E5DD10E2-98D6-4BE6-82BE-2CDB63C44CC8}</c15:txfldGUID>
                      <c15:f>'Corporate Tax'!$C$7</c15:f>
                      <c15:dlblFieldTableCache>
                        <c:ptCount val="1"/>
                        <c:pt idx="0">
                          <c:v>16</c:v>
                        </c:pt>
                      </c15:dlblFieldTableCache>
                    </c15:dlblFTEntry>
                  </c15:dlblFieldTable>
                  <c15:showDataLabelsRange val="0"/>
                </c:ext>
                <c:ext xmlns:c16="http://schemas.microsoft.com/office/drawing/2014/chart" uri="{C3380CC4-5D6E-409C-BE32-E72D297353CC}">
                  <c16:uniqueId val="{00000001-8F5E-43EE-9376-EA43258D218F}"/>
                </c:ext>
              </c:extLst>
            </c:dLbl>
            <c:dLbl>
              <c:idx val="10"/>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D262-4371-9C6D-1ED1D76A572D}"/>
                </c:ext>
              </c:extLst>
            </c:dLbl>
            <c:dLbl>
              <c:idx val="13"/>
              <c:tx>
                <c:rich>
                  <a:bodyPr/>
                  <a:lstStyle/>
                  <a:p>
                    <a:fld id="{CE8C46F9-9F7D-4D00-9862-57169B90C33D}" type="VALUE">
                      <a:rPr lang="en-US" smtClean="0">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262-4371-9C6D-1ED1D76A572D}"/>
                </c:ext>
              </c:extLst>
            </c:dLbl>
            <c:dLbl>
              <c:idx val="18"/>
              <c:tx>
                <c:rich>
                  <a:bodyPr/>
                  <a:lstStyle/>
                  <a:p>
                    <a:fld id="{0BAF2EEC-A398-4C0D-96CF-339F6732CA1A}" type="CELLREF">
                      <a:rPr lang="en-US" smtClean="0"/>
                      <a:pPr/>
                      <a:t>[CELLREF]</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0BAF2EEC-A398-4C0D-96CF-339F6732CA1A}</c15:txfldGUID>
                      <c15:f>'Corporate Tax'!$C$20</c15:f>
                      <c15:dlblFieldTableCache>
                        <c:ptCount val="1"/>
                        <c:pt idx="0">
                          <c:v>22</c:v>
                        </c:pt>
                      </c15:dlblFieldTableCache>
                    </c15:dlblFTEntry>
                  </c15:dlblFieldTable>
                  <c15:showDataLabelsRange val="0"/>
                </c:ext>
                <c:ext xmlns:c16="http://schemas.microsoft.com/office/drawing/2014/chart" uri="{C3380CC4-5D6E-409C-BE32-E72D297353CC}">
                  <c16:uniqueId val="{00000008-963B-4AEB-88BB-77EF531FEF2F}"/>
                </c:ext>
              </c:extLst>
            </c:dLbl>
            <c:dLbl>
              <c:idx val="21"/>
              <c:tx>
                <c:rich>
                  <a:bodyPr/>
                  <a:lstStyle/>
                  <a:p>
                    <a:fld id="{CB62CC09-6200-49EA-A0AE-EBFB2AB3EC7C}" type="CELLREF">
                      <a:rPr lang="en-US" smtClean="0"/>
                      <a:pPr/>
                      <a:t>[CELLREF]</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CB62CC09-6200-49EA-A0AE-EBFB2AB3EC7C}</c15:txfldGUID>
                      <c15:f>'Corporate Tax'!$C$23</c15:f>
                      <c15:dlblFieldTableCache>
                        <c:ptCount val="1"/>
                        <c:pt idx="0">
                          <c:v>24</c:v>
                        </c:pt>
                      </c15:dlblFieldTableCache>
                    </c15:dlblFTEntry>
                  </c15:dlblFieldTable>
                  <c15:showDataLabelsRange val="0"/>
                </c:ext>
                <c:ext xmlns:c16="http://schemas.microsoft.com/office/drawing/2014/chart" uri="{C3380CC4-5D6E-409C-BE32-E72D297353CC}">
                  <c16:uniqueId val="{00000009-963B-4AEB-88BB-77EF531FEF2F}"/>
                </c:ext>
              </c:extLst>
            </c:dLbl>
            <c:dLbl>
              <c:idx val="22"/>
              <c:tx>
                <c:rich>
                  <a:bodyPr/>
                  <a:lstStyle/>
                  <a:p>
                    <a:fld id="{BFAB8C19-364D-4542-9C7B-9F17F27142C8}" type="CELLREF">
                      <a:rPr lang="en-US" smtClean="0"/>
                      <a:pPr/>
                      <a:t>[CELLREF]</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BFAB8C19-364D-4542-9C7B-9F17F27142C8}</c15:txfldGUID>
                      <c15:f>'Corporate Tax'!$C$24</c15:f>
                      <c15:dlblFieldTableCache>
                        <c:ptCount val="1"/>
                        <c:pt idx="0">
                          <c:v>25</c:v>
                        </c:pt>
                      </c15:dlblFieldTableCache>
                    </c15:dlblFTEntry>
                  </c15:dlblFieldTable>
                  <c15:showDataLabelsRange val="0"/>
                </c:ext>
                <c:ext xmlns:c16="http://schemas.microsoft.com/office/drawing/2014/chart" uri="{C3380CC4-5D6E-409C-BE32-E72D297353CC}">
                  <c16:uniqueId val="{0000000A-963B-4AEB-88BB-77EF531FEF2F}"/>
                </c:ext>
              </c:extLst>
            </c:dLbl>
            <c:dLbl>
              <c:idx val="23"/>
              <c:tx>
                <c:rich>
                  <a:bodyPr/>
                  <a:lstStyle/>
                  <a:p>
                    <a:fld id="{8F2E9D67-6572-4E11-A180-44D2DF8483D1}" type="CELLREF">
                      <a:rPr lang="en-US" smtClean="0"/>
                      <a:pPr/>
                      <a:t>[CELLREF]</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8F2E9D67-6572-4E11-A180-44D2DF8483D1}</c15:txfldGUID>
                      <c15:f>'Corporate Tax'!$C$25</c15:f>
                      <c15:dlblFieldTableCache>
                        <c:ptCount val="1"/>
                        <c:pt idx="0">
                          <c:v>25</c:v>
                        </c:pt>
                      </c15:dlblFieldTableCache>
                    </c15:dlblFTEntry>
                  </c15:dlblFieldTable>
                  <c15:showDataLabelsRange val="0"/>
                </c:ext>
                <c:ext xmlns:c16="http://schemas.microsoft.com/office/drawing/2014/chart" uri="{C3380CC4-5D6E-409C-BE32-E72D297353CC}">
                  <c16:uniqueId val="{0000000B-963B-4AEB-88BB-77EF531FEF2F}"/>
                </c:ext>
              </c:extLst>
            </c:dLbl>
            <c:dLbl>
              <c:idx val="24"/>
              <c:tx>
                <c:rich>
                  <a:bodyPr/>
                  <a:lstStyle/>
                  <a:p>
                    <a:fld id="{D3998522-1602-46B6-BA6C-70EAD3F5F9B2}" type="CELLREF">
                      <a:rPr lang="en-US" smtClean="0"/>
                      <a:pPr/>
                      <a:t>[CELLREF]</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D3998522-1602-46B6-BA6C-70EAD3F5F9B2}</c15:txfldGUID>
                      <c15:f>'Corporate Tax'!$C$26</c15:f>
                      <c15:dlblFieldTableCache>
                        <c:ptCount val="1"/>
                        <c:pt idx="0">
                          <c:v>25</c:v>
                        </c:pt>
                      </c15:dlblFieldTableCache>
                    </c15:dlblFTEntry>
                  </c15:dlblFieldTable>
                  <c15:showDataLabelsRange val="0"/>
                </c:ext>
                <c:ext xmlns:c16="http://schemas.microsoft.com/office/drawing/2014/chart" uri="{C3380CC4-5D6E-409C-BE32-E72D297353CC}">
                  <c16:uniqueId val="{0000000C-963B-4AEB-88BB-77EF531FEF2F}"/>
                </c:ext>
              </c:extLst>
            </c:dLbl>
            <c:dLbl>
              <c:idx val="25"/>
              <c:tx>
                <c:rich>
                  <a:bodyPr/>
                  <a:lstStyle/>
                  <a:p>
                    <a:fld id="{502BB250-4322-4CBC-8E6B-21742F2B5D84}" type="CELLREF">
                      <a:rPr lang="en-US" smtClean="0"/>
                      <a:pPr/>
                      <a:t>[CELLREF]</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dlblFTEntry>
                      <c15:txfldGUID>{502BB250-4322-4CBC-8E6B-21742F2B5D84}</c15:txfldGUID>
                      <c15:f>'Corporate Tax'!$C$27</c15:f>
                      <c15:dlblFieldTableCache>
                        <c:ptCount val="1"/>
                        <c:pt idx="0">
                          <c:v>25.8</c:v>
                        </c:pt>
                      </c15:dlblFieldTableCache>
                    </c15:dlblFTEntry>
                  </c15:dlblFieldTable>
                  <c15:showDataLabelsRange val="0"/>
                </c:ext>
                <c:ext xmlns:c16="http://schemas.microsoft.com/office/drawing/2014/chart" uri="{C3380CC4-5D6E-409C-BE32-E72D297353CC}">
                  <c16:uniqueId val="{0000000D-963B-4AEB-88BB-77EF531FEF2F}"/>
                </c:ext>
              </c:extLst>
            </c:dLbl>
            <c:numFmt formatCode="#,##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rporate Tax'!$B$2:$B$28</c:f>
              <c:strCache>
                <c:ptCount val="27"/>
                <c:pt idx="0">
                  <c:v>HU</c:v>
                </c:pt>
                <c:pt idx="1">
                  <c:v>BG</c:v>
                </c:pt>
                <c:pt idx="2">
                  <c:v>CY</c:v>
                </c:pt>
                <c:pt idx="3">
                  <c:v>IE</c:v>
                </c:pt>
                <c:pt idx="4">
                  <c:v>DE</c:v>
                </c:pt>
                <c:pt idx="5">
                  <c:v>RO</c:v>
                </c:pt>
                <c:pt idx="6">
                  <c:v>LT</c:v>
                </c:pt>
                <c:pt idx="7">
                  <c:v>HR</c:v>
                </c:pt>
                <c:pt idx="8">
                  <c:v>PL</c:v>
                </c:pt>
                <c:pt idx="9">
                  <c:v>FI</c:v>
                </c:pt>
                <c:pt idx="10">
                  <c:v>AT</c:v>
                </c:pt>
                <c:pt idx="11">
                  <c:v>LV</c:v>
                </c:pt>
                <c:pt idx="12">
                  <c:v>SE</c:v>
                </c:pt>
                <c:pt idx="13">
                  <c:v>CZ</c:v>
                </c:pt>
                <c:pt idx="14">
                  <c:v>SK</c:v>
                </c:pt>
                <c:pt idx="15">
                  <c:v>PT</c:v>
                </c:pt>
                <c:pt idx="16">
                  <c:v>DK</c:v>
                </c:pt>
                <c:pt idx="17">
                  <c:v>EE</c:v>
                </c:pt>
                <c:pt idx="18">
                  <c:v>EL</c:v>
                </c:pt>
                <c:pt idx="19">
                  <c:v>SI</c:v>
                </c:pt>
                <c:pt idx="20">
                  <c:v>LU</c:v>
                </c:pt>
                <c:pt idx="21">
                  <c:v>IT</c:v>
                </c:pt>
                <c:pt idx="22">
                  <c:v>BE</c:v>
                </c:pt>
                <c:pt idx="23">
                  <c:v>ES</c:v>
                </c:pt>
                <c:pt idx="24">
                  <c:v>FR</c:v>
                </c:pt>
                <c:pt idx="25">
                  <c:v>NL</c:v>
                </c:pt>
                <c:pt idx="26">
                  <c:v>MT</c:v>
                </c:pt>
              </c:strCache>
            </c:strRef>
          </c:cat>
          <c:val>
            <c:numRef>
              <c:f>'Corporate Tax'!$C$2:$C$28</c:f>
              <c:numCache>
                <c:formatCode>0</c:formatCode>
                <c:ptCount val="27"/>
                <c:pt idx="0" formatCode="0.0">
                  <c:v>9</c:v>
                </c:pt>
                <c:pt idx="1">
                  <c:v>10</c:v>
                </c:pt>
                <c:pt idx="2" formatCode="0.0">
                  <c:v>12.5</c:v>
                </c:pt>
                <c:pt idx="3" formatCode="0.0">
                  <c:v>12.5</c:v>
                </c:pt>
                <c:pt idx="4" formatCode="0.000">
                  <c:v>15.824999999999999</c:v>
                </c:pt>
                <c:pt idx="5">
                  <c:v>16</c:v>
                </c:pt>
                <c:pt idx="6">
                  <c:v>16</c:v>
                </c:pt>
                <c:pt idx="7">
                  <c:v>18</c:v>
                </c:pt>
                <c:pt idx="8">
                  <c:v>19</c:v>
                </c:pt>
                <c:pt idx="9">
                  <c:v>20</c:v>
                </c:pt>
                <c:pt idx="10">
                  <c:v>20</c:v>
                </c:pt>
                <c:pt idx="11">
                  <c:v>20</c:v>
                </c:pt>
                <c:pt idx="12" formatCode="0.0">
                  <c:v>20.6</c:v>
                </c:pt>
                <c:pt idx="13">
                  <c:v>21</c:v>
                </c:pt>
                <c:pt idx="14">
                  <c:v>21</c:v>
                </c:pt>
                <c:pt idx="15">
                  <c:v>21</c:v>
                </c:pt>
                <c:pt idx="16">
                  <c:v>22</c:v>
                </c:pt>
                <c:pt idx="17">
                  <c:v>22</c:v>
                </c:pt>
                <c:pt idx="18">
                  <c:v>22</c:v>
                </c:pt>
                <c:pt idx="19">
                  <c:v>22</c:v>
                </c:pt>
                <c:pt idx="20" formatCode="0.00">
                  <c:v>23.87</c:v>
                </c:pt>
                <c:pt idx="21">
                  <c:v>24</c:v>
                </c:pt>
                <c:pt idx="22">
                  <c:v>25</c:v>
                </c:pt>
                <c:pt idx="23">
                  <c:v>25</c:v>
                </c:pt>
                <c:pt idx="24">
                  <c:v>25</c:v>
                </c:pt>
                <c:pt idx="25" formatCode="0.0">
                  <c:v>25.8</c:v>
                </c:pt>
                <c:pt idx="26">
                  <c:v>35</c:v>
                </c:pt>
              </c:numCache>
            </c:numRef>
          </c:val>
          <c:extLst>
            <c:ext xmlns:c16="http://schemas.microsoft.com/office/drawing/2014/chart" uri="{C3380CC4-5D6E-409C-BE32-E72D297353CC}">
              <c16:uniqueId val="{00000002-8F5E-43EE-9376-EA43258D218F}"/>
            </c:ext>
          </c:extLst>
        </c:ser>
        <c:dLbls>
          <c:showLegendKey val="0"/>
          <c:showVal val="0"/>
          <c:showCatName val="0"/>
          <c:showSerName val="0"/>
          <c:showPercent val="0"/>
          <c:showBubbleSize val="0"/>
        </c:dLbls>
        <c:gapWidth val="17"/>
        <c:overlap val="-27"/>
        <c:axId val="620425672"/>
        <c:axId val="620427632"/>
      </c:barChart>
      <c:catAx>
        <c:axId val="620425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77839B"/>
                </a:solidFill>
                <a:latin typeface="Cambria" panose="02040503050406030204" pitchFamily="18" charset="0"/>
                <a:ea typeface="Cambria" panose="02040503050406030204" pitchFamily="18" charset="0"/>
                <a:cs typeface="+mn-cs"/>
              </a:defRPr>
            </a:pPr>
            <a:endParaRPr lang="en-US"/>
          </a:p>
        </c:txPr>
        <c:crossAx val="620427632"/>
        <c:crosses val="autoZero"/>
        <c:auto val="1"/>
        <c:lblAlgn val="ctr"/>
        <c:lblOffset val="100"/>
        <c:noMultiLvlLbl val="0"/>
      </c:catAx>
      <c:valAx>
        <c:axId val="620427632"/>
        <c:scaling>
          <c:orientation val="minMax"/>
        </c:scaling>
        <c:delete val="1"/>
        <c:axPos val="l"/>
        <c:numFmt formatCode="0.0" sourceLinked="1"/>
        <c:majorTickMark val="none"/>
        <c:minorTickMark val="none"/>
        <c:tickLblPos val="nextTo"/>
        <c:crossAx val="620425672"/>
        <c:crosses val="autoZero"/>
        <c:crossBetween val="between"/>
      </c:valAx>
      <c:spPr>
        <a:noFill/>
        <a:ln>
          <a:noFill/>
        </a:ln>
        <a:effectLst/>
      </c:spPr>
    </c:plotArea>
    <c:plotVisOnly val="1"/>
    <c:dispBlanksAs val="gap"/>
    <c:showDLblsOverMax val="0"/>
  </c:chart>
  <c:spPr>
    <a:noFill/>
    <a:ln>
      <a:noFill/>
    </a:ln>
    <a:effectLst/>
  </c:spPr>
  <c:txPr>
    <a:bodyPr/>
    <a:lstStyle/>
    <a:p>
      <a:pPr>
        <a:defRPr sz="1100">
          <a:latin typeface="Cambria" panose="02040503050406030204" pitchFamily="18" charset="0"/>
          <a:ea typeface="Cambria" panose="02040503050406030204" pitchFamily="18"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defRPr>
            </a:pPr>
            <a:r>
              <a: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rPr>
              <a:t>Standard VAT rate </a:t>
            </a:r>
            <a:r>
              <a:rPr lang="en-US" sz="1300" b="1" i="0" u="none" strike="noStrike" kern="1200" spc="0" baseline="0" dirty="0">
                <a:solidFill>
                  <a:srgbClr val="2846A8"/>
                </a:solidFill>
                <a:latin typeface="Cambria" panose="02040503050406030204" pitchFamily="18" charset="0"/>
                <a:ea typeface="Cambria" panose="02040503050406030204" pitchFamily="18" charset="0"/>
                <a:cs typeface="+mn-cs"/>
              </a:rPr>
              <a:t>in 2025 </a:t>
            </a:r>
            <a:r>
              <a: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rPr>
              <a:t>(%)</a:t>
            </a:r>
          </a:p>
        </c:rich>
      </c:tx>
      <c:layout>
        <c:manualLayout>
          <c:xMode val="edge"/>
          <c:yMode val="edge"/>
          <c:x val="0.40668871572486698"/>
          <c:y val="0.17480833023633535"/>
        </c:manualLayout>
      </c:layout>
      <c:overlay val="0"/>
      <c:spPr>
        <a:noFill/>
        <a:ln>
          <a:noFill/>
        </a:ln>
        <a:effectLst/>
      </c:spPr>
      <c:txPr>
        <a:bodyPr rot="0" spcFirstLastPara="1" vertOverflow="ellipsis" vert="horz" wrap="square" anchor="ctr" anchorCtr="1"/>
        <a:lstStyle/>
        <a:p>
          <a:pPr algn="ctr" rtl="0">
            <a:def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defRPr>
          </a:pPr>
          <a:endParaRPr lang="ro-RO"/>
        </a:p>
      </c:txPr>
    </c:title>
    <c:autoTitleDeleted val="0"/>
    <c:plotArea>
      <c:layout>
        <c:manualLayout>
          <c:layoutTarget val="inner"/>
          <c:xMode val="edge"/>
          <c:yMode val="edge"/>
          <c:x val="1.5693721466663087E-2"/>
          <c:y val="0.1327250212967761"/>
          <c:w val="0.96861255706667382"/>
          <c:h val="0.63205797513366868"/>
        </c:manualLayout>
      </c:layout>
      <c:barChart>
        <c:barDir val="col"/>
        <c:grouping val="clustered"/>
        <c:varyColors val="0"/>
        <c:ser>
          <c:idx val="0"/>
          <c:order val="0"/>
          <c:tx>
            <c:strRef>
              <c:f>Sheet1!$B$2</c:f>
              <c:strCache>
                <c:ptCount val="1"/>
                <c:pt idx="0">
                  <c:v>Standard VAT rate (%)</c:v>
                </c:pt>
              </c:strCache>
            </c:strRef>
          </c:tx>
          <c:spPr>
            <a:solidFill>
              <a:srgbClr val="8484B6"/>
            </a:solidFill>
            <a:ln>
              <a:noFill/>
            </a:ln>
            <a:effectLst/>
          </c:spPr>
          <c:invertIfNegative val="0"/>
          <c:dPt>
            <c:idx val="2"/>
            <c:invertIfNegative val="0"/>
            <c:bubble3D val="0"/>
            <c:spPr>
              <a:solidFill>
                <a:srgbClr val="FF0000"/>
              </a:solidFill>
              <a:ln>
                <a:noFill/>
              </a:ln>
              <a:effectLst/>
            </c:spPr>
            <c:extLst>
              <c:ext xmlns:c16="http://schemas.microsoft.com/office/drawing/2014/chart" uri="{C3380CC4-5D6E-409C-BE32-E72D297353CC}">
                <c16:uniqueId val="{00000001-D121-4C7D-BE98-D3178B708DA3}"/>
              </c:ext>
            </c:extLst>
          </c:dPt>
          <c:dLbls>
            <c:dLbl>
              <c:idx val="25"/>
              <c:layout>
                <c:manualLayout>
                  <c:x val="-1.0462360115698546E-16"/>
                  <c:y val="0.29663075821313062"/>
                </c:manualLayout>
              </c:layout>
              <c:tx>
                <c:rich>
                  <a:bodyPr/>
                  <a:lstStyle/>
                  <a:p>
                    <a:fld id="{77F2582B-A54F-4356-AD35-36BC96522191}" type="VALUE">
                      <a:rPr lang="en-US" b="1" baseline="0">
                        <a:solidFill>
                          <a:schemeClr val="bg1"/>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121-4C7D-BE98-D3178B708DA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3:$C$29</c:f>
              <c:strCache>
                <c:ptCount val="27"/>
                <c:pt idx="0">
                  <c:v>LU</c:v>
                </c:pt>
                <c:pt idx="1">
                  <c:v>MT</c:v>
                </c:pt>
                <c:pt idx="2">
                  <c:v>RO</c:v>
                </c:pt>
                <c:pt idx="3">
                  <c:v>CY</c:v>
                </c:pt>
                <c:pt idx="4">
                  <c:v>DE</c:v>
                </c:pt>
                <c:pt idx="5">
                  <c:v>AT</c:v>
                </c:pt>
                <c:pt idx="6">
                  <c:v>BG</c:v>
                </c:pt>
                <c:pt idx="7">
                  <c:v>FR</c:v>
                </c:pt>
                <c:pt idx="8">
                  <c:v>SK</c:v>
                </c:pt>
                <c:pt idx="9">
                  <c:v>BE</c:v>
                </c:pt>
                <c:pt idx="10">
                  <c:v>CZ</c:v>
                </c:pt>
                <c:pt idx="11">
                  <c:v>LV</c:v>
                </c:pt>
                <c:pt idx="12">
                  <c:v>LT</c:v>
                </c:pt>
                <c:pt idx="13">
                  <c:v>NL</c:v>
                </c:pt>
                <c:pt idx="14">
                  <c:v>ES</c:v>
                </c:pt>
                <c:pt idx="15">
                  <c:v>EE</c:v>
                </c:pt>
                <c:pt idx="16">
                  <c:v>IT</c:v>
                </c:pt>
                <c:pt idx="17">
                  <c:v>SI</c:v>
                </c:pt>
                <c:pt idx="18">
                  <c:v>IE</c:v>
                </c:pt>
                <c:pt idx="19">
                  <c:v>PL</c:v>
                </c:pt>
                <c:pt idx="20">
                  <c:v>PT</c:v>
                </c:pt>
                <c:pt idx="21">
                  <c:v>FI</c:v>
                </c:pt>
                <c:pt idx="22">
                  <c:v>EL</c:v>
                </c:pt>
                <c:pt idx="23">
                  <c:v>HR</c:v>
                </c:pt>
                <c:pt idx="24">
                  <c:v>DK</c:v>
                </c:pt>
                <c:pt idx="25">
                  <c:v>SE</c:v>
                </c:pt>
                <c:pt idx="26">
                  <c:v>HU</c:v>
                </c:pt>
              </c:strCache>
            </c:strRef>
          </c:cat>
          <c:val>
            <c:numRef>
              <c:f>Sheet1!$B$3:$B$29</c:f>
              <c:numCache>
                <c:formatCode>General</c:formatCode>
                <c:ptCount val="27"/>
                <c:pt idx="0">
                  <c:v>17</c:v>
                </c:pt>
                <c:pt idx="1">
                  <c:v>18</c:v>
                </c:pt>
                <c:pt idx="2">
                  <c:v>19</c:v>
                </c:pt>
                <c:pt idx="3">
                  <c:v>19</c:v>
                </c:pt>
                <c:pt idx="4">
                  <c:v>19</c:v>
                </c:pt>
                <c:pt idx="5">
                  <c:v>20</c:v>
                </c:pt>
                <c:pt idx="6">
                  <c:v>20</c:v>
                </c:pt>
                <c:pt idx="7">
                  <c:v>20</c:v>
                </c:pt>
                <c:pt idx="8">
                  <c:v>20</c:v>
                </c:pt>
                <c:pt idx="9">
                  <c:v>21</c:v>
                </c:pt>
                <c:pt idx="10">
                  <c:v>21</c:v>
                </c:pt>
                <c:pt idx="11">
                  <c:v>21</c:v>
                </c:pt>
                <c:pt idx="12">
                  <c:v>21</c:v>
                </c:pt>
                <c:pt idx="13">
                  <c:v>21</c:v>
                </c:pt>
                <c:pt idx="14">
                  <c:v>21</c:v>
                </c:pt>
                <c:pt idx="15">
                  <c:v>22</c:v>
                </c:pt>
                <c:pt idx="16">
                  <c:v>22</c:v>
                </c:pt>
                <c:pt idx="17">
                  <c:v>22</c:v>
                </c:pt>
                <c:pt idx="18">
                  <c:v>23</c:v>
                </c:pt>
                <c:pt idx="19">
                  <c:v>23</c:v>
                </c:pt>
                <c:pt idx="20">
                  <c:v>23</c:v>
                </c:pt>
                <c:pt idx="21">
                  <c:v>25.5</c:v>
                </c:pt>
                <c:pt idx="22">
                  <c:v>24</c:v>
                </c:pt>
                <c:pt idx="23">
                  <c:v>25</c:v>
                </c:pt>
                <c:pt idx="24">
                  <c:v>25</c:v>
                </c:pt>
                <c:pt idx="25">
                  <c:v>25</c:v>
                </c:pt>
                <c:pt idx="26">
                  <c:v>27</c:v>
                </c:pt>
              </c:numCache>
            </c:numRef>
          </c:val>
          <c:extLst>
            <c:ext xmlns:c16="http://schemas.microsoft.com/office/drawing/2014/chart" uri="{C3380CC4-5D6E-409C-BE32-E72D297353CC}">
              <c16:uniqueId val="{00000003-D121-4C7D-BE98-D3178B708DA3}"/>
            </c:ext>
          </c:extLst>
        </c:ser>
        <c:ser>
          <c:idx val="1"/>
          <c:order val="1"/>
          <c:tx>
            <c:strRef>
              <c:f>Sheet1!$C$2</c:f>
              <c:strCache>
                <c:ptCount val="1"/>
                <c:pt idx="0">
                  <c:v>COD</c:v>
                </c:pt>
              </c:strCache>
            </c:strRef>
          </c:tx>
          <c:spPr>
            <a:solidFill>
              <a:schemeClr val="accent2"/>
            </a:solidFill>
            <a:ln>
              <a:noFill/>
            </a:ln>
            <a:effectLst/>
          </c:spPr>
          <c:invertIfNegative val="0"/>
          <c:cat>
            <c:strRef>
              <c:f>Sheet1!$C$3:$C$29</c:f>
              <c:strCache>
                <c:ptCount val="27"/>
                <c:pt idx="0">
                  <c:v>LU</c:v>
                </c:pt>
                <c:pt idx="1">
                  <c:v>MT</c:v>
                </c:pt>
                <c:pt idx="2">
                  <c:v>RO</c:v>
                </c:pt>
                <c:pt idx="3">
                  <c:v>CY</c:v>
                </c:pt>
                <c:pt idx="4">
                  <c:v>DE</c:v>
                </c:pt>
                <c:pt idx="5">
                  <c:v>AT</c:v>
                </c:pt>
                <c:pt idx="6">
                  <c:v>BG</c:v>
                </c:pt>
                <c:pt idx="7">
                  <c:v>FR</c:v>
                </c:pt>
                <c:pt idx="8">
                  <c:v>SK</c:v>
                </c:pt>
                <c:pt idx="9">
                  <c:v>BE</c:v>
                </c:pt>
                <c:pt idx="10">
                  <c:v>CZ</c:v>
                </c:pt>
                <c:pt idx="11">
                  <c:v>LV</c:v>
                </c:pt>
                <c:pt idx="12">
                  <c:v>LT</c:v>
                </c:pt>
                <c:pt idx="13">
                  <c:v>NL</c:v>
                </c:pt>
                <c:pt idx="14">
                  <c:v>ES</c:v>
                </c:pt>
                <c:pt idx="15">
                  <c:v>EE</c:v>
                </c:pt>
                <c:pt idx="16">
                  <c:v>IT</c:v>
                </c:pt>
                <c:pt idx="17">
                  <c:v>SI</c:v>
                </c:pt>
                <c:pt idx="18">
                  <c:v>IE</c:v>
                </c:pt>
                <c:pt idx="19">
                  <c:v>PL</c:v>
                </c:pt>
                <c:pt idx="20">
                  <c:v>PT</c:v>
                </c:pt>
                <c:pt idx="21">
                  <c:v>FI</c:v>
                </c:pt>
                <c:pt idx="22">
                  <c:v>EL</c:v>
                </c:pt>
                <c:pt idx="23">
                  <c:v>HR</c:v>
                </c:pt>
                <c:pt idx="24">
                  <c:v>DK</c:v>
                </c:pt>
                <c:pt idx="25">
                  <c:v>SE</c:v>
                </c:pt>
                <c:pt idx="26">
                  <c:v>HU</c:v>
                </c:pt>
              </c:strCache>
            </c:strRef>
          </c:cat>
          <c:val>
            <c:numRef>
              <c:f>Sheet1!$C$3:$C$29</c:f>
              <c:numCache>
                <c:formatCode>General</c:formatCode>
                <c:ptCount val="2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numCache>
            </c:numRef>
          </c:val>
          <c:extLst>
            <c:ext xmlns:c16="http://schemas.microsoft.com/office/drawing/2014/chart" uri="{C3380CC4-5D6E-409C-BE32-E72D297353CC}">
              <c16:uniqueId val="{00000004-D121-4C7D-BE98-D3178B708DA3}"/>
            </c:ext>
          </c:extLst>
        </c:ser>
        <c:dLbls>
          <c:showLegendKey val="0"/>
          <c:showVal val="0"/>
          <c:showCatName val="0"/>
          <c:showSerName val="0"/>
          <c:showPercent val="0"/>
          <c:showBubbleSize val="0"/>
        </c:dLbls>
        <c:gapWidth val="0"/>
        <c:overlap val="69"/>
        <c:axId val="620423712"/>
        <c:axId val="620424104"/>
      </c:barChart>
      <c:catAx>
        <c:axId val="62042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77839B"/>
                </a:solidFill>
                <a:latin typeface="Cambria" panose="02040503050406030204" pitchFamily="18" charset="0"/>
                <a:ea typeface="Cambria" panose="02040503050406030204" pitchFamily="18" charset="0"/>
                <a:cs typeface="+mn-cs"/>
              </a:defRPr>
            </a:pPr>
            <a:endParaRPr lang="en-US"/>
          </a:p>
        </c:txPr>
        <c:crossAx val="620424104"/>
        <c:crosses val="autoZero"/>
        <c:auto val="1"/>
        <c:lblAlgn val="ctr"/>
        <c:lblOffset val="100"/>
        <c:noMultiLvlLbl val="0"/>
      </c:catAx>
      <c:valAx>
        <c:axId val="62042410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620423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defRPr>
            </a:pPr>
            <a:r>
              <a: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rPr>
              <a:t>Dividends </a:t>
            </a:r>
            <a:r>
              <a:rPr lang="en-US" sz="1300" b="1" i="0" u="none" strike="noStrike" kern="1200" spc="0" baseline="0" dirty="0">
                <a:solidFill>
                  <a:srgbClr val="2846A8"/>
                </a:solidFill>
                <a:latin typeface="Cambria" panose="02040503050406030204" pitchFamily="18" charset="0"/>
                <a:ea typeface="Cambria" panose="02040503050406030204" pitchFamily="18" charset="0"/>
                <a:cs typeface="+mn-cs"/>
              </a:rPr>
              <a:t>paid for 2024 </a:t>
            </a:r>
            <a:r>
              <a: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rPr>
              <a:t>(%)</a:t>
            </a:r>
          </a:p>
        </c:rich>
      </c:tx>
      <c:layout>
        <c:manualLayout>
          <c:xMode val="edge"/>
          <c:yMode val="edge"/>
          <c:x val="0.28708417351882215"/>
          <c:y val="0.25697387938733857"/>
        </c:manualLayout>
      </c:layout>
      <c:overlay val="0"/>
      <c:spPr>
        <a:noFill/>
        <a:ln>
          <a:noFill/>
        </a:ln>
        <a:effectLst/>
      </c:spPr>
      <c:txPr>
        <a:bodyPr rot="0" spcFirstLastPara="1" vertOverflow="ellipsis" vert="horz" wrap="square" anchor="ctr" anchorCtr="1"/>
        <a:lstStyle/>
        <a:p>
          <a:pPr algn="ctr" rtl="0">
            <a:defRPr lang="ro-RO" sz="1300" b="1" i="0" u="none" strike="noStrike" kern="1200" spc="0" baseline="0" dirty="0">
              <a:solidFill>
                <a:srgbClr val="2846A8"/>
              </a:solidFill>
              <a:latin typeface="Cambria" panose="02040503050406030204" pitchFamily="18" charset="0"/>
              <a:ea typeface="Cambria" panose="02040503050406030204" pitchFamily="18" charset="0"/>
              <a:cs typeface="+mn-cs"/>
            </a:defRPr>
          </a:pPr>
          <a:endParaRPr lang="ro-RO"/>
        </a:p>
      </c:txPr>
    </c:title>
    <c:autoTitleDeleted val="0"/>
    <c:plotArea>
      <c:layout>
        <c:manualLayout>
          <c:layoutTarget val="inner"/>
          <c:xMode val="edge"/>
          <c:yMode val="edge"/>
          <c:x val="1.2915972608538629E-2"/>
          <c:y val="0"/>
          <c:w val="0.97172255719734013"/>
          <c:h val="0.85276886622393366"/>
        </c:manualLayout>
      </c:layout>
      <c:barChart>
        <c:barDir val="col"/>
        <c:grouping val="clustered"/>
        <c:varyColors val="0"/>
        <c:ser>
          <c:idx val="0"/>
          <c:order val="0"/>
          <c:spPr>
            <a:solidFill>
              <a:srgbClr val="214BD2"/>
            </a:solidFill>
            <a:ln>
              <a:noFill/>
            </a:ln>
            <a:effectLst/>
          </c:spPr>
          <c:invertIfNegative val="0"/>
          <c:dPt>
            <c:idx val="2"/>
            <c:invertIfNegative val="0"/>
            <c:bubble3D val="0"/>
            <c:spPr>
              <a:solidFill>
                <a:srgbClr val="FF0000"/>
              </a:solidFill>
              <a:ln>
                <a:noFill/>
              </a:ln>
              <a:effectLst/>
            </c:spPr>
            <c:extLst>
              <c:ext xmlns:c16="http://schemas.microsoft.com/office/drawing/2014/chart" uri="{C3380CC4-5D6E-409C-BE32-E72D297353CC}">
                <c16:uniqueId val="{00000001-84D0-4A16-A15E-713EFD965BE8}"/>
              </c:ext>
            </c:extLst>
          </c:dPt>
          <c:dLbls>
            <c:dLbl>
              <c:idx val="0"/>
              <c:layout>
                <c:manualLayout>
                  <c:x val="0"/>
                  <c:y val="0.1355269701125028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D0-4A16-A15E-713EFD965BE8}"/>
                </c:ext>
              </c:extLst>
            </c:dLbl>
            <c:dLbl>
              <c:idx val="1"/>
              <c:layout>
                <c:manualLayout>
                  <c:x val="0"/>
                  <c:y val="0.1497396877103797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D0-4A16-A15E-713EFD965BE8}"/>
                </c:ext>
              </c:extLst>
            </c:dLbl>
            <c:dLbl>
              <c:idx val="12"/>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84D0-4A16-A15E-713EFD965BE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Cambria" panose="02040503050406030204" pitchFamily="18" charset="0"/>
                    <a:ea typeface="Cambria" panose="02040503050406030204" pitchFamily="18" charset="0"/>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29</c:f>
              <c:strCache>
                <c:ptCount val="22"/>
                <c:pt idx="0">
                  <c:v>BG</c:v>
                </c:pt>
                <c:pt idx="1">
                  <c:v>EL</c:v>
                </c:pt>
                <c:pt idx="2">
                  <c:v>RO</c:v>
                </c:pt>
                <c:pt idx="3">
                  <c:v>SK</c:v>
                </c:pt>
                <c:pt idx="4">
                  <c:v>HR</c:v>
                </c:pt>
                <c:pt idx="5">
                  <c:v>LU</c:v>
                </c:pt>
                <c:pt idx="6">
                  <c:v>CZ</c:v>
                </c:pt>
                <c:pt idx="7">
                  <c:v>NL</c:v>
                </c:pt>
                <c:pt idx="8">
                  <c:v>SI</c:v>
                </c:pt>
                <c:pt idx="9">
                  <c:v>FI*</c:v>
                </c:pt>
                <c:pt idx="10">
                  <c:v>LT</c:v>
                </c:pt>
                <c:pt idx="11">
                  <c:v>PL</c:v>
                </c:pt>
                <c:pt idx="12">
                  <c:v>ES</c:v>
                </c:pt>
                <c:pt idx="13">
                  <c:v>DE</c:v>
                </c:pt>
                <c:pt idx="14">
                  <c:v>PT</c:v>
                </c:pt>
                <c:pt idx="15">
                  <c:v>FR</c:v>
                </c:pt>
                <c:pt idx="16">
                  <c:v>IE</c:v>
                </c:pt>
                <c:pt idx="17">
                  <c:v>IT</c:v>
                </c:pt>
                <c:pt idx="18">
                  <c:v>DK</c:v>
                </c:pt>
                <c:pt idx="19">
                  <c:v>AT</c:v>
                </c:pt>
                <c:pt idx="20">
                  <c:v>BE</c:v>
                </c:pt>
                <c:pt idx="21">
                  <c:v>SE</c:v>
                </c:pt>
              </c:strCache>
            </c:strRef>
          </c:cat>
          <c:val>
            <c:numRef>
              <c:f>Sheet1!$C$3:$C$29</c:f>
              <c:numCache>
                <c:formatCode>0</c:formatCode>
                <c:ptCount val="22"/>
                <c:pt idx="0">
                  <c:v>5</c:v>
                </c:pt>
                <c:pt idx="1">
                  <c:v>5</c:v>
                </c:pt>
                <c:pt idx="2">
                  <c:v>10</c:v>
                </c:pt>
                <c:pt idx="3">
                  <c:v>10</c:v>
                </c:pt>
                <c:pt idx="4">
                  <c:v>12</c:v>
                </c:pt>
                <c:pt idx="5">
                  <c:v>15</c:v>
                </c:pt>
                <c:pt idx="6">
                  <c:v>15</c:v>
                </c:pt>
                <c:pt idx="7">
                  <c:v>15</c:v>
                </c:pt>
                <c:pt idx="8">
                  <c:v>15</c:v>
                </c:pt>
                <c:pt idx="9">
                  <c:v>15</c:v>
                </c:pt>
                <c:pt idx="10">
                  <c:v>16</c:v>
                </c:pt>
                <c:pt idx="11">
                  <c:v>19</c:v>
                </c:pt>
                <c:pt idx="12">
                  <c:v>19</c:v>
                </c:pt>
                <c:pt idx="13">
                  <c:v>25</c:v>
                </c:pt>
                <c:pt idx="14">
                  <c:v>25</c:v>
                </c:pt>
                <c:pt idx="15">
                  <c:v>25</c:v>
                </c:pt>
                <c:pt idx="16">
                  <c:v>25</c:v>
                </c:pt>
                <c:pt idx="17">
                  <c:v>26</c:v>
                </c:pt>
                <c:pt idx="18">
                  <c:v>27</c:v>
                </c:pt>
                <c:pt idx="19">
                  <c:v>27.5</c:v>
                </c:pt>
                <c:pt idx="20">
                  <c:v>30</c:v>
                </c:pt>
                <c:pt idx="21">
                  <c:v>30</c:v>
                </c:pt>
              </c:numCache>
            </c:numRef>
          </c:val>
          <c:extLst>
            <c:ext xmlns:c16="http://schemas.microsoft.com/office/drawing/2014/chart" uri="{C3380CC4-5D6E-409C-BE32-E72D297353CC}">
              <c16:uniqueId val="{00000005-7EE4-4668-8EEE-0945C05D932A}"/>
            </c:ext>
          </c:extLst>
        </c:ser>
        <c:dLbls>
          <c:showLegendKey val="0"/>
          <c:showVal val="0"/>
          <c:showCatName val="0"/>
          <c:showSerName val="0"/>
          <c:showPercent val="0"/>
          <c:showBubbleSize val="0"/>
        </c:dLbls>
        <c:gapWidth val="43"/>
        <c:overlap val="-35"/>
        <c:axId val="620429984"/>
        <c:axId val="620430376"/>
      </c:barChart>
      <c:catAx>
        <c:axId val="620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77839B"/>
                </a:solidFill>
                <a:latin typeface="Cambria" panose="02040503050406030204" pitchFamily="18" charset="0"/>
                <a:ea typeface="Cambria" panose="02040503050406030204" pitchFamily="18" charset="0"/>
                <a:cs typeface="+mn-cs"/>
              </a:defRPr>
            </a:pPr>
            <a:endParaRPr lang="en-US"/>
          </a:p>
        </c:txPr>
        <c:crossAx val="620430376"/>
        <c:crosses val="autoZero"/>
        <c:auto val="1"/>
        <c:lblAlgn val="ctr"/>
        <c:lblOffset val="100"/>
        <c:noMultiLvlLbl val="0"/>
      </c:catAx>
      <c:valAx>
        <c:axId val="620430376"/>
        <c:scaling>
          <c:orientation val="minMax"/>
        </c:scaling>
        <c:delete val="1"/>
        <c:axPos val="l"/>
        <c:numFmt formatCode="0" sourceLinked="1"/>
        <c:majorTickMark val="none"/>
        <c:minorTickMark val="none"/>
        <c:tickLblPos val="nextTo"/>
        <c:crossAx val="620429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2583</cdr:x>
      <cdr:y>0.61924</cdr:y>
    </cdr:from>
    <cdr:to>
      <cdr:x>0.32584</cdr:x>
      <cdr:y>0.70863</cdr:y>
    </cdr:to>
    <cdr:sp macro="" textlink="">
      <cdr:nvSpPr>
        <cdr:cNvPr id="2" name="TextBox 1"/>
        <cdr:cNvSpPr txBox="1"/>
      </cdr:nvSpPr>
      <cdr:spPr>
        <a:xfrm xmlns:a="http://schemas.openxmlformats.org/drawingml/2006/main">
          <a:off x="2344221" y="1487096"/>
          <a:ext cx="65" cy="214674"/>
        </a:xfrm>
        <a:prstGeom xmlns:a="http://schemas.openxmlformats.org/drawingml/2006/main" prst="rect">
          <a:avLst/>
        </a:prstGeom>
        <a:noFill xmlns:a="http://schemas.openxmlformats.org/drawingml/2006/main"/>
        <a:ln xmlns:a="http://schemas.openxmlformats.org/drawingml/2006/main" w="9525">
          <a:noFill/>
        </a:l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nSpc>
              <a:spcPct val="93000"/>
            </a:lnSpc>
          </a:pPr>
          <a:endParaRPr lang="en-US" sz="1500" b="1" dirty="0">
            <a:latin typeface="+mn-lt"/>
            <a:cs typeface="Arial" pitchFamily="34" charset="0"/>
          </a:endParaRPr>
        </a:p>
      </cdr:txBody>
    </cdr:sp>
  </cdr:relSizeAnchor>
  <cdr:relSizeAnchor xmlns:cdr="http://schemas.openxmlformats.org/drawingml/2006/chartDrawing">
    <cdr:from>
      <cdr:x>0.10664</cdr:x>
      <cdr:y>0.61924</cdr:y>
    </cdr:from>
    <cdr:to>
      <cdr:x>0.10665</cdr:x>
      <cdr:y>0.70863</cdr:y>
    </cdr:to>
    <cdr:sp macro="" textlink="">
      <cdr:nvSpPr>
        <cdr:cNvPr id="3" name="TextBox 2"/>
        <cdr:cNvSpPr txBox="1"/>
      </cdr:nvSpPr>
      <cdr:spPr>
        <a:xfrm xmlns:a="http://schemas.openxmlformats.org/drawingml/2006/main">
          <a:off x="767212" y="1487096"/>
          <a:ext cx="65" cy="214674"/>
        </a:xfrm>
        <a:prstGeom xmlns:a="http://schemas.openxmlformats.org/drawingml/2006/main" prst="rect">
          <a:avLst/>
        </a:prstGeom>
        <a:noFill xmlns:a="http://schemas.openxmlformats.org/drawingml/2006/main"/>
        <a:ln xmlns:a="http://schemas.openxmlformats.org/drawingml/2006/main" w="9525">
          <a:noFill/>
        </a:l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nSpc>
              <a:spcPct val="93000"/>
            </a:lnSpc>
          </a:pPr>
          <a:endParaRPr lang="en-US" sz="1500" b="1" dirty="0">
            <a:latin typeface="+mn-lt"/>
            <a:cs typeface="Arial" pitchFamily="34" charset="0"/>
          </a:endParaRPr>
        </a:p>
      </cdr:txBody>
    </cdr:sp>
  </cdr:relSizeAnchor>
  <cdr:relSizeAnchor xmlns:cdr="http://schemas.openxmlformats.org/drawingml/2006/chartDrawing">
    <cdr:from>
      <cdr:x>0.33374</cdr:x>
      <cdr:y>0.49144</cdr:y>
    </cdr:from>
    <cdr:to>
      <cdr:x>0.33374</cdr:x>
      <cdr:y>0.49144</cdr:y>
    </cdr:to>
    <cdr:sp macro="" textlink="">
      <cdr:nvSpPr>
        <cdr:cNvPr id="4" name="TextBox 3"/>
        <cdr:cNvSpPr txBox="1"/>
      </cdr:nvSpPr>
      <cdr:spPr>
        <a:xfrm xmlns:a="http://schemas.openxmlformats.org/drawingml/2006/main" rot="1435281">
          <a:off x="2856550" y="1846352"/>
          <a:ext cx="0" cy="0"/>
        </a:xfrm>
        <a:prstGeom xmlns:a="http://schemas.openxmlformats.org/drawingml/2006/main" prst="rect">
          <a:avLst/>
        </a:prstGeom>
        <a:noFill xmlns:a="http://schemas.openxmlformats.org/drawingml/2006/main"/>
        <a:ln xmlns:a="http://schemas.openxmlformats.org/drawingml/2006/main" w="9525">
          <a:noFill/>
        </a:ln>
      </cdr:spPr>
      <cdr:txBody>
        <a:bodyPr xmlns:a="http://schemas.openxmlformats.org/drawingml/2006/main" rot="-1800000" vertOverflow="clip" vert="horz" wrap="none" lIns="0" tIns="0" rIns="0" bIns="0" rtlCol="0">
          <a:spAutoFit/>
        </a:bodyPr>
        <a:lstStyle xmlns:a="http://schemas.openxmlformats.org/drawingml/2006/main"/>
        <a:p xmlns:a="http://schemas.openxmlformats.org/drawingml/2006/main">
          <a:pPr>
            <a:lnSpc>
              <a:spcPct val="93000"/>
            </a:lnSpc>
          </a:pPr>
          <a:r>
            <a:rPr lang="en-US" sz="1200" b="1" dirty="0">
              <a:solidFill>
                <a:srgbClr val="003F56"/>
              </a:solidFill>
              <a:latin typeface="Cambria" panose="02040503050406030204" pitchFamily="18" charset="0"/>
              <a:cs typeface="Arial" pitchFamily="34" charset="0"/>
            </a:rPr>
            <a:t>2009</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88900" y="744538"/>
            <a:ext cx="6618288"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79450" y="4717415"/>
            <a:ext cx="5435600" cy="446913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extLst>
      <p:ext uri="{BB962C8B-B14F-4D97-AF65-F5344CB8AC3E}">
        <p14:creationId xmlns:p14="http://schemas.microsoft.com/office/powerpoint/2010/main" val="3407677276"/>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13" Type="http://schemas.openxmlformats.org/officeDocument/2006/relationships/hyperlink" Target="http://www.airportcluj.ro/" TargetMode="External"/><Relationship Id="rId18" Type="http://schemas.openxmlformats.org/officeDocument/2006/relationships/hyperlink" Target="mailto:office@aeroportcraiova.ro" TargetMode="External"/><Relationship Id="rId26" Type="http://schemas.openxmlformats.org/officeDocument/2006/relationships/hyperlink" Target="mailto:secretariat@sibiuairport.ro" TargetMode="External"/><Relationship Id="rId3" Type="http://schemas.openxmlformats.org/officeDocument/2006/relationships/hyperlink" Target="http://www.aeroportularad.ro/" TargetMode="External"/><Relationship Id="rId21" Type="http://schemas.openxmlformats.org/officeDocument/2006/relationships/hyperlink" Target="http://www.aeroport.ro/" TargetMode="External"/><Relationship Id="rId34" Type="http://schemas.openxmlformats.org/officeDocument/2006/relationships/hyperlink" Target="mailto:office@regional-air.ro" TargetMode="External"/><Relationship Id="rId7" Type="http://schemas.openxmlformats.org/officeDocument/2006/relationships/hyperlink" Target="https://aimm.eu/" TargetMode="External"/><Relationship Id="rId12" Type="http://schemas.openxmlformats.org/officeDocument/2006/relationships/hyperlink" Target="mailto:secretariat@cnab.ro" TargetMode="External"/><Relationship Id="rId17" Type="http://schemas.openxmlformats.org/officeDocument/2006/relationships/hyperlink" Target="http://www.aeroportcraiova.ro/" TargetMode="External"/><Relationship Id="rId25" Type="http://schemas.openxmlformats.org/officeDocument/2006/relationships/hyperlink" Target="http://www.sibiuairport.ro/" TargetMode="External"/><Relationship Id="rId33" Type="http://schemas.openxmlformats.org/officeDocument/2006/relationships/hyperlink" Target="http://www.regional-air.ro/" TargetMode="External"/><Relationship Id="rId2" Type="http://schemas.openxmlformats.org/officeDocument/2006/relationships/slide" Target="../slides/slide26.xml"/><Relationship Id="rId16" Type="http://schemas.openxmlformats.org/officeDocument/2006/relationships/hyperlink" Target="mailto:aeroport@mk-airport.ro" TargetMode="External"/><Relationship Id="rId20" Type="http://schemas.openxmlformats.org/officeDocument/2006/relationships/hyperlink" Target="mailto:airport@aeroportoradea.ro" TargetMode="External"/><Relationship Id="rId29" Type="http://schemas.openxmlformats.org/officeDocument/2006/relationships/hyperlink" Target="http://www.aerotim.ro/" TargetMode="External"/><Relationship Id="rId1" Type="http://schemas.openxmlformats.org/officeDocument/2006/relationships/notesMaster" Target="../notesMasters/notesMaster1.xml"/><Relationship Id="rId6" Type="http://schemas.openxmlformats.org/officeDocument/2006/relationships/hyperlink" Target="mailto:office@bacauairport.ro" TargetMode="External"/><Relationship Id="rId11" Type="http://schemas.openxmlformats.org/officeDocument/2006/relationships/hyperlink" Target="mailto:secretariat@bucharestairports.ro" TargetMode="External"/><Relationship Id="rId24" Type="http://schemas.openxmlformats.org/officeDocument/2006/relationships/hyperlink" Target="mailto:office@aeroportulsatumare.ro" TargetMode="External"/><Relationship Id="rId32" Type="http://schemas.openxmlformats.org/officeDocument/2006/relationships/hyperlink" Target="mailto:office@aeroportul-tulcea.ro" TargetMode="External"/><Relationship Id="rId5" Type="http://schemas.openxmlformats.org/officeDocument/2006/relationships/hyperlink" Target="http://www.bacauairport.ro/" TargetMode="External"/><Relationship Id="rId15" Type="http://schemas.openxmlformats.org/officeDocument/2006/relationships/hyperlink" Target="http://www.mk-airport.ro/" TargetMode="External"/><Relationship Id="rId23" Type="http://schemas.openxmlformats.org/officeDocument/2006/relationships/hyperlink" Target="http://www.aeroportulsm.ro/" TargetMode="External"/><Relationship Id="rId28" Type="http://schemas.openxmlformats.org/officeDocument/2006/relationships/hyperlink" Target="mailto:office@aeroportsuceava.ro" TargetMode="External"/><Relationship Id="rId36" Type="http://schemas.openxmlformats.org/officeDocument/2006/relationships/hyperlink" Target="mailto:office@transylvaniaairport.ro" TargetMode="External"/><Relationship Id="rId10" Type="http://schemas.openxmlformats.org/officeDocument/2006/relationships/hyperlink" Target="http://www.bucharestairports.ro/" TargetMode="External"/><Relationship Id="rId19" Type="http://schemas.openxmlformats.org/officeDocument/2006/relationships/hyperlink" Target="http://www.aeroportoradea.ro/" TargetMode="External"/><Relationship Id="rId31" Type="http://schemas.openxmlformats.org/officeDocument/2006/relationships/hyperlink" Target="http://www.aeroportul-tulcea.ro/" TargetMode="External"/><Relationship Id="rId4" Type="http://schemas.openxmlformats.org/officeDocument/2006/relationships/hyperlink" Target="mailto:office@aeroportularad.ro" TargetMode="External"/><Relationship Id="rId9" Type="http://schemas.openxmlformats.org/officeDocument/2006/relationships/hyperlink" Target="https://www.airportaar.ro/membri/office@aimm.eu" TargetMode="External"/><Relationship Id="rId14" Type="http://schemas.openxmlformats.org/officeDocument/2006/relationships/hyperlink" Target="mailto:office@airportcluj.ro" TargetMode="External"/><Relationship Id="rId22" Type="http://schemas.openxmlformats.org/officeDocument/2006/relationships/hyperlink" Target="mailto:iasi@aeroport.ro" TargetMode="External"/><Relationship Id="rId27" Type="http://schemas.openxmlformats.org/officeDocument/2006/relationships/hyperlink" Target="http://www.aeroportsuceava.ro/" TargetMode="External"/><Relationship Id="rId30" Type="http://schemas.openxmlformats.org/officeDocument/2006/relationships/hyperlink" Target="mailto:office@aerotim.ro" TargetMode="External"/><Relationship Id="rId35" Type="http://schemas.openxmlformats.org/officeDocument/2006/relationships/hyperlink" Target="http://www.aeroportultransilvania.ro/" TargetMode="External"/><Relationship Id="rId8" Type="http://schemas.openxmlformats.org/officeDocument/2006/relationships/hyperlink" Target="http://www.baiamareairport.ro/" TargetMode="Externa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mdlpa.ro/uploads/articole/attachments/661f6713ad525364225648.xl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romania-insider.com/ec-approves-romanian-aid-scheme-agricultural-producers-2024"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www.agerpres.ro/economic-intern/2024/02/09/comisia-europeana-aproba-ajutoare-de-241-milioane-euro-pentru-producatorii-agricoli-din-romania--1246269"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g35f391192_00: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1" name="Google Shape;191;g35f391192_00: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47876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
        <p:cNvGrpSpPr/>
        <p:nvPr/>
      </p:nvGrpSpPr>
      <p:grpSpPr>
        <a:xfrm>
          <a:off x="0" y="0"/>
          <a:ext cx="0" cy="0"/>
          <a:chOff x="0" y="0"/>
          <a:chExt cx="0" cy="0"/>
        </a:xfrm>
      </p:grpSpPr>
      <p:sp>
        <p:nvSpPr>
          <p:cNvPr id="218" name="Google Shape;218;g35ed75ccf_015: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 name="Google Shape;219;g35ed75ccf_015: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err="1"/>
              <a:t>Actualizat</a:t>
            </a:r>
            <a:r>
              <a:rPr lang="en-US" dirty="0"/>
              <a:t> in </a:t>
            </a:r>
            <a:r>
              <a:rPr lang="ro-RO" dirty="0"/>
              <a:t>31</a:t>
            </a:r>
            <a:r>
              <a:rPr lang="en-US" dirty="0"/>
              <a:t>.08.202</a:t>
            </a:r>
            <a:r>
              <a:rPr lang="ro-RO" dirty="0"/>
              <a:t>4</a:t>
            </a:r>
            <a:r>
              <a:rPr lang="en-US" dirty="0"/>
              <a:t> in tempo INS</a:t>
            </a:r>
            <a:endParaRPr dirty="0"/>
          </a:p>
        </p:txBody>
      </p:sp>
    </p:spTree>
    <p:extLst>
      <p:ext uri="{BB962C8B-B14F-4D97-AF65-F5344CB8AC3E}">
        <p14:creationId xmlns:p14="http://schemas.microsoft.com/office/powerpoint/2010/main" val="752111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
        <p:cNvGrpSpPr/>
        <p:nvPr/>
      </p:nvGrpSpPr>
      <p:grpSpPr>
        <a:xfrm>
          <a:off x="0" y="0"/>
          <a:ext cx="0" cy="0"/>
          <a:chOff x="0" y="0"/>
          <a:chExt cx="0" cy="0"/>
        </a:xfrm>
      </p:grpSpPr>
      <p:sp>
        <p:nvSpPr>
          <p:cNvPr id="218" name="Google Shape;218;g35ed75ccf_015: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 name="Google Shape;219;g35ed75ccf_015: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17780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g35f391192_057: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9" name="Google Shape;269;g35f391192_057: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63615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g35f391192_057: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9" name="Google Shape;269;g35f391192_057: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algn="l"/>
            <a:r>
              <a:rPr lang="ro-RO" sz="1100" dirty="0"/>
              <a:t>https://atlas.cid.harvard.edu/rankings  </a:t>
            </a:r>
            <a:r>
              <a:rPr lang="en-US" altLang="ko-KR" sz="1100" b="1" dirty="0">
                <a:solidFill>
                  <a:srgbClr val="2846A8"/>
                </a:solidFill>
                <a:latin typeface="Cambria" panose="02040503050406030204" pitchFamily="18" charset="0"/>
                <a:ea typeface="Cambria" panose="02040503050406030204" pitchFamily="18" charset="0"/>
                <a:cs typeface="Arial" pitchFamily="34" charset="0"/>
              </a:rPr>
              <a:t>Harvard University</a:t>
            </a:r>
            <a:r>
              <a:rPr lang="ro-RO" altLang="ko-KR" sz="1100" b="1" baseline="0" dirty="0">
                <a:solidFill>
                  <a:srgbClr val="2846A8"/>
                </a:solidFill>
                <a:latin typeface="Cambria" panose="02040503050406030204" pitchFamily="18" charset="0"/>
                <a:ea typeface="Cambria" panose="02040503050406030204" pitchFamily="18" charset="0"/>
                <a:cs typeface="Arial" pitchFamily="34" charset="0"/>
              </a:rPr>
              <a:t> - </a:t>
            </a:r>
            <a:r>
              <a:rPr lang="en-US" altLang="ko-KR" sz="1100" b="1" dirty="0">
                <a:solidFill>
                  <a:srgbClr val="2846A8"/>
                </a:solidFill>
                <a:latin typeface="Cambria" panose="02040503050406030204" pitchFamily="18" charset="0"/>
                <a:ea typeface="Cambria" panose="02040503050406030204" pitchFamily="18" charset="0"/>
                <a:cs typeface="Arial" pitchFamily="34" charset="0"/>
              </a:rPr>
              <a:t>economic complexity ranking</a:t>
            </a:r>
            <a:endParaRPr lang="ro-RO" altLang="ko-KR" sz="1100" b="0" dirty="0">
              <a:solidFill>
                <a:srgbClr val="000000"/>
              </a:solidFill>
              <a:latin typeface="Arial"/>
              <a:ea typeface="Cambria" panose="02040503050406030204" pitchFamily="18" charset="0"/>
              <a:cs typeface="Arial"/>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ltLang="ko-KR" sz="1100" b="1" dirty="0">
                <a:solidFill>
                  <a:srgbClr val="2846A8"/>
                </a:solidFill>
                <a:latin typeface="Cambria" panose="02040503050406030204" pitchFamily="18" charset="0"/>
                <a:ea typeface="Cambria" panose="02040503050406030204" pitchFamily="18" charset="0"/>
                <a:cs typeface="Arial" pitchFamily="34" charset="0"/>
              </a:rPr>
              <a:t>Harvard University</a:t>
            </a:r>
            <a:r>
              <a:rPr lang="ro-RO" altLang="ko-KR" sz="1100" b="1" dirty="0">
                <a:solidFill>
                  <a:srgbClr val="2846A8"/>
                </a:solidFill>
                <a:latin typeface="Cambria" panose="02040503050406030204" pitchFamily="18" charset="0"/>
                <a:ea typeface="Cambria" panose="02040503050406030204" pitchFamily="18" charset="0"/>
                <a:cs typeface="Arial" pitchFamily="34" charset="0"/>
              </a:rPr>
              <a:t> -  </a:t>
            </a:r>
            <a:r>
              <a:rPr lang="en-US" altLang="ko-KR" sz="1100" b="1" dirty="0">
                <a:solidFill>
                  <a:srgbClr val="2846A8"/>
                </a:solidFill>
                <a:latin typeface="Cambria" panose="02040503050406030204" pitchFamily="18" charset="0"/>
                <a:ea typeface="Cambria" panose="02040503050406030204" pitchFamily="18" charset="0"/>
                <a:cs typeface="Arial" pitchFamily="34" charset="0"/>
              </a:rPr>
              <a:t>economic complexity ranking</a:t>
            </a:r>
            <a:r>
              <a:rPr lang="en-US" altLang="ko-KR" sz="1100" dirty="0">
                <a:solidFill>
                  <a:srgbClr val="2846A8"/>
                </a:solidFill>
                <a:latin typeface="Cambria" panose="02040503050406030204" pitchFamily="18" charset="0"/>
                <a:ea typeface="Cambria" panose="02040503050406030204" pitchFamily="18" charset="0"/>
                <a:cs typeface="Arial" pitchFamily="34" charset="0"/>
              </a:rPr>
              <a:t> (133 countries)</a:t>
            </a:r>
            <a:r>
              <a:rPr lang="ro-RO" altLang="ko-KR" sz="1100" dirty="0">
                <a:solidFill>
                  <a:srgbClr val="2846A8"/>
                </a:solidFill>
                <a:latin typeface="Cambria" panose="02040503050406030204" pitchFamily="18" charset="0"/>
                <a:ea typeface="Cambria" panose="02040503050406030204" pitchFamily="18" charset="0"/>
                <a:cs typeface="Arial" pitchFamily="34" charset="0"/>
              </a:rPr>
              <a:t> – 19 - </a:t>
            </a:r>
            <a:r>
              <a:rPr lang="en-US" sz="1100" dirty="0">
                <a:solidFill>
                  <a:srgbClr val="2846A8"/>
                </a:solidFill>
                <a:latin typeface="Cambria" panose="02040503050406030204" pitchFamily="18" charset="0"/>
              </a:rPr>
              <a:t>Ahead of Belgium (2</a:t>
            </a:r>
            <a:r>
              <a:rPr lang="ro-RO" sz="1100" dirty="0">
                <a:solidFill>
                  <a:srgbClr val="2846A8"/>
                </a:solidFill>
                <a:latin typeface="Cambria" panose="02040503050406030204" pitchFamily="18" charset="0"/>
              </a:rPr>
              <a:t>0</a:t>
            </a:r>
            <a:r>
              <a:rPr lang="en-US" sz="1100" dirty="0">
                <a:solidFill>
                  <a:srgbClr val="2846A8"/>
                </a:solidFill>
                <a:latin typeface="Cambria" panose="02040503050406030204" pitchFamily="18" charset="0"/>
              </a:rPr>
              <a:t>), Denmark (2</a:t>
            </a:r>
            <a:r>
              <a:rPr lang="ro-RO" sz="1100" dirty="0">
                <a:solidFill>
                  <a:srgbClr val="2846A8"/>
                </a:solidFill>
                <a:latin typeface="Cambria" panose="02040503050406030204" pitchFamily="18" charset="0"/>
              </a:rPr>
              <a:t>4</a:t>
            </a:r>
            <a:r>
              <a:rPr lang="en-US" sz="1100" dirty="0">
                <a:solidFill>
                  <a:srgbClr val="2846A8"/>
                </a:solidFill>
                <a:latin typeface="Cambria" panose="02040503050406030204" pitchFamily="18" charset="0"/>
              </a:rPr>
              <a:t>), Poland (2</a:t>
            </a:r>
            <a:r>
              <a:rPr lang="ro-RO" sz="1100" dirty="0">
                <a:solidFill>
                  <a:srgbClr val="2846A8"/>
                </a:solidFill>
                <a:latin typeface="Cambria" panose="02040503050406030204" pitchFamily="18" charset="0"/>
              </a:rPr>
              <a:t>5</a:t>
            </a:r>
            <a:r>
              <a:rPr lang="en-US" sz="1100" dirty="0">
                <a:solidFill>
                  <a:srgbClr val="2846A8"/>
                </a:solidFill>
                <a:latin typeface="Cambria" panose="02040503050406030204" pitchFamily="18" charset="0"/>
              </a:rPr>
              <a:t>), Estonia (27), Netherlands (2</a:t>
            </a:r>
            <a:r>
              <a:rPr lang="ro-RO" sz="1100" dirty="0">
                <a:solidFill>
                  <a:srgbClr val="2846A8"/>
                </a:solidFill>
                <a:latin typeface="Cambria" panose="02040503050406030204" pitchFamily="18" charset="0"/>
              </a:rPr>
              <a:t>6</a:t>
            </a:r>
            <a:r>
              <a:rPr lang="en-US" sz="1100" dirty="0">
                <a:solidFill>
                  <a:srgbClr val="2846A8"/>
                </a:solidFill>
                <a:latin typeface="Cambria" panose="02040503050406030204" pitchFamily="18" charset="0"/>
              </a:rPr>
              <a:t>), Lithuania (</a:t>
            </a:r>
            <a:r>
              <a:rPr lang="ro-RO" sz="1100" dirty="0">
                <a:solidFill>
                  <a:srgbClr val="2846A8"/>
                </a:solidFill>
                <a:latin typeface="Cambria" panose="02040503050406030204" pitchFamily="18" charset="0"/>
              </a:rPr>
              <a:t>30</a:t>
            </a:r>
            <a:r>
              <a:rPr lang="en-US" sz="1100" dirty="0">
                <a:solidFill>
                  <a:srgbClr val="2846A8"/>
                </a:solidFill>
                <a:latin typeface="Cambria" panose="02040503050406030204" pitchFamily="18" charset="0"/>
              </a:rPr>
              <a:t>), Croatia (3</a:t>
            </a:r>
            <a:r>
              <a:rPr lang="ro-RO" sz="1100" dirty="0">
                <a:solidFill>
                  <a:srgbClr val="2846A8"/>
                </a:solidFill>
                <a:latin typeface="Cambria" panose="02040503050406030204" pitchFamily="18" charset="0"/>
              </a:rPr>
              <a:t>1</a:t>
            </a:r>
            <a:r>
              <a:rPr lang="en-US" sz="1100" dirty="0">
                <a:solidFill>
                  <a:srgbClr val="2846A8"/>
                </a:solidFill>
                <a:latin typeface="Cambria" panose="02040503050406030204" pitchFamily="18" charset="0"/>
              </a:rPr>
              <a:t>) and Spain (3</a:t>
            </a:r>
            <a:r>
              <a:rPr lang="ro-RO" sz="1100" dirty="0">
                <a:solidFill>
                  <a:srgbClr val="2846A8"/>
                </a:solidFill>
                <a:latin typeface="Cambria" panose="02040503050406030204" pitchFamily="18" charset="0"/>
              </a:rPr>
              <a:t>4</a:t>
            </a:r>
            <a:r>
              <a:rPr lang="en-US" sz="1100" dirty="0">
                <a:solidFill>
                  <a:srgbClr val="2846A8"/>
                </a:solidFill>
                <a:latin typeface="Cambria" panose="02040503050406030204" pitchFamily="18" charset="0"/>
              </a:rPr>
              <a:t>)</a:t>
            </a:r>
            <a:r>
              <a:rPr lang="ro-RO" sz="1100" dirty="0">
                <a:solidFill>
                  <a:srgbClr val="2846A8"/>
                </a:solidFill>
                <a:latin typeface="Cambria" panose="02040503050406030204" pitchFamily="18" charset="0"/>
              </a:rPr>
              <a:t> </a:t>
            </a:r>
            <a:r>
              <a:rPr lang="en-US" sz="1100" b="0" dirty="0">
                <a:solidFill>
                  <a:srgbClr val="2846A8"/>
                </a:solidFill>
                <a:latin typeface="Cambria" panose="02040503050406030204" pitchFamily="18" charset="0"/>
                <a:cs typeface="Arial" pitchFamily="34" charset="0"/>
              </a:rPr>
              <a:t>(Source: </a:t>
            </a:r>
            <a:r>
              <a:rPr lang="en-US" sz="1100" dirty="0">
                <a:solidFill>
                  <a:srgbClr val="2846A8"/>
                </a:solidFill>
                <a:latin typeface="Cambria" panose="02040503050406030204" pitchFamily="18" charset="0"/>
                <a:cs typeface="Arial" pitchFamily="34" charset="0"/>
              </a:rPr>
              <a:t>Harvard,</a:t>
            </a:r>
            <a:r>
              <a:rPr lang="ro-RO" sz="1100" dirty="0">
                <a:solidFill>
                  <a:srgbClr val="2846A8"/>
                </a:solidFill>
                <a:latin typeface="Cambria" panose="02040503050406030204" pitchFamily="18" charset="0"/>
                <a:cs typeface="Arial" pitchFamily="34" charset="0"/>
              </a:rPr>
              <a:t> </a:t>
            </a:r>
            <a:r>
              <a:rPr lang="en-US" sz="1100" dirty="0">
                <a:solidFill>
                  <a:srgbClr val="2846A8"/>
                </a:solidFill>
                <a:latin typeface="Cambria" panose="02040503050406030204" pitchFamily="18" charset="0"/>
                <a:cs typeface="Arial" pitchFamily="34" charset="0"/>
              </a:rPr>
              <a:t>The Atlas of</a:t>
            </a:r>
            <a:r>
              <a:rPr lang="ro-RO" sz="1100" dirty="0">
                <a:solidFill>
                  <a:srgbClr val="2846A8"/>
                </a:solidFill>
                <a:latin typeface="Cambria" panose="02040503050406030204" pitchFamily="18" charset="0"/>
                <a:cs typeface="Arial" pitchFamily="34" charset="0"/>
              </a:rPr>
              <a:t> </a:t>
            </a:r>
            <a:r>
              <a:rPr lang="en-US" sz="1100" dirty="0">
                <a:solidFill>
                  <a:srgbClr val="2846A8"/>
                </a:solidFill>
                <a:latin typeface="Cambria" panose="02040503050406030204" pitchFamily="18" charset="0"/>
                <a:cs typeface="Arial" pitchFamily="34" charset="0"/>
              </a:rPr>
              <a:t>Complexity</a:t>
            </a:r>
            <a:r>
              <a:rPr lang="ro-RO" sz="1100" dirty="0">
                <a:solidFill>
                  <a:srgbClr val="2846A8"/>
                </a:solidFill>
                <a:latin typeface="Cambria" panose="02040503050406030204" pitchFamily="18" charset="0"/>
                <a:cs typeface="Arial" pitchFamily="34" charset="0"/>
              </a:rPr>
              <a:t> </a:t>
            </a:r>
            <a:r>
              <a:rPr lang="en-US" sz="1100" dirty="0">
                <a:solidFill>
                  <a:srgbClr val="2846A8"/>
                </a:solidFill>
                <a:latin typeface="Cambria" panose="02040503050406030204" pitchFamily="18" charset="0"/>
                <a:cs typeface="Arial" pitchFamily="34" charset="0"/>
              </a:rPr>
              <a:t>202</a:t>
            </a:r>
            <a:r>
              <a:rPr lang="ro-RO" sz="1100" dirty="0">
                <a:solidFill>
                  <a:srgbClr val="2846A8"/>
                </a:solidFill>
                <a:latin typeface="Cambria" panose="02040503050406030204" pitchFamily="18" charset="0"/>
                <a:cs typeface="Arial" pitchFamily="34" charset="0"/>
              </a:rPr>
              <a:t>1</a:t>
            </a:r>
            <a:r>
              <a:rPr lang="en-US" sz="1100" dirty="0">
                <a:solidFill>
                  <a:srgbClr val="2846A8"/>
                </a:solidFill>
                <a:latin typeface="Cambria" panose="02040503050406030204" pitchFamily="18" charset="0"/>
                <a:cs typeface="Arial" pitchFamily="34" charset="0"/>
              </a:rPr>
              <a:t>)</a:t>
            </a:r>
            <a:endParaRPr lang="en-US" sz="1100" b="0" dirty="0">
              <a:solidFill>
                <a:srgbClr val="2846A8"/>
              </a:solidFill>
              <a:latin typeface="Cambria" panose="02040503050406030204" pitchFamily="18" charset="0"/>
              <a:cs typeface="Arial" pitchFamily="34" charset="0"/>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100" dirty="0">
              <a:solidFill>
                <a:srgbClr val="2846A8"/>
              </a:solidFill>
              <a:latin typeface="Cambria" panose="02040503050406030204" pitchFamily="18" charset="0"/>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100" dirty="0">
              <a:solidFill>
                <a:srgbClr val="2846A8"/>
              </a:solidFill>
              <a:latin typeface="Cambria" panose="02040503050406030204" pitchFamily="18" charset="0"/>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100" dirty="0">
              <a:solidFill>
                <a:srgbClr val="2846A8"/>
              </a:solidFill>
              <a:latin typeface="Cambria" panose="02040503050406030204" pitchFamily="18" charset="0"/>
            </a:endParaRP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1" dirty="0">
                <a:solidFill>
                  <a:srgbClr val="2846A8"/>
                </a:solidFill>
                <a:latin typeface="Cambria" panose="02040503050406030204" pitchFamily="18" charset="0"/>
              </a:rPr>
              <a:t>APA/CANAL</a:t>
            </a:r>
            <a:r>
              <a:rPr lang="en-US" sz="1100" dirty="0">
                <a:solidFill>
                  <a:srgbClr val="2846A8"/>
                </a:solidFill>
                <a:latin typeface="Cambria" panose="02040503050406030204" pitchFamily="18" charset="0"/>
              </a:rPr>
              <a:t> – nu </a:t>
            </a:r>
            <a:r>
              <a:rPr lang="en-US" sz="1100" dirty="0" err="1">
                <a:solidFill>
                  <a:srgbClr val="2846A8"/>
                </a:solidFill>
                <a:latin typeface="Cambria" panose="02040503050406030204" pitchFamily="18" charset="0"/>
              </a:rPr>
              <a:t>sunt</a:t>
            </a:r>
            <a:r>
              <a:rPr lang="en-US" sz="1100" baseline="0" dirty="0">
                <a:solidFill>
                  <a:srgbClr val="2846A8"/>
                </a:solidFill>
                <a:latin typeface="Cambria" panose="02040503050406030204" pitchFamily="18" charset="0"/>
              </a:rPr>
              <a:t> date la </a:t>
            </a:r>
            <a:r>
              <a:rPr lang="en-US" sz="1100" baseline="0" dirty="0" err="1">
                <a:solidFill>
                  <a:srgbClr val="2846A8"/>
                </a:solidFill>
                <a:latin typeface="Cambria" panose="02040503050406030204" pitchFamily="18" charset="0"/>
              </a:rPr>
              <a:t>nivel</a:t>
            </a:r>
            <a:r>
              <a:rPr lang="en-US" sz="1100" baseline="0" dirty="0">
                <a:solidFill>
                  <a:srgbClr val="2846A8"/>
                </a:solidFill>
                <a:latin typeface="Cambria" panose="02040503050406030204" pitchFamily="18" charset="0"/>
              </a:rPr>
              <a:t> EU</a:t>
            </a: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aseline="0" dirty="0">
                <a:solidFill>
                  <a:srgbClr val="2846A8"/>
                </a:solidFill>
                <a:latin typeface="Cambria" panose="02040503050406030204" pitchFamily="18" charset="0"/>
              </a:rPr>
              <a:t>La </a:t>
            </a:r>
            <a:r>
              <a:rPr lang="en-US" sz="1100" baseline="0" dirty="0" err="1">
                <a:solidFill>
                  <a:srgbClr val="2846A8"/>
                </a:solidFill>
                <a:latin typeface="Cambria" panose="02040503050406030204" pitchFamily="18" charset="0"/>
              </a:rPr>
              <a:t>nivel</a:t>
            </a:r>
            <a:r>
              <a:rPr lang="en-US" sz="1100" baseline="0" dirty="0">
                <a:solidFill>
                  <a:srgbClr val="2846A8"/>
                </a:solidFill>
                <a:latin typeface="Cambria" panose="02040503050406030204" pitchFamily="18" charset="0"/>
              </a:rPr>
              <a:t> national, </a:t>
            </a:r>
            <a:r>
              <a:rPr lang="en-US" sz="1100" baseline="0" dirty="0" err="1">
                <a:solidFill>
                  <a:srgbClr val="2846A8"/>
                </a:solidFill>
                <a:latin typeface="Cambria" panose="02040503050406030204" pitchFamily="18" charset="0"/>
              </a:rPr>
              <a:t>pretul</a:t>
            </a:r>
            <a:r>
              <a:rPr lang="en-US" sz="1100" baseline="0" dirty="0">
                <a:solidFill>
                  <a:srgbClr val="2846A8"/>
                </a:solidFill>
                <a:latin typeface="Cambria" panose="02040503050406030204" pitchFamily="18" charset="0"/>
              </a:rPr>
              <a:t> minim </a:t>
            </a:r>
            <a:r>
              <a:rPr lang="en-US" sz="1100" baseline="0" dirty="0" err="1">
                <a:solidFill>
                  <a:srgbClr val="2846A8"/>
                </a:solidFill>
                <a:latin typeface="Cambria" panose="02040503050406030204" pitchFamily="18" charset="0"/>
              </a:rPr>
              <a:t>fara</a:t>
            </a:r>
            <a:r>
              <a:rPr lang="en-US" sz="1100" baseline="0" dirty="0">
                <a:solidFill>
                  <a:srgbClr val="2846A8"/>
                </a:solidFill>
                <a:latin typeface="Cambria" panose="02040503050406030204" pitchFamily="18" charset="0"/>
              </a:rPr>
              <a:t> TVA </a:t>
            </a:r>
            <a:r>
              <a:rPr lang="en-US" sz="1100" baseline="0" dirty="0" err="1">
                <a:solidFill>
                  <a:srgbClr val="2846A8"/>
                </a:solidFill>
                <a:latin typeface="Cambria" panose="02040503050406030204" pitchFamily="18" charset="0"/>
              </a:rPr>
              <a:t>este</a:t>
            </a:r>
            <a:r>
              <a:rPr lang="en-US" sz="1100" baseline="0" dirty="0">
                <a:solidFill>
                  <a:srgbClr val="2846A8"/>
                </a:solidFill>
                <a:latin typeface="Cambria" panose="02040503050406030204" pitchFamily="18" charset="0"/>
              </a:rPr>
              <a:t> 3,52 lei / mc </a:t>
            </a: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aseline="0" dirty="0">
                <a:solidFill>
                  <a:srgbClr val="2846A8"/>
                </a:solidFill>
                <a:latin typeface="Cambria" panose="02040503050406030204" pitchFamily="18" charset="0"/>
              </a:rPr>
              <a:t>TVA </a:t>
            </a:r>
            <a:r>
              <a:rPr lang="en-US" sz="1100" baseline="0" dirty="0" err="1">
                <a:solidFill>
                  <a:srgbClr val="2846A8"/>
                </a:solidFill>
                <a:latin typeface="Cambria" panose="02040503050406030204" pitchFamily="18" charset="0"/>
              </a:rPr>
              <a:t>pt</a:t>
            </a:r>
            <a:r>
              <a:rPr lang="en-US" sz="1100" baseline="0" dirty="0">
                <a:solidFill>
                  <a:srgbClr val="2846A8"/>
                </a:solidFill>
                <a:latin typeface="Cambria" panose="02040503050406030204" pitchFamily="18" charset="0"/>
              </a:rPr>
              <a:t> </a:t>
            </a:r>
            <a:r>
              <a:rPr lang="en-US" sz="1100" baseline="0" dirty="0" err="1">
                <a:solidFill>
                  <a:srgbClr val="2846A8"/>
                </a:solidFill>
                <a:latin typeface="Cambria" panose="02040503050406030204" pitchFamily="18" charset="0"/>
              </a:rPr>
              <a:t>apa</a:t>
            </a:r>
            <a:r>
              <a:rPr lang="en-US" sz="1100" baseline="0" dirty="0">
                <a:solidFill>
                  <a:srgbClr val="2846A8"/>
                </a:solidFill>
                <a:latin typeface="Cambria" panose="02040503050406030204" pitchFamily="18" charset="0"/>
              </a:rPr>
              <a:t>/canal 9%</a:t>
            </a:r>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100" dirty="0">
              <a:solidFill>
                <a:srgbClr val="2846A8"/>
              </a:solidFill>
              <a:latin typeface="Cambria" panose="02040503050406030204" pitchFamily="18" charset="0"/>
            </a:endParaRPr>
          </a:p>
          <a:p>
            <a:pPr marL="139700" indent="0" algn="l">
              <a:buNone/>
            </a:pPr>
            <a:endParaRPr lang="en-US" altLang="ko-KR" sz="1100" b="1" dirty="0">
              <a:solidFill>
                <a:srgbClr val="2846A8"/>
              </a:solidFill>
              <a:latin typeface="Cambria" panose="02040503050406030204" pitchFamily="18" charset="0"/>
              <a:ea typeface="Cambria" panose="02040503050406030204" pitchFamily="18" charset="0"/>
              <a:cs typeface="Arial" pitchFamily="34" charset="0"/>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3732558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19875" cy="3724275"/>
          </a:xfrm>
        </p:spPr>
      </p:sp>
      <p:sp>
        <p:nvSpPr>
          <p:cNvPr id="3" name="Notes Placeholder 2"/>
          <p:cNvSpPr>
            <a:spLocks noGrp="1"/>
          </p:cNvSpPr>
          <p:nvPr>
            <p:ph type="body" idx="1"/>
          </p:nvPr>
        </p:nvSpPr>
        <p:spPr/>
        <p:txBody>
          <a:bodyPr/>
          <a:lstStyle/>
          <a:p>
            <a:pPr marL="139700" indent="0">
              <a:buNone/>
            </a:pPr>
            <a:r>
              <a:rPr lang="en-US" sz="1100" b="0" i="0" u="none" strike="noStrike" kern="1200" cap="none" dirty="0">
                <a:solidFill>
                  <a:schemeClr val="tx1"/>
                </a:solidFill>
                <a:effectLst/>
                <a:latin typeface="Arial"/>
                <a:ea typeface="Arial"/>
                <a:cs typeface="Arial"/>
                <a:sym typeface="Arial"/>
              </a:rPr>
              <a:t>Last updated, </a:t>
            </a:r>
            <a:r>
              <a:rPr lang="ro-RO" sz="1100" b="0" i="0" u="none" strike="noStrike" kern="1200" cap="none" dirty="0">
                <a:solidFill>
                  <a:schemeClr val="tx1"/>
                </a:solidFill>
                <a:effectLst/>
                <a:latin typeface="Arial"/>
                <a:ea typeface="Arial"/>
                <a:cs typeface="Arial"/>
                <a:sym typeface="Arial"/>
              </a:rPr>
              <a:t>1</a:t>
            </a:r>
            <a:r>
              <a:rPr lang="en-US" sz="1100" b="0" i="0" u="none" strike="noStrike" kern="1200" cap="none" dirty="0">
                <a:solidFill>
                  <a:schemeClr val="tx1"/>
                </a:solidFill>
                <a:effectLst/>
                <a:latin typeface="Arial"/>
                <a:ea typeface="Arial"/>
                <a:cs typeface="Arial"/>
                <a:sym typeface="Arial"/>
              </a:rPr>
              <a:t>3</a:t>
            </a:r>
            <a:r>
              <a:rPr lang="ro-RO"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a:solidFill>
                  <a:schemeClr val="tx1"/>
                </a:solidFill>
                <a:effectLst/>
                <a:latin typeface="Arial"/>
                <a:ea typeface="Arial"/>
                <a:cs typeface="Arial"/>
                <a:sym typeface="Arial"/>
              </a:rPr>
              <a:t>Jan</a:t>
            </a:r>
            <a:r>
              <a:rPr lang="ro-RO" sz="1100" b="0" i="0" u="none" strike="noStrike" kern="1200" cap="none" baseline="0" dirty="0">
                <a:solidFill>
                  <a:schemeClr val="tx1"/>
                </a:solidFill>
                <a:effectLst/>
                <a:latin typeface="Arial"/>
                <a:ea typeface="Arial"/>
                <a:cs typeface="Arial"/>
                <a:sym typeface="Arial"/>
              </a:rPr>
              <a:t> 202</a:t>
            </a:r>
            <a:r>
              <a:rPr lang="en-US" sz="1100" b="0" i="0" u="none" strike="noStrike" kern="1200" cap="none" baseline="0" dirty="0">
                <a:solidFill>
                  <a:schemeClr val="tx1"/>
                </a:solidFill>
                <a:effectLst/>
                <a:latin typeface="Arial"/>
                <a:ea typeface="Arial"/>
                <a:cs typeface="Arial"/>
                <a:sym typeface="Arial"/>
              </a:rPr>
              <a:t>5</a:t>
            </a:r>
            <a:endParaRPr lang="ro-RO" sz="1100" b="0" i="0" u="none" strike="noStrike" kern="1200" cap="none" dirty="0">
              <a:solidFill>
                <a:schemeClr val="tx1"/>
              </a:solidFill>
              <a:effectLst/>
              <a:latin typeface="Arial"/>
              <a:ea typeface="Arial"/>
              <a:cs typeface="Arial"/>
              <a:sym typeface="Arial"/>
            </a:endParaRPr>
          </a:p>
          <a:p>
            <a:r>
              <a:rPr lang="en-US" sz="1100" b="0" i="0" u="none" strike="noStrike" kern="1200" cap="none" dirty="0">
                <a:solidFill>
                  <a:schemeClr val="tx1"/>
                </a:solidFill>
                <a:effectLst/>
                <a:latin typeface="Arial"/>
                <a:ea typeface="Arial"/>
                <a:cs typeface="Arial"/>
                <a:sym typeface="Arial"/>
              </a:rPr>
              <a:t>Family of four estimated monthly costs are </a:t>
            </a:r>
            <a:r>
              <a:rPr lang="en-US" sz="1100" b="1" i="0" u="none" strike="noStrike" cap="none" dirty="0">
                <a:solidFill>
                  <a:srgbClr val="000000"/>
                </a:solidFill>
                <a:effectLst/>
                <a:latin typeface="Arial"/>
                <a:ea typeface="Arial"/>
                <a:cs typeface="Arial"/>
                <a:sym typeface="Arial"/>
              </a:rPr>
              <a:t>2,309.2€ (1</a:t>
            </a:r>
            <a:r>
              <a:rPr lang="ro-RO" sz="1100" b="1" i="0" u="none" strike="noStrike" cap="none" dirty="0">
                <a:solidFill>
                  <a:srgbClr val="000000"/>
                </a:solidFill>
                <a:effectLst/>
                <a:latin typeface="Arial"/>
                <a:ea typeface="Arial"/>
                <a:cs typeface="Arial"/>
                <a:sym typeface="Arial"/>
              </a:rPr>
              <a:t>1</a:t>
            </a:r>
            <a:r>
              <a:rPr lang="en-US" sz="1100" b="1" i="0" u="none" strike="noStrike" cap="none" dirty="0">
                <a:solidFill>
                  <a:srgbClr val="000000"/>
                </a:solidFill>
                <a:effectLst/>
                <a:latin typeface="Arial"/>
                <a:ea typeface="Arial"/>
                <a:cs typeface="Arial"/>
                <a:sym typeface="Arial"/>
              </a:rPr>
              <a:t>,489.3 lei)</a:t>
            </a:r>
            <a:r>
              <a:rPr lang="en-US" sz="1100" b="0" i="0" u="none" strike="noStrike" cap="none" dirty="0">
                <a:solidFill>
                  <a:srgbClr val="000000"/>
                </a:solidFill>
                <a:effectLst/>
                <a:latin typeface="Arial"/>
                <a:ea typeface="Arial"/>
                <a:cs typeface="Arial"/>
                <a:sym typeface="Arial"/>
              </a:rPr>
              <a:t> without rent</a:t>
            </a:r>
            <a:endParaRPr lang="en-US" sz="1100" b="0" i="0" u="none" strike="noStrike" kern="1200" cap="none" dirty="0">
              <a:solidFill>
                <a:schemeClr val="tx1"/>
              </a:solidFill>
              <a:effectLst/>
              <a:latin typeface="Arial"/>
              <a:ea typeface="Arial"/>
              <a:cs typeface="Arial"/>
              <a:sym typeface="Arial"/>
            </a:endParaRPr>
          </a:p>
          <a:p>
            <a:r>
              <a:rPr lang="en-US" sz="1100" b="0" i="0" u="none" strike="noStrike" kern="1200" cap="none" dirty="0">
                <a:solidFill>
                  <a:schemeClr val="tx1"/>
                </a:solidFill>
                <a:effectLst/>
                <a:latin typeface="Arial"/>
                <a:ea typeface="Arial"/>
                <a:cs typeface="Arial"/>
                <a:sym typeface="Arial"/>
              </a:rPr>
              <a:t>A single person estimated monthly costs are </a:t>
            </a:r>
            <a:r>
              <a:rPr lang="en-US" sz="1100" b="1" i="0" u="none" strike="noStrike" cap="none" dirty="0">
                <a:solidFill>
                  <a:srgbClr val="000000"/>
                </a:solidFill>
                <a:effectLst/>
                <a:latin typeface="Arial"/>
                <a:ea typeface="Arial"/>
                <a:cs typeface="Arial"/>
                <a:sym typeface="Arial"/>
              </a:rPr>
              <a:t>661€ (3,288.7</a:t>
            </a:r>
            <a:r>
              <a:rPr lang="en-US" sz="1100" b="1" i="0" u="none" strike="noStrike" cap="none" baseline="0" dirty="0">
                <a:solidFill>
                  <a:srgbClr val="000000"/>
                </a:solidFill>
                <a:effectLst/>
                <a:latin typeface="Arial"/>
                <a:ea typeface="Arial"/>
                <a:cs typeface="Arial"/>
                <a:sym typeface="Arial"/>
              </a:rPr>
              <a:t> </a:t>
            </a:r>
            <a:r>
              <a:rPr lang="en-US" sz="1100" b="1" i="0" u="none" strike="noStrike" cap="none" dirty="0">
                <a:solidFill>
                  <a:srgbClr val="000000"/>
                </a:solidFill>
                <a:effectLst/>
                <a:latin typeface="Arial"/>
                <a:ea typeface="Arial"/>
                <a:cs typeface="Arial"/>
                <a:sym typeface="Arial"/>
              </a:rPr>
              <a:t>lei)</a:t>
            </a:r>
            <a:r>
              <a:rPr lang="en-US" sz="1100" b="0" i="0" u="none" strike="noStrike" cap="none" dirty="0">
                <a:solidFill>
                  <a:srgbClr val="000000"/>
                </a:solidFill>
                <a:effectLst/>
                <a:latin typeface="Arial"/>
                <a:ea typeface="Arial"/>
                <a:cs typeface="Arial"/>
                <a:sym typeface="Arial"/>
              </a:rPr>
              <a:t> without rent</a:t>
            </a:r>
            <a:endParaRPr lang="en-US" sz="1050" dirty="0"/>
          </a:p>
          <a:p>
            <a:endParaRPr lang="en-US" dirty="0"/>
          </a:p>
        </p:txBody>
      </p:sp>
    </p:spTree>
    <p:extLst>
      <p:ext uri="{BB962C8B-B14F-4D97-AF65-F5344CB8AC3E}">
        <p14:creationId xmlns:p14="http://schemas.microsoft.com/office/powerpoint/2010/main" val="29561803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19875" cy="3724275"/>
          </a:xfrm>
        </p:spPr>
      </p:sp>
      <p:sp>
        <p:nvSpPr>
          <p:cNvPr id="3" name="Notes Placeholder 2"/>
          <p:cNvSpPr>
            <a:spLocks noGrp="1"/>
          </p:cNvSpPr>
          <p:nvPr>
            <p:ph type="body" idx="1"/>
          </p:nvPr>
        </p:nvSpPr>
        <p:spPr/>
        <p:txBody>
          <a:bodyPr/>
          <a:lstStyle/>
          <a:p>
            <a:pPr marL="139700" indent="0">
              <a:buNone/>
            </a:pPr>
            <a:r>
              <a:rPr lang="en-US" sz="1100" b="0" i="0" u="none" strike="noStrike" kern="1200" cap="none" dirty="0">
                <a:solidFill>
                  <a:schemeClr val="tx1"/>
                </a:solidFill>
                <a:effectLst/>
                <a:latin typeface="Arial"/>
                <a:ea typeface="Arial"/>
                <a:cs typeface="Arial"/>
                <a:sym typeface="Arial"/>
              </a:rPr>
              <a:t>Last updated, </a:t>
            </a:r>
            <a:r>
              <a:rPr lang="ro-RO" sz="1100" b="0" i="0" u="none" strike="noStrike" kern="1200" cap="none" dirty="0">
                <a:solidFill>
                  <a:schemeClr val="tx1"/>
                </a:solidFill>
                <a:effectLst/>
                <a:latin typeface="Arial"/>
                <a:ea typeface="Arial"/>
                <a:cs typeface="Arial"/>
                <a:sym typeface="Arial"/>
              </a:rPr>
              <a:t>1</a:t>
            </a:r>
            <a:r>
              <a:rPr lang="en-US" sz="1100" b="0" i="0" u="none" strike="noStrike" kern="1200" cap="none" dirty="0">
                <a:solidFill>
                  <a:schemeClr val="tx1"/>
                </a:solidFill>
                <a:effectLst/>
                <a:latin typeface="Arial"/>
                <a:ea typeface="Arial"/>
                <a:cs typeface="Arial"/>
                <a:sym typeface="Arial"/>
              </a:rPr>
              <a:t>3</a:t>
            </a:r>
            <a:r>
              <a:rPr lang="ro-RO"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a:solidFill>
                  <a:schemeClr val="tx1"/>
                </a:solidFill>
                <a:effectLst/>
                <a:latin typeface="Arial"/>
                <a:ea typeface="Arial"/>
                <a:cs typeface="Arial"/>
                <a:sym typeface="Arial"/>
              </a:rPr>
              <a:t>Jan</a:t>
            </a:r>
            <a:r>
              <a:rPr lang="ro-RO" sz="1100" b="0" i="0" u="none" strike="noStrike" kern="1200" cap="none" baseline="0" dirty="0">
                <a:solidFill>
                  <a:schemeClr val="tx1"/>
                </a:solidFill>
                <a:effectLst/>
                <a:latin typeface="Arial"/>
                <a:ea typeface="Arial"/>
                <a:cs typeface="Arial"/>
                <a:sym typeface="Arial"/>
              </a:rPr>
              <a:t> 202</a:t>
            </a:r>
            <a:r>
              <a:rPr lang="en-US" sz="1100" b="0" i="0" u="none" strike="noStrike" kern="1200" cap="none" baseline="0" dirty="0">
                <a:solidFill>
                  <a:schemeClr val="tx1"/>
                </a:solidFill>
                <a:effectLst/>
                <a:latin typeface="Arial"/>
                <a:ea typeface="Arial"/>
                <a:cs typeface="Arial"/>
                <a:sym typeface="Arial"/>
              </a:rPr>
              <a:t>5</a:t>
            </a:r>
            <a:endParaRPr lang="ro-RO" sz="1100" b="0" i="0" u="none" strike="noStrike" kern="1200" cap="none" dirty="0">
              <a:solidFill>
                <a:schemeClr val="tx1"/>
              </a:solidFill>
              <a:effectLst/>
              <a:latin typeface="Arial"/>
              <a:ea typeface="Arial"/>
              <a:cs typeface="Arial"/>
              <a:sym typeface="Arial"/>
            </a:endParaRPr>
          </a:p>
          <a:p>
            <a:r>
              <a:rPr lang="en-US" sz="1100" b="0" i="0" u="none" strike="noStrike" kern="1200" cap="none" dirty="0">
                <a:solidFill>
                  <a:schemeClr val="tx1"/>
                </a:solidFill>
                <a:effectLst/>
                <a:latin typeface="Arial"/>
                <a:ea typeface="Arial"/>
                <a:cs typeface="Arial"/>
                <a:sym typeface="Arial"/>
              </a:rPr>
              <a:t>Family of four estimated monthly costs are </a:t>
            </a:r>
            <a:r>
              <a:rPr lang="en-US" sz="1100" b="1" i="0" u="none" strike="noStrike" cap="none" dirty="0">
                <a:solidFill>
                  <a:srgbClr val="000000"/>
                </a:solidFill>
                <a:effectLst/>
                <a:latin typeface="Arial"/>
                <a:ea typeface="Arial"/>
                <a:cs typeface="Arial"/>
                <a:sym typeface="Arial"/>
              </a:rPr>
              <a:t>2,309.2€ (1</a:t>
            </a:r>
            <a:r>
              <a:rPr lang="ro-RO" sz="1100" b="1" i="0" u="none" strike="noStrike" cap="none" dirty="0">
                <a:solidFill>
                  <a:srgbClr val="000000"/>
                </a:solidFill>
                <a:effectLst/>
                <a:latin typeface="Arial"/>
                <a:ea typeface="Arial"/>
                <a:cs typeface="Arial"/>
                <a:sym typeface="Arial"/>
              </a:rPr>
              <a:t>1</a:t>
            </a:r>
            <a:r>
              <a:rPr lang="en-US" sz="1100" b="1" i="0" u="none" strike="noStrike" cap="none" dirty="0">
                <a:solidFill>
                  <a:srgbClr val="000000"/>
                </a:solidFill>
                <a:effectLst/>
                <a:latin typeface="Arial"/>
                <a:ea typeface="Arial"/>
                <a:cs typeface="Arial"/>
                <a:sym typeface="Arial"/>
              </a:rPr>
              <a:t>,489.3 lei)</a:t>
            </a:r>
            <a:r>
              <a:rPr lang="en-US" sz="1100" b="0" i="0" u="none" strike="noStrike" cap="none" dirty="0">
                <a:solidFill>
                  <a:srgbClr val="000000"/>
                </a:solidFill>
                <a:effectLst/>
                <a:latin typeface="Arial"/>
                <a:ea typeface="Arial"/>
                <a:cs typeface="Arial"/>
                <a:sym typeface="Arial"/>
              </a:rPr>
              <a:t> without rent</a:t>
            </a:r>
            <a:endParaRPr lang="en-US" sz="1100" b="0" i="0" u="none" strike="noStrike" kern="1200" cap="none" dirty="0">
              <a:solidFill>
                <a:schemeClr val="tx1"/>
              </a:solidFill>
              <a:effectLst/>
              <a:latin typeface="Arial"/>
              <a:ea typeface="Arial"/>
              <a:cs typeface="Arial"/>
              <a:sym typeface="Arial"/>
            </a:endParaRPr>
          </a:p>
          <a:p>
            <a:r>
              <a:rPr lang="en-US" sz="1100" b="0" i="0" u="none" strike="noStrike" kern="1200" cap="none" dirty="0">
                <a:solidFill>
                  <a:schemeClr val="tx1"/>
                </a:solidFill>
                <a:effectLst/>
                <a:latin typeface="Arial"/>
                <a:ea typeface="Arial"/>
                <a:cs typeface="Arial"/>
                <a:sym typeface="Arial"/>
              </a:rPr>
              <a:t>A single person estimated monthly costs are </a:t>
            </a:r>
            <a:r>
              <a:rPr lang="en-US" sz="1100" b="1" i="0" u="none" strike="noStrike" cap="none" dirty="0">
                <a:solidFill>
                  <a:srgbClr val="000000"/>
                </a:solidFill>
                <a:effectLst/>
                <a:latin typeface="Arial"/>
                <a:ea typeface="Arial"/>
                <a:cs typeface="Arial"/>
                <a:sym typeface="Arial"/>
              </a:rPr>
              <a:t>661€ (3,288.7</a:t>
            </a:r>
            <a:r>
              <a:rPr lang="en-US" sz="1100" b="1" i="0" u="none" strike="noStrike" cap="none" baseline="0" dirty="0">
                <a:solidFill>
                  <a:srgbClr val="000000"/>
                </a:solidFill>
                <a:effectLst/>
                <a:latin typeface="Arial"/>
                <a:ea typeface="Arial"/>
                <a:cs typeface="Arial"/>
                <a:sym typeface="Arial"/>
              </a:rPr>
              <a:t> </a:t>
            </a:r>
            <a:r>
              <a:rPr lang="en-US" sz="1100" b="1" i="0" u="none" strike="noStrike" cap="none" dirty="0">
                <a:solidFill>
                  <a:srgbClr val="000000"/>
                </a:solidFill>
                <a:effectLst/>
                <a:latin typeface="Arial"/>
                <a:ea typeface="Arial"/>
                <a:cs typeface="Arial"/>
                <a:sym typeface="Arial"/>
              </a:rPr>
              <a:t>lei)</a:t>
            </a:r>
            <a:r>
              <a:rPr lang="en-US" sz="1100" b="0" i="0" u="none" strike="noStrike" cap="none" dirty="0">
                <a:solidFill>
                  <a:srgbClr val="000000"/>
                </a:solidFill>
                <a:effectLst/>
                <a:latin typeface="Arial"/>
                <a:ea typeface="Arial"/>
                <a:cs typeface="Arial"/>
                <a:sym typeface="Arial"/>
              </a:rPr>
              <a:t> without rent</a:t>
            </a:r>
            <a:endParaRPr lang="en-US" sz="1050" dirty="0"/>
          </a:p>
          <a:p>
            <a:endParaRPr lang="en-US" dirty="0"/>
          </a:p>
        </p:txBody>
      </p:sp>
    </p:spTree>
    <p:extLst>
      <p:ext uri="{BB962C8B-B14F-4D97-AF65-F5344CB8AC3E}">
        <p14:creationId xmlns:p14="http://schemas.microsoft.com/office/powerpoint/2010/main" val="1983630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
        <p:cNvGrpSpPr/>
        <p:nvPr/>
      </p:nvGrpSpPr>
      <p:grpSpPr>
        <a:xfrm>
          <a:off x="0" y="0"/>
          <a:ext cx="0" cy="0"/>
          <a:chOff x="0" y="0"/>
          <a:chExt cx="0" cy="0"/>
        </a:xfrm>
      </p:grpSpPr>
      <p:sp>
        <p:nvSpPr>
          <p:cNvPr id="218" name="Google Shape;218;g35ed75ccf_015: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 name="Google Shape;219;g35ed75ccf_015: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5400"/>
                </a:solidFill>
                <a:latin typeface="Cambria" panose="02040503050406030204" pitchFamily="18" charset="0"/>
                <a:ea typeface="Cambria" panose="02040503050406030204" pitchFamily="18" charset="0"/>
              </a:rPr>
              <a:t>Standard contribu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ro-RO" b="0" dirty="0">
                <a:solidFill>
                  <a:srgbClr val="005400"/>
                </a:solidFill>
                <a:latin typeface="Cambria" panose="02040503050406030204" pitchFamily="18" charset="0"/>
                <a:ea typeface="Cambria" panose="02040503050406030204" pitchFamily="18" charset="0"/>
              </a:rPr>
              <a:t>Social Security Contributions for Employer:</a:t>
            </a:r>
          </a:p>
          <a:p>
            <a:r>
              <a:rPr lang="ro-RO" sz="1100" b="0" i="0" u="none" strike="noStrike" kern="1200" cap="none" baseline="0" dirty="0">
                <a:solidFill>
                  <a:schemeClr val="tx1"/>
                </a:solidFill>
                <a:latin typeface="Arial"/>
                <a:ea typeface="Arial"/>
                <a:cs typeface="Arial"/>
                <a:sym typeface="Arial"/>
              </a:rPr>
              <a:t>- 2,25%  - Work insurance contribution</a:t>
            </a:r>
            <a:endParaRPr lang="en-US" b="0" dirty="0">
              <a:solidFill>
                <a:srgbClr val="005400"/>
              </a:solidFill>
              <a:latin typeface="Cambria" panose="02040503050406030204" pitchFamily="18" charset="0"/>
              <a:ea typeface="Cambria" panose="02040503050406030204" pitchFamily="18" charset="0"/>
            </a:endParaRPr>
          </a:p>
          <a:p>
            <a:endParaRPr lang="ro-RO" b="0" dirty="0">
              <a:solidFill>
                <a:srgbClr val="005400"/>
              </a:solidFill>
              <a:latin typeface="Cambria" panose="02040503050406030204" pitchFamily="18" charset="0"/>
              <a:ea typeface="Cambria" panose="02040503050406030204" pitchFamily="18" charset="0"/>
            </a:endParaRPr>
          </a:p>
          <a:p>
            <a:r>
              <a:rPr lang="ro-RO" b="0" dirty="0">
                <a:solidFill>
                  <a:srgbClr val="005400"/>
                </a:solidFill>
                <a:latin typeface="Cambria" panose="02040503050406030204" pitchFamily="18" charset="0"/>
                <a:ea typeface="Cambria" panose="02040503050406030204" pitchFamily="18" charset="0"/>
              </a:rPr>
              <a:t>Social Security Contributions for Employee:</a:t>
            </a:r>
          </a:p>
          <a:p>
            <a:r>
              <a:rPr lang="ro-RO" b="0" dirty="0">
                <a:solidFill>
                  <a:srgbClr val="005400"/>
                </a:solidFill>
                <a:latin typeface="Cambria" panose="02040503050406030204" pitchFamily="18" charset="0"/>
                <a:ea typeface="Cambria" panose="02040503050406030204" pitchFamily="18" charset="0"/>
              </a:rPr>
              <a:t> - </a:t>
            </a:r>
            <a:r>
              <a:rPr lang="en-US" b="0" dirty="0">
                <a:solidFill>
                  <a:srgbClr val="005400"/>
                </a:solidFill>
                <a:latin typeface="Cambria" panose="02040503050406030204" pitchFamily="18" charset="0"/>
                <a:ea typeface="Cambria" panose="02040503050406030204" pitchFamily="18" charset="0"/>
              </a:rPr>
              <a:t>10% - Health contribution</a:t>
            </a:r>
          </a:p>
          <a:p>
            <a:r>
              <a:rPr lang="ro-RO" b="0" dirty="0">
                <a:solidFill>
                  <a:srgbClr val="005400"/>
                </a:solidFill>
                <a:latin typeface="Cambria" panose="02040503050406030204" pitchFamily="18" charset="0"/>
                <a:ea typeface="Cambria" panose="02040503050406030204" pitchFamily="18" charset="0"/>
              </a:rPr>
              <a:t> - </a:t>
            </a:r>
            <a:r>
              <a:rPr lang="en-US" b="0" dirty="0">
                <a:solidFill>
                  <a:srgbClr val="005400"/>
                </a:solidFill>
                <a:latin typeface="Cambria" panose="02040503050406030204" pitchFamily="18" charset="0"/>
                <a:ea typeface="Cambria" panose="02040503050406030204" pitchFamily="18" charset="0"/>
              </a:rPr>
              <a:t>25% -</a:t>
            </a:r>
            <a:r>
              <a:rPr lang="ro-RO" b="0" baseline="0" dirty="0">
                <a:solidFill>
                  <a:srgbClr val="005400"/>
                </a:solidFill>
                <a:latin typeface="Cambria" panose="02040503050406030204" pitchFamily="18" charset="0"/>
                <a:ea typeface="Cambria" panose="02040503050406030204" pitchFamily="18" charset="0"/>
              </a:rPr>
              <a:t> </a:t>
            </a:r>
            <a:r>
              <a:rPr lang="en-US" b="0" dirty="0">
                <a:solidFill>
                  <a:srgbClr val="005400"/>
                </a:solidFill>
                <a:latin typeface="Cambria" panose="02040503050406030204" pitchFamily="18" charset="0"/>
                <a:ea typeface="Cambria" panose="02040503050406030204" pitchFamily="18" charset="0"/>
              </a:rPr>
              <a:t>Pension</a:t>
            </a:r>
            <a:r>
              <a:rPr lang="ro-RO" b="0" baseline="0" dirty="0">
                <a:solidFill>
                  <a:srgbClr val="005400"/>
                </a:solidFill>
                <a:latin typeface="Cambria" panose="02040503050406030204" pitchFamily="18" charset="0"/>
                <a:ea typeface="Cambria" panose="02040503050406030204" pitchFamily="18" charset="0"/>
              </a:rPr>
              <a:t> </a:t>
            </a:r>
            <a:r>
              <a:rPr lang="en-US" b="0" dirty="0">
                <a:solidFill>
                  <a:srgbClr val="005400"/>
                </a:solidFill>
                <a:latin typeface="Cambria" panose="02040503050406030204" pitchFamily="18" charset="0"/>
                <a:ea typeface="Cambria" panose="02040503050406030204" pitchFamily="18" charset="0"/>
              </a:rPr>
              <a:t>contribution</a:t>
            </a:r>
          </a:p>
          <a:p>
            <a:endParaRPr lang="en-US" b="0" dirty="0">
              <a:solidFill>
                <a:srgbClr val="005400"/>
              </a:solidFill>
              <a:latin typeface="Cambria" panose="02040503050406030204" pitchFamily="18" charset="0"/>
              <a:ea typeface="Cambria" panose="02040503050406030204" pitchFamily="18" charset="0"/>
            </a:endParaRPr>
          </a:p>
          <a:p>
            <a:pPr marL="177800" indent="-177800" algn="just">
              <a:lnSpc>
                <a:spcPct val="110000"/>
              </a:lnSpc>
              <a:buClr>
                <a:srgbClr val="545558"/>
              </a:buClr>
              <a:buFont typeface="Wingdings" panose="05000000000000000000" pitchFamily="2" charset="2"/>
              <a:buChar char="ü"/>
            </a:pPr>
            <a:r>
              <a:rPr lang="en-US" sz="1100" b="1" dirty="0">
                <a:solidFill>
                  <a:srgbClr val="545558"/>
                </a:solidFill>
                <a:latin typeface="Cambria" panose="02040503050406030204" pitchFamily="18" charset="0"/>
              </a:rPr>
              <a:t>0% tax on reinvested profit in new technological equipment</a:t>
            </a:r>
          </a:p>
          <a:p>
            <a:pPr marL="177800" indent="-177800" algn="just">
              <a:lnSpc>
                <a:spcPct val="110000"/>
              </a:lnSpc>
              <a:buClr>
                <a:srgbClr val="545558"/>
              </a:buClr>
              <a:buFont typeface="Wingdings" panose="05000000000000000000" pitchFamily="2" charset="2"/>
              <a:buChar char="ü"/>
            </a:pPr>
            <a:r>
              <a:rPr lang="en-US" sz="1100" b="1" dirty="0">
                <a:solidFill>
                  <a:srgbClr val="545558"/>
                </a:solidFill>
                <a:latin typeface="Cambria" panose="02040503050406030204" pitchFamily="18" charset="0"/>
              </a:rPr>
              <a:t>0% tax on reinvested profit in supporting vocational-dual education</a:t>
            </a:r>
            <a:endParaRPr lang="ro-RO" sz="1100" b="1" dirty="0">
              <a:solidFill>
                <a:srgbClr val="545558"/>
              </a:solidFill>
              <a:latin typeface="Cambria" panose="02040503050406030204" pitchFamily="18" charset="0"/>
            </a:endParaRPr>
          </a:p>
          <a:p>
            <a:r>
              <a:rPr lang="ro-RO" sz="1100" b="1" i="0" u="none" strike="noStrike" cap="none" dirty="0">
                <a:solidFill>
                  <a:srgbClr val="000000"/>
                </a:solidFill>
                <a:effectLst/>
                <a:latin typeface="Arial"/>
                <a:ea typeface="Arial"/>
                <a:cs typeface="Arial"/>
                <a:sym typeface="Arial"/>
              </a:rPr>
              <a:t>ACCACE </a:t>
            </a:r>
            <a:r>
              <a:rPr lang="en-US" sz="1100" b="1" i="0" u="none" strike="noStrike" cap="none" dirty="0">
                <a:solidFill>
                  <a:srgbClr val="000000"/>
                </a:solidFill>
                <a:effectLst/>
                <a:latin typeface="Arial"/>
                <a:ea typeface="Arial"/>
                <a:cs typeface="Arial"/>
                <a:sym typeface="Arial"/>
              </a:rPr>
              <a:t>2024 Tax Guideline for Romania</a:t>
            </a:r>
            <a:r>
              <a:rPr lang="ro-RO" sz="1100" b="1" i="0" u="none" strike="noStrike" cap="none" dirty="0">
                <a:solidFill>
                  <a:srgbClr val="000000"/>
                </a:solidFill>
                <a:effectLst/>
                <a:latin typeface="Arial"/>
                <a:ea typeface="Arial"/>
                <a:cs typeface="Arial"/>
                <a:sym typeface="Arial"/>
              </a:rPr>
              <a:t> (</a:t>
            </a:r>
            <a:r>
              <a:rPr lang="en-US" sz="1100" b="1" i="0" u="none" strike="noStrike" cap="none" dirty="0">
                <a:solidFill>
                  <a:srgbClr val="000000"/>
                </a:solidFill>
                <a:effectLst/>
                <a:latin typeface="Arial"/>
                <a:ea typeface="Arial"/>
                <a:cs typeface="Arial"/>
                <a:sym typeface="Arial"/>
              </a:rPr>
              <a:t>February 28, 2024</a:t>
            </a:r>
            <a:r>
              <a:rPr lang="ro-RO" sz="1100" b="1" i="0" u="none" strike="noStrike" cap="none" dirty="0">
                <a:solidFill>
                  <a:srgbClr val="000000"/>
                </a:solidFill>
                <a:effectLst/>
                <a:latin typeface="Arial"/>
                <a:ea typeface="Arial"/>
                <a:cs typeface="Arial"/>
                <a:sym typeface="Arial"/>
              </a:rPr>
              <a:t>)</a:t>
            </a:r>
          </a:p>
          <a:p>
            <a:pPr marL="139700" indent="0">
              <a:buNone/>
            </a:pPr>
            <a:r>
              <a:rPr lang="en-US" sz="1100" b="1" i="0" u="none" strike="noStrike" cap="none" dirty="0">
                <a:solidFill>
                  <a:srgbClr val="000000"/>
                </a:solidFill>
                <a:effectLst/>
                <a:latin typeface="Arial"/>
                <a:ea typeface="Arial"/>
                <a:cs typeface="Arial"/>
                <a:sym typeface="Arial"/>
              </a:rPr>
              <a:t>Tax exemptions for reinvested profit</a:t>
            </a:r>
          </a:p>
          <a:p>
            <a:r>
              <a:rPr lang="en-US" sz="1100" b="0" i="0" u="none" strike="noStrike" cap="none" dirty="0">
                <a:solidFill>
                  <a:srgbClr val="000000"/>
                </a:solidFill>
                <a:effectLst/>
                <a:latin typeface="Arial"/>
                <a:ea typeface="Arial"/>
                <a:cs typeface="Arial"/>
                <a:sym typeface="Arial"/>
              </a:rPr>
              <a:t>The profit invested in new and specific technological equipment manufactured and/or purchased released for use is exempt from income tax. In order to benefit from this incentive, the technological equipment should be used by the company for the purpose of carrying on the business activity for more than half of its useful life, but for no longer than five years. The companies benefiting from this incentive cannot use the accelerated depreciation method for the respective technological equipment.</a:t>
            </a:r>
          </a:p>
          <a:p>
            <a:r>
              <a:rPr lang="en-US" sz="1100" b="0" i="0" u="none" strike="noStrike" cap="none" dirty="0">
                <a:solidFill>
                  <a:srgbClr val="000000"/>
                </a:solidFill>
                <a:effectLst/>
                <a:latin typeface="Arial"/>
                <a:ea typeface="Arial"/>
                <a:cs typeface="Arial"/>
                <a:sym typeface="Arial"/>
              </a:rPr>
              <a:t>It is also exempt from corporate income tax, the profit invested in supporting vocational-dual education by ensuring the practical training and quality training of students.</a:t>
            </a:r>
          </a:p>
          <a:p>
            <a:pPr marL="177800" indent="-177800" algn="just">
              <a:lnSpc>
                <a:spcPct val="110000"/>
              </a:lnSpc>
              <a:buClr>
                <a:srgbClr val="545558"/>
              </a:buClr>
              <a:buFont typeface="Wingdings" panose="05000000000000000000" pitchFamily="2" charset="2"/>
              <a:buChar char="ü"/>
            </a:pPr>
            <a:endParaRPr lang="en-US" sz="1100" b="1" dirty="0">
              <a:solidFill>
                <a:srgbClr val="545558"/>
              </a:solidFill>
              <a:latin typeface="Cambria" panose="02040503050406030204" pitchFamily="18" charset="0"/>
            </a:endParaRPr>
          </a:p>
          <a:p>
            <a:endParaRPr lang="ro-RO" b="0" dirty="0">
              <a:solidFill>
                <a:srgbClr val="005400"/>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42919494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35f391192_02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35f391192_02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100" b="1" i="0" u="none" strike="noStrike" cap="none" dirty="0">
                <a:solidFill>
                  <a:srgbClr val="000000"/>
                </a:solidFill>
                <a:effectLst/>
                <a:latin typeface="Arial"/>
                <a:cs typeface="Arial"/>
                <a:sym typeface="Arial"/>
              </a:rPr>
              <a:t>Corporate income tax </a:t>
            </a:r>
            <a:r>
              <a:rPr lang="en-US" sz="1100" b="0" i="0" u="none" strike="noStrike" cap="none" dirty="0">
                <a:solidFill>
                  <a:srgbClr val="000000"/>
                </a:solidFill>
                <a:effectLst/>
                <a:latin typeface="Arial"/>
                <a:cs typeface="Arial"/>
                <a:sym typeface="Arial"/>
              </a:rPr>
              <a:t>- https://taxsummaries.pwc.com/quick-charts/corporate-income-tax-cit-rates </a:t>
            </a:r>
          </a:p>
          <a:p>
            <a:pPr marL="0" lvl="0" indent="0" algn="l" rtl="0">
              <a:spcBef>
                <a:spcPts val="0"/>
              </a:spcBef>
              <a:spcAft>
                <a:spcPts val="0"/>
              </a:spcAft>
              <a:buNone/>
            </a:pPr>
            <a:endParaRPr lang="en-US" sz="1100" b="0" i="0" u="none" strike="noStrike" cap="none" dirty="0">
              <a:solidFill>
                <a:srgbClr val="000000"/>
              </a:solidFill>
              <a:effectLst/>
              <a:latin typeface="Arial"/>
              <a:cs typeface="Arial"/>
              <a:sym typeface="Arial"/>
            </a:endParaRPr>
          </a:p>
          <a:p>
            <a:pPr marL="0" lvl="0" indent="0" algn="l" rtl="0">
              <a:spcBef>
                <a:spcPts val="0"/>
              </a:spcBef>
              <a:spcAft>
                <a:spcPts val="0"/>
              </a:spcAft>
              <a:buNone/>
            </a:pPr>
            <a:r>
              <a:rPr lang="en-US" sz="1100" b="1" i="0" u="none" strike="noStrike" cap="none" dirty="0">
                <a:solidFill>
                  <a:srgbClr val="000000"/>
                </a:solidFill>
                <a:effectLst/>
                <a:latin typeface="Arial"/>
                <a:cs typeface="Arial"/>
                <a:sym typeface="Arial"/>
              </a:rPr>
              <a:t>Standard VAT </a:t>
            </a:r>
            <a:r>
              <a:rPr lang="en-US" sz="1100" b="0" i="0" u="none" strike="noStrike" cap="none" dirty="0">
                <a:solidFill>
                  <a:srgbClr val="000000"/>
                </a:solidFill>
                <a:effectLst/>
                <a:latin typeface="Arial"/>
                <a:cs typeface="Arial"/>
                <a:sym typeface="Arial"/>
              </a:rPr>
              <a:t>- https://taxsummaries.pwc.com/quick-charts/value-added-tax-vat-rates#qc-6770a061-445aba74-47b330a5-98dacced-dfcd976d-2cc3f309-a5f408f7-e4ad428c-4485ee21-08fc2c25-8335f40c-102eb896-d89d9935-7cab83e5-561fb3a9-fa07c45c-7b9bc1c3-c4860299-b3388ec7-bf687ec6-2af61a0a-e0ac4430-5f66ddfb-011e0058-bb3ce427-7a194092-b12ecd5d</a:t>
            </a:r>
          </a:p>
          <a:p>
            <a:pPr marL="0" lvl="0" indent="0" algn="l" rtl="0">
              <a:spcBef>
                <a:spcPts val="0"/>
              </a:spcBef>
              <a:spcAft>
                <a:spcPts val="0"/>
              </a:spcAft>
              <a:buNone/>
            </a:pPr>
            <a:endParaRPr lang="en-US" sz="1100" b="0" i="0" u="none" strike="noStrike" cap="none" dirty="0">
              <a:solidFill>
                <a:srgbClr val="000000"/>
              </a:solidFill>
              <a:effectLst/>
              <a:latin typeface="Arial"/>
              <a:cs typeface="Arial"/>
              <a:sym typeface="Arial"/>
            </a:endParaRPr>
          </a:p>
          <a:p>
            <a:pPr marL="0" lvl="0" indent="0" algn="l" rtl="0">
              <a:spcBef>
                <a:spcPts val="0"/>
              </a:spcBef>
              <a:spcAft>
                <a:spcPts val="0"/>
              </a:spcAft>
              <a:buNone/>
            </a:pPr>
            <a:r>
              <a:rPr lang="en-US" sz="1100" b="1" i="0" u="none" strike="noStrike" cap="none" dirty="0">
                <a:solidFill>
                  <a:srgbClr val="000000"/>
                </a:solidFill>
                <a:effectLst/>
                <a:latin typeface="Arial"/>
                <a:ea typeface="Arial"/>
                <a:cs typeface="Arial"/>
                <a:sym typeface="Arial"/>
              </a:rPr>
              <a:t>Dividends</a:t>
            </a:r>
            <a:r>
              <a:rPr lang="en-US" sz="1100" b="0" i="0" u="none" strike="noStrike" cap="none" dirty="0">
                <a:solidFill>
                  <a:srgbClr val="000000"/>
                </a:solidFill>
                <a:effectLst/>
                <a:latin typeface="Arial"/>
                <a:ea typeface="Arial"/>
                <a:cs typeface="Arial"/>
                <a:sym typeface="Arial"/>
              </a:rPr>
              <a:t> - Finnish corporations paying certain types of income are required to apply a 20%, 15%, or 35% WHT on payments to foreign corporations and a 30% or 35% WHT on payments to non-resident individuals or other than corporate entities. WHT rates on dividends</a:t>
            </a:r>
            <a:r>
              <a:rPr lang="en-US" sz="1100" b="0" i="0" u="none" strike="noStrike" cap="none" baseline="0" dirty="0">
                <a:solidFill>
                  <a:srgbClr val="000000"/>
                </a:solidFill>
                <a:effectLst/>
                <a:latin typeface="Arial"/>
                <a:ea typeface="Arial"/>
                <a:cs typeface="Arial"/>
                <a:sym typeface="Arial"/>
              </a:rPr>
              <a:t> </a:t>
            </a:r>
            <a:r>
              <a:rPr lang="en-US" sz="1100" b="0" i="0" u="none" strike="noStrike" cap="none" dirty="0">
                <a:solidFill>
                  <a:srgbClr val="000000"/>
                </a:solidFill>
                <a:effectLst/>
                <a:latin typeface="Arial"/>
                <a:ea typeface="Arial"/>
                <a:cs typeface="Arial"/>
                <a:sym typeface="Arial"/>
              </a:rPr>
              <a:t>for non-residents vary on a case-by-case basis (as it is, e.g., dependent on a legal form of the payer and the recipient).</a:t>
            </a:r>
          </a:p>
          <a:p>
            <a:pPr marL="0" lvl="0" indent="0" algn="l" rtl="0">
              <a:spcBef>
                <a:spcPts val="0"/>
              </a:spcBef>
              <a:spcAft>
                <a:spcPts val="0"/>
              </a:spcAft>
              <a:buNone/>
            </a:pPr>
            <a:r>
              <a:rPr lang="en-US" sz="1100" b="0" i="0" u="none" strike="noStrike" cap="none" dirty="0">
                <a:solidFill>
                  <a:srgbClr val="000000"/>
                </a:solidFill>
                <a:effectLst/>
                <a:latin typeface="Arial"/>
                <a:ea typeface="Arial"/>
                <a:cs typeface="Arial"/>
                <a:sym typeface="Arial"/>
              </a:rPr>
              <a:t>https://taxsummaries.pwc.com/quick-charts/withholding-tax-wht-rates#</a:t>
            </a:r>
          </a:p>
          <a:p>
            <a:pPr marL="0" lvl="0" indent="0" algn="l" rtl="0">
              <a:spcBef>
                <a:spcPts val="0"/>
              </a:spcBef>
              <a:spcAft>
                <a:spcPts val="0"/>
              </a:spcAft>
              <a:buNone/>
            </a:pPr>
            <a:endParaRPr lang="en-US" sz="1100" b="0" i="0" u="none" strike="noStrike" cap="none" dirty="0">
              <a:solidFill>
                <a:srgbClr val="000000"/>
              </a:solidFill>
              <a:effectLst/>
              <a:latin typeface="Arial"/>
              <a:cs typeface="Arial"/>
              <a:sym typeface="Arial"/>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1638628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5" name="Google Shape;245;p: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139700" indent="0">
              <a:buNone/>
            </a:pPr>
            <a:r>
              <a:rPr lang="en-US" dirty="0"/>
              <a:t>HOTĂRÂRE </a:t>
            </a:r>
            <a:r>
              <a:rPr lang="en-US" dirty="0" err="1"/>
              <a:t>Nr</a:t>
            </a:r>
            <a:r>
              <a:rPr lang="en-US" dirty="0"/>
              <a:t>. 300/2024 din 4 </a:t>
            </a:r>
            <a:r>
              <a:rPr lang="en-US" dirty="0" err="1"/>
              <a:t>aprilie</a:t>
            </a:r>
            <a:r>
              <a:rPr lang="en-US" dirty="0"/>
              <a:t> 2024 pentru </a:t>
            </a:r>
            <a:r>
              <a:rPr lang="en-US" dirty="0" err="1"/>
              <a:t>instituirea</a:t>
            </a:r>
            <a:r>
              <a:rPr lang="en-US" dirty="0"/>
              <a:t> </a:t>
            </a:r>
            <a:r>
              <a:rPr lang="en-US" dirty="0" err="1"/>
              <a:t>unei</a:t>
            </a:r>
            <a:r>
              <a:rPr lang="en-US" dirty="0"/>
              <a:t> scheme de </a:t>
            </a:r>
            <a:r>
              <a:rPr lang="en-US" dirty="0" err="1"/>
              <a:t>ajutor</a:t>
            </a:r>
            <a:r>
              <a:rPr lang="en-US" dirty="0"/>
              <a:t> de stat </a:t>
            </a:r>
            <a:r>
              <a:rPr lang="en-US" dirty="0" err="1"/>
              <a:t>având</a:t>
            </a:r>
            <a:r>
              <a:rPr lang="en-US" dirty="0"/>
              <a:t> ca </a:t>
            </a:r>
            <a:r>
              <a:rPr lang="en-US" dirty="0" err="1"/>
              <a:t>obiectiv</a:t>
            </a:r>
            <a:r>
              <a:rPr lang="en-US" dirty="0"/>
              <a:t> </a:t>
            </a:r>
            <a:r>
              <a:rPr lang="en-US" dirty="0" err="1"/>
              <a:t>dezvoltarea</a:t>
            </a:r>
            <a:r>
              <a:rPr lang="en-US" dirty="0"/>
              <a:t> </a:t>
            </a:r>
            <a:r>
              <a:rPr lang="en-US" dirty="0" err="1"/>
              <a:t>regională</a:t>
            </a:r>
            <a:r>
              <a:rPr lang="en-US" dirty="0"/>
              <a:t> </a:t>
            </a:r>
            <a:r>
              <a:rPr lang="en-US" dirty="0" err="1"/>
              <a:t>prin</a:t>
            </a:r>
            <a:r>
              <a:rPr lang="en-US" dirty="0"/>
              <a:t> </a:t>
            </a:r>
            <a:r>
              <a:rPr lang="en-US" dirty="0" err="1"/>
              <a:t>stimularea</a:t>
            </a:r>
            <a:r>
              <a:rPr lang="en-US" dirty="0"/>
              <a:t> </a:t>
            </a:r>
            <a:r>
              <a:rPr lang="en-US" dirty="0" err="1"/>
              <a:t>realizării</a:t>
            </a:r>
            <a:r>
              <a:rPr lang="en-US" dirty="0"/>
              <a:t> de </a:t>
            </a:r>
            <a:r>
              <a:rPr lang="en-US" dirty="0" err="1"/>
              <a:t>investiţii</a:t>
            </a:r>
            <a:endParaRPr lang="en-US" dirty="0"/>
          </a:p>
          <a:p>
            <a:pPr marL="139700" indent="0">
              <a:buNone/>
            </a:pPr>
            <a:endParaRPr lang="en-US" dirty="0"/>
          </a:p>
          <a:p>
            <a:pPr marL="139700" indent="0">
              <a:buNone/>
            </a:pPr>
            <a:r>
              <a:rPr lang="en-US" dirty="0" err="1"/>
              <a:t>Scopul</a:t>
            </a:r>
            <a:r>
              <a:rPr lang="en-US" dirty="0"/>
              <a:t> </a:t>
            </a:r>
            <a:r>
              <a:rPr lang="en-US" dirty="0" err="1"/>
              <a:t>prezentei</a:t>
            </a:r>
            <a:r>
              <a:rPr lang="en-US" dirty="0"/>
              <a:t> </a:t>
            </a:r>
            <a:r>
              <a:rPr lang="en-US" dirty="0" err="1"/>
              <a:t>hotărâri</a:t>
            </a:r>
            <a:r>
              <a:rPr lang="en-US" dirty="0"/>
              <a:t> </a:t>
            </a:r>
            <a:r>
              <a:rPr lang="en-US" dirty="0" err="1"/>
              <a:t>îl</a:t>
            </a:r>
            <a:r>
              <a:rPr lang="en-US" dirty="0"/>
              <a:t> </a:t>
            </a:r>
            <a:r>
              <a:rPr lang="en-US" dirty="0" err="1"/>
              <a:t>reprezintă</a:t>
            </a:r>
            <a:r>
              <a:rPr lang="en-US" dirty="0"/>
              <a:t> </a:t>
            </a:r>
            <a:r>
              <a:rPr lang="en-US" dirty="0" err="1"/>
              <a:t>instituirea</a:t>
            </a:r>
            <a:r>
              <a:rPr lang="en-US" dirty="0"/>
              <a:t> </a:t>
            </a:r>
            <a:r>
              <a:rPr lang="en-US" dirty="0" err="1"/>
              <a:t>unei</a:t>
            </a:r>
            <a:r>
              <a:rPr lang="en-US" dirty="0"/>
              <a:t> scheme de </a:t>
            </a:r>
            <a:r>
              <a:rPr lang="en-US" dirty="0" err="1"/>
              <a:t>ajutor</a:t>
            </a:r>
            <a:r>
              <a:rPr lang="en-US" dirty="0"/>
              <a:t> de stat cu impact major </a:t>
            </a:r>
            <a:r>
              <a:rPr lang="en-US" dirty="0" err="1"/>
              <a:t>în</a:t>
            </a:r>
            <a:r>
              <a:rPr lang="en-US" dirty="0"/>
              <a:t> </a:t>
            </a:r>
            <a:r>
              <a:rPr lang="en-US" dirty="0" err="1"/>
              <a:t>economie</a:t>
            </a:r>
            <a:r>
              <a:rPr lang="en-US" dirty="0"/>
              <a:t>, </a:t>
            </a:r>
            <a:r>
              <a:rPr lang="en-US" dirty="0" err="1"/>
              <a:t>denumită</a:t>
            </a:r>
            <a:r>
              <a:rPr lang="en-US" dirty="0"/>
              <a:t> </a:t>
            </a:r>
            <a:r>
              <a:rPr lang="en-US" dirty="0" err="1"/>
              <a:t>în</a:t>
            </a:r>
            <a:r>
              <a:rPr lang="en-US" dirty="0"/>
              <a:t> </a:t>
            </a:r>
            <a:r>
              <a:rPr lang="en-US" dirty="0" err="1"/>
              <a:t>continuare</a:t>
            </a:r>
            <a:r>
              <a:rPr lang="en-US" dirty="0"/>
              <a:t> </a:t>
            </a:r>
            <a:r>
              <a:rPr lang="en-US" dirty="0" err="1"/>
              <a:t>schemă</a:t>
            </a:r>
            <a:r>
              <a:rPr lang="en-US" dirty="0"/>
              <a:t>, </a:t>
            </a:r>
            <a:r>
              <a:rPr lang="en-US" dirty="0" err="1"/>
              <a:t>având</a:t>
            </a:r>
            <a:r>
              <a:rPr lang="en-US" dirty="0"/>
              <a:t> ca </a:t>
            </a:r>
            <a:r>
              <a:rPr lang="en-US" dirty="0" err="1"/>
              <a:t>obiectiv</a:t>
            </a:r>
            <a:r>
              <a:rPr lang="en-US" dirty="0"/>
              <a:t> </a:t>
            </a:r>
            <a:r>
              <a:rPr lang="en-US" dirty="0" err="1"/>
              <a:t>dezvoltarea</a:t>
            </a:r>
            <a:r>
              <a:rPr lang="en-US" dirty="0"/>
              <a:t> </a:t>
            </a:r>
            <a:r>
              <a:rPr lang="en-US" dirty="0" err="1"/>
              <a:t>regională</a:t>
            </a:r>
            <a:r>
              <a:rPr lang="en-US" dirty="0"/>
              <a:t> </a:t>
            </a:r>
            <a:r>
              <a:rPr lang="en-US" dirty="0" err="1"/>
              <a:t>prin</a:t>
            </a:r>
            <a:r>
              <a:rPr lang="en-US" dirty="0"/>
              <a:t> </a:t>
            </a:r>
            <a:r>
              <a:rPr lang="en-US" dirty="0" err="1"/>
              <a:t>realizarea</a:t>
            </a:r>
            <a:r>
              <a:rPr lang="en-US" dirty="0"/>
              <a:t> de </a:t>
            </a:r>
            <a:r>
              <a:rPr lang="en-US" dirty="0" err="1"/>
              <a:t>investiţii</a:t>
            </a:r>
            <a:r>
              <a:rPr lang="en-US" dirty="0"/>
              <a:t> care </a:t>
            </a:r>
            <a:r>
              <a:rPr lang="en-US" dirty="0" err="1"/>
              <a:t>asigură</a:t>
            </a:r>
            <a:r>
              <a:rPr lang="en-US" dirty="0"/>
              <a:t> </a:t>
            </a:r>
            <a:r>
              <a:rPr lang="en-US" dirty="0" err="1"/>
              <a:t>echilibrarea</a:t>
            </a:r>
            <a:r>
              <a:rPr lang="en-US" dirty="0"/>
              <a:t> </a:t>
            </a:r>
            <a:r>
              <a:rPr lang="en-US" dirty="0" err="1"/>
              <a:t>balanţei</a:t>
            </a:r>
            <a:r>
              <a:rPr lang="en-US" dirty="0"/>
              <a:t> </a:t>
            </a:r>
            <a:r>
              <a:rPr lang="en-US" dirty="0" err="1"/>
              <a:t>comerciale</a:t>
            </a:r>
            <a:r>
              <a:rPr lang="en-US" dirty="0"/>
              <a:t> a </a:t>
            </a:r>
            <a:r>
              <a:rPr lang="en-US" dirty="0" err="1"/>
              <a:t>României</a:t>
            </a:r>
            <a:r>
              <a:rPr lang="en-US" dirty="0"/>
              <a:t> </a:t>
            </a:r>
            <a:r>
              <a:rPr lang="en-US" dirty="0" err="1"/>
              <a:t>în</a:t>
            </a:r>
            <a:r>
              <a:rPr lang="en-US" dirty="0"/>
              <a:t> </a:t>
            </a:r>
            <a:r>
              <a:rPr lang="en-US" dirty="0" err="1"/>
              <a:t>sectoarele</a:t>
            </a:r>
            <a:r>
              <a:rPr lang="en-US" dirty="0"/>
              <a:t> care se </a:t>
            </a:r>
            <a:r>
              <a:rPr lang="en-US" dirty="0" err="1"/>
              <a:t>regăsesc</a:t>
            </a:r>
            <a:r>
              <a:rPr lang="en-US" dirty="0"/>
              <a:t> </a:t>
            </a:r>
            <a:r>
              <a:rPr lang="en-US" dirty="0" err="1"/>
              <a:t>în</a:t>
            </a:r>
            <a:r>
              <a:rPr lang="en-US" dirty="0"/>
              <a:t> </a:t>
            </a:r>
            <a:r>
              <a:rPr lang="en-US" dirty="0" err="1"/>
              <a:t>anexa</a:t>
            </a:r>
            <a:r>
              <a:rPr lang="en-US" dirty="0"/>
              <a:t> </a:t>
            </a:r>
            <a:r>
              <a:rPr lang="en-US" dirty="0" err="1"/>
              <a:t>nr</a:t>
            </a:r>
            <a:r>
              <a:rPr lang="en-US" dirty="0"/>
              <a:t>. 1.</a:t>
            </a:r>
          </a:p>
          <a:p>
            <a:pPr marL="139700" indent="0">
              <a:buNone/>
            </a:pPr>
            <a:endParaRPr lang="en-US" dirty="0"/>
          </a:p>
          <a:p>
            <a:pPr marL="139700" indent="0">
              <a:buNone/>
            </a:pPr>
            <a:r>
              <a:rPr lang="en-US" dirty="0"/>
              <a:t>Se pot </a:t>
            </a:r>
            <a:r>
              <a:rPr lang="en-US" dirty="0" err="1"/>
              <a:t>emite</a:t>
            </a:r>
            <a:r>
              <a:rPr lang="en-US" dirty="0"/>
              <a:t> </a:t>
            </a:r>
            <a:r>
              <a:rPr lang="en-US" dirty="0" err="1"/>
              <a:t>acorduri</a:t>
            </a:r>
            <a:r>
              <a:rPr lang="en-US" dirty="0"/>
              <a:t> pentru </a:t>
            </a:r>
            <a:r>
              <a:rPr lang="en-US" dirty="0" err="1"/>
              <a:t>finanţare</a:t>
            </a:r>
            <a:r>
              <a:rPr lang="en-US" dirty="0"/>
              <a:t> </a:t>
            </a:r>
            <a:r>
              <a:rPr lang="en-US" dirty="0" err="1"/>
              <a:t>în</a:t>
            </a:r>
            <a:r>
              <a:rPr lang="en-US" dirty="0"/>
              <a:t> </a:t>
            </a:r>
            <a:r>
              <a:rPr lang="en-US" dirty="0" err="1"/>
              <a:t>baza</a:t>
            </a:r>
            <a:r>
              <a:rPr lang="en-US" dirty="0"/>
              <a:t> </a:t>
            </a:r>
            <a:r>
              <a:rPr lang="en-US" dirty="0" err="1"/>
              <a:t>prezentei</a:t>
            </a:r>
            <a:r>
              <a:rPr lang="en-US" dirty="0"/>
              <a:t> scheme </a:t>
            </a:r>
            <a:r>
              <a:rPr lang="en-US" dirty="0" err="1"/>
              <a:t>în</a:t>
            </a:r>
            <a:r>
              <a:rPr lang="en-US" dirty="0"/>
              <a:t> </a:t>
            </a:r>
            <a:r>
              <a:rPr lang="en-US" dirty="0" err="1"/>
              <a:t>perioada</a:t>
            </a:r>
            <a:r>
              <a:rPr lang="en-US" dirty="0"/>
              <a:t> 2024 - 2026, cu </a:t>
            </a:r>
            <a:r>
              <a:rPr lang="en-US" dirty="0" err="1"/>
              <a:t>respectarea</a:t>
            </a:r>
            <a:r>
              <a:rPr lang="en-US" dirty="0"/>
              <a:t> </a:t>
            </a:r>
            <a:r>
              <a:rPr lang="en-US" dirty="0" err="1"/>
              <a:t>legislaţiei</a:t>
            </a:r>
            <a:r>
              <a:rPr lang="en-US" dirty="0"/>
              <a:t> </a:t>
            </a:r>
            <a:r>
              <a:rPr lang="en-US" dirty="0" err="1"/>
              <a:t>în</a:t>
            </a:r>
            <a:r>
              <a:rPr lang="en-US" dirty="0"/>
              <a:t> </a:t>
            </a:r>
            <a:r>
              <a:rPr lang="en-US" dirty="0" err="1"/>
              <a:t>domeniul</a:t>
            </a:r>
            <a:r>
              <a:rPr lang="en-US" dirty="0"/>
              <a:t> </a:t>
            </a:r>
            <a:r>
              <a:rPr lang="en-US" dirty="0" err="1"/>
              <a:t>ajutorului</a:t>
            </a:r>
            <a:r>
              <a:rPr lang="en-US" dirty="0"/>
              <a:t> de stat </a:t>
            </a:r>
            <a:r>
              <a:rPr lang="en-US" dirty="0" err="1"/>
              <a:t>şi</a:t>
            </a:r>
            <a:r>
              <a:rPr lang="en-US" dirty="0"/>
              <a:t> a </a:t>
            </a:r>
            <a:r>
              <a:rPr lang="en-US" dirty="0" err="1"/>
              <a:t>hărţii</a:t>
            </a:r>
            <a:r>
              <a:rPr lang="en-US" dirty="0"/>
              <a:t> </a:t>
            </a:r>
            <a:r>
              <a:rPr lang="en-US" dirty="0" err="1"/>
              <a:t>regionale</a:t>
            </a:r>
            <a:r>
              <a:rPr lang="en-US" dirty="0"/>
              <a:t> </a:t>
            </a:r>
            <a:r>
              <a:rPr lang="en-US" dirty="0" err="1"/>
              <a:t>autorizate</a:t>
            </a:r>
            <a:r>
              <a:rPr lang="en-US" dirty="0"/>
              <a:t> de </a:t>
            </a:r>
            <a:r>
              <a:rPr lang="en-US" dirty="0" err="1"/>
              <a:t>Comisia</a:t>
            </a:r>
            <a:r>
              <a:rPr lang="en-US" dirty="0"/>
              <a:t> </a:t>
            </a:r>
            <a:r>
              <a:rPr lang="en-US" dirty="0" err="1"/>
              <a:t>Europeană</a:t>
            </a:r>
            <a:r>
              <a:rPr lang="en-US" dirty="0"/>
              <a:t>, </a:t>
            </a:r>
            <a:r>
              <a:rPr lang="en-US" dirty="0" err="1"/>
              <a:t>în</a:t>
            </a:r>
            <a:r>
              <a:rPr lang="en-US" dirty="0"/>
              <a:t> </a:t>
            </a:r>
            <a:r>
              <a:rPr lang="en-US" dirty="0" err="1"/>
              <a:t>limita</a:t>
            </a:r>
            <a:r>
              <a:rPr lang="en-US" dirty="0"/>
              <a:t> </a:t>
            </a:r>
            <a:r>
              <a:rPr lang="en-US" dirty="0" err="1"/>
              <a:t>bugetului</a:t>
            </a:r>
            <a:r>
              <a:rPr lang="en-US" dirty="0"/>
              <a:t> </a:t>
            </a:r>
            <a:r>
              <a:rPr lang="en-US" dirty="0" err="1"/>
              <a:t>anual</a:t>
            </a:r>
            <a:r>
              <a:rPr lang="en-US" dirty="0"/>
              <a:t> </a:t>
            </a:r>
            <a:r>
              <a:rPr lang="en-US" dirty="0" err="1"/>
              <a:t>alocat</a:t>
            </a:r>
            <a:r>
              <a:rPr lang="en-US" dirty="0"/>
              <a:t> </a:t>
            </a:r>
            <a:r>
              <a:rPr lang="en-US" dirty="0" err="1"/>
              <a:t>schemei</a:t>
            </a:r>
            <a:r>
              <a:rPr lang="en-US" dirty="0"/>
              <a:t>.</a:t>
            </a:r>
          </a:p>
          <a:p>
            <a:pPr marL="139700" indent="0">
              <a:buNone/>
            </a:pPr>
            <a:r>
              <a:rPr lang="en-US" dirty="0"/>
              <a:t>Plata </a:t>
            </a:r>
            <a:r>
              <a:rPr lang="en-US" dirty="0" err="1"/>
              <a:t>ajutorului</a:t>
            </a:r>
            <a:r>
              <a:rPr lang="en-US" dirty="0"/>
              <a:t> de stat se </a:t>
            </a:r>
            <a:r>
              <a:rPr lang="en-US" dirty="0" err="1"/>
              <a:t>efectuează</a:t>
            </a:r>
            <a:r>
              <a:rPr lang="en-US" dirty="0"/>
              <a:t> </a:t>
            </a:r>
            <a:r>
              <a:rPr lang="en-US" dirty="0" err="1"/>
              <a:t>în</a:t>
            </a:r>
            <a:r>
              <a:rPr lang="en-US" dirty="0"/>
              <a:t> </a:t>
            </a:r>
            <a:r>
              <a:rPr lang="en-US" dirty="0" err="1"/>
              <a:t>perioada</a:t>
            </a:r>
            <a:r>
              <a:rPr lang="en-US" dirty="0"/>
              <a:t> 2025 - 2032, </a:t>
            </a:r>
            <a:r>
              <a:rPr lang="en-US" dirty="0" err="1"/>
              <a:t>în</a:t>
            </a:r>
            <a:r>
              <a:rPr lang="en-US" dirty="0"/>
              <a:t> </a:t>
            </a:r>
            <a:r>
              <a:rPr lang="en-US" dirty="0" err="1"/>
              <a:t>baza</a:t>
            </a:r>
            <a:r>
              <a:rPr lang="en-US" dirty="0"/>
              <a:t> </a:t>
            </a:r>
            <a:r>
              <a:rPr lang="en-US" dirty="0" err="1"/>
              <a:t>acordurilor</a:t>
            </a:r>
            <a:r>
              <a:rPr lang="en-US" dirty="0"/>
              <a:t> pentru </a:t>
            </a:r>
            <a:r>
              <a:rPr lang="en-US" dirty="0" err="1"/>
              <a:t>finanţare</a:t>
            </a:r>
            <a:r>
              <a:rPr lang="en-US" dirty="0"/>
              <a:t> </a:t>
            </a:r>
            <a:r>
              <a:rPr lang="en-US" dirty="0" err="1"/>
              <a:t>emise</a:t>
            </a:r>
            <a:r>
              <a:rPr lang="en-US" dirty="0"/>
              <a:t>, </a:t>
            </a:r>
            <a:r>
              <a:rPr lang="en-US" dirty="0" err="1"/>
              <a:t>în</a:t>
            </a:r>
            <a:r>
              <a:rPr lang="en-US" dirty="0"/>
              <a:t> </a:t>
            </a:r>
            <a:r>
              <a:rPr lang="en-US" dirty="0" err="1"/>
              <a:t>limita</a:t>
            </a:r>
            <a:r>
              <a:rPr lang="en-US" dirty="0"/>
              <a:t> </a:t>
            </a:r>
            <a:r>
              <a:rPr lang="en-US" dirty="0" err="1"/>
              <a:t>bugetului</a:t>
            </a:r>
            <a:r>
              <a:rPr lang="en-US" dirty="0"/>
              <a:t> </a:t>
            </a:r>
            <a:r>
              <a:rPr lang="en-US" dirty="0" err="1"/>
              <a:t>anual</a:t>
            </a:r>
            <a:r>
              <a:rPr lang="en-US" dirty="0"/>
              <a:t> </a:t>
            </a:r>
            <a:r>
              <a:rPr lang="en-US" dirty="0" err="1"/>
              <a:t>alocat</a:t>
            </a:r>
            <a:r>
              <a:rPr lang="en-US" dirty="0"/>
              <a:t> </a:t>
            </a:r>
            <a:r>
              <a:rPr lang="en-US" dirty="0" err="1"/>
              <a:t>schemei</a:t>
            </a:r>
            <a:r>
              <a:rPr lang="en-US" dirty="0"/>
              <a:t>.</a:t>
            </a:r>
          </a:p>
          <a:p>
            <a:pPr marL="139700" indent="0">
              <a:buNone/>
            </a:pPr>
            <a:endParaRPr lang="en-US" dirty="0"/>
          </a:p>
          <a:p>
            <a:pPr marL="139700" indent="0">
              <a:buNone/>
            </a:pPr>
            <a:r>
              <a:rPr lang="en-US" dirty="0" err="1"/>
              <a:t>Bugetul</a:t>
            </a:r>
            <a:r>
              <a:rPr lang="en-US" dirty="0"/>
              <a:t> maxim al </a:t>
            </a:r>
            <a:r>
              <a:rPr lang="en-US" dirty="0" err="1"/>
              <a:t>schemei</a:t>
            </a:r>
            <a:r>
              <a:rPr lang="en-US" dirty="0"/>
              <a:t> </a:t>
            </a:r>
            <a:r>
              <a:rPr lang="en-US" dirty="0" err="1"/>
              <a:t>este</a:t>
            </a:r>
            <a:r>
              <a:rPr lang="en-US" dirty="0"/>
              <a:t> de 2.249,985 </a:t>
            </a:r>
            <a:r>
              <a:rPr lang="en-US" dirty="0" err="1"/>
              <a:t>milioane</a:t>
            </a:r>
            <a:r>
              <a:rPr lang="en-US" dirty="0"/>
              <a:t> lei, </a:t>
            </a:r>
            <a:r>
              <a:rPr lang="en-US" dirty="0" err="1"/>
              <a:t>respectiv</a:t>
            </a:r>
            <a:r>
              <a:rPr lang="en-US" dirty="0"/>
              <a:t> </a:t>
            </a:r>
            <a:r>
              <a:rPr lang="en-US" dirty="0" err="1"/>
              <a:t>echivalentul</a:t>
            </a:r>
            <a:r>
              <a:rPr lang="en-US" dirty="0"/>
              <a:t> a </a:t>
            </a:r>
            <a:r>
              <a:rPr lang="en-US" dirty="0" err="1"/>
              <a:t>aproximativ</a:t>
            </a:r>
            <a:r>
              <a:rPr lang="en-US" dirty="0"/>
              <a:t> 449,997 </a:t>
            </a:r>
            <a:r>
              <a:rPr lang="en-US" dirty="0" err="1"/>
              <a:t>milioane</a:t>
            </a:r>
            <a:r>
              <a:rPr lang="en-US" dirty="0"/>
              <a:t> euro,</a:t>
            </a:r>
          </a:p>
          <a:p>
            <a:pPr marL="139700" indent="0">
              <a:buNone/>
            </a:pPr>
            <a:r>
              <a:rPr lang="pt-BR" dirty="0"/>
              <a:t>Bugetul mediu anual al schemei este de 749,995 milioane lei, respectiv echivalentul a aproximativ 149,999 milioane euro. </a:t>
            </a:r>
          </a:p>
          <a:p>
            <a:pPr marL="139700" indent="0">
              <a:buNone/>
            </a:pPr>
            <a:r>
              <a:rPr lang="en-US" dirty="0" err="1"/>
              <a:t>Începând</a:t>
            </a:r>
            <a:r>
              <a:rPr lang="en-US" dirty="0"/>
              <a:t> cu </a:t>
            </a:r>
            <a:r>
              <a:rPr lang="en-US" dirty="0" err="1"/>
              <a:t>anul</a:t>
            </a:r>
            <a:r>
              <a:rPr lang="en-US" dirty="0"/>
              <a:t> 2026, </a:t>
            </a:r>
            <a:r>
              <a:rPr lang="en-US" dirty="0" err="1"/>
              <a:t>bugetul</a:t>
            </a:r>
            <a:r>
              <a:rPr lang="en-US" dirty="0"/>
              <a:t> maxim </a:t>
            </a:r>
            <a:r>
              <a:rPr lang="en-US" dirty="0" err="1"/>
              <a:t>anual</a:t>
            </a:r>
            <a:r>
              <a:rPr lang="en-US" dirty="0"/>
              <a:t> al </a:t>
            </a:r>
            <a:r>
              <a:rPr lang="en-US" dirty="0" err="1"/>
              <a:t>schemei</a:t>
            </a:r>
            <a:r>
              <a:rPr lang="en-US" dirty="0"/>
              <a:t> care </a:t>
            </a:r>
            <a:r>
              <a:rPr lang="en-US" dirty="0" err="1"/>
              <a:t>poate</a:t>
            </a:r>
            <a:r>
              <a:rPr lang="en-US" dirty="0"/>
              <a:t> fi </a:t>
            </a:r>
            <a:r>
              <a:rPr lang="en-US" dirty="0" err="1"/>
              <a:t>angajat</a:t>
            </a:r>
            <a:r>
              <a:rPr lang="en-US" dirty="0"/>
              <a:t> </a:t>
            </a:r>
            <a:r>
              <a:rPr lang="en-US" dirty="0" err="1"/>
              <a:t>cuprinde</a:t>
            </a:r>
            <a:r>
              <a:rPr lang="en-US" dirty="0"/>
              <a:t>, </a:t>
            </a:r>
            <a:r>
              <a:rPr lang="en-US" dirty="0" err="1"/>
              <a:t>pe</a:t>
            </a:r>
            <a:r>
              <a:rPr lang="en-US" dirty="0"/>
              <a:t> </a:t>
            </a:r>
            <a:r>
              <a:rPr lang="en-US" dirty="0" err="1"/>
              <a:t>lângă</a:t>
            </a:r>
            <a:r>
              <a:rPr lang="en-US" dirty="0"/>
              <a:t> </a:t>
            </a:r>
            <a:r>
              <a:rPr lang="en-US" dirty="0" err="1"/>
              <a:t>bugetul</a:t>
            </a:r>
            <a:r>
              <a:rPr lang="en-US" dirty="0"/>
              <a:t> </a:t>
            </a:r>
            <a:r>
              <a:rPr lang="en-US" dirty="0" err="1"/>
              <a:t>prevăzut</a:t>
            </a:r>
            <a:r>
              <a:rPr lang="en-US" dirty="0"/>
              <a:t> la </a:t>
            </a:r>
            <a:r>
              <a:rPr lang="en-US" dirty="0" err="1"/>
              <a:t>alin</a:t>
            </a:r>
            <a:r>
              <a:rPr lang="en-US" dirty="0"/>
              <a:t>. (3), </a:t>
            </a:r>
            <a:r>
              <a:rPr lang="en-US" dirty="0" err="1"/>
              <a:t>sumele</a:t>
            </a:r>
            <a:r>
              <a:rPr lang="en-US" dirty="0"/>
              <a:t> </a:t>
            </a:r>
            <a:r>
              <a:rPr lang="en-US" dirty="0" err="1"/>
              <a:t>stabilite</a:t>
            </a:r>
            <a:r>
              <a:rPr lang="en-US" dirty="0"/>
              <a:t> cu </a:t>
            </a:r>
            <a:r>
              <a:rPr lang="en-US" dirty="0" err="1"/>
              <a:t>această</a:t>
            </a:r>
            <a:r>
              <a:rPr lang="en-US" dirty="0"/>
              <a:t> </a:t>
            </a:r>
            <a:r>
              <a:rPr lang="en-US" dirty="0" err="1"/>
              <a:t>destinaţie</a:t>
            </a:r>
            <a:r>
              <a:rPr lang="en-US" dirty="0"/>
              <a:t>, </a:t>
            </a:r>
            <a:r>
              <a:rPr lang="en-US" dirty="0" err="1"/>
              <a:t>în</a:t>
            </a:r>
            <a:r>
              <a:rPr lang="en-US" dirty="0"/>
              <a:t> </a:t>
            </a:r>
            <a:r>
              <a:rPr lang="en-US" dirty="0" err="1"/>
              <a:t>anii</a:t>
            </a:r>
            <a:r>
              <a:rPr lang="en-US" dirty="0"/>
              <a:t> </a:t>
            </a:r>
            <a:r>
              <a:rPr lang="en-US" dirty="0" err="1"/>
              <a:t>anteriori</a:t>
            </a:r>
            <a:r>
              <a:rPr lang="en-US" dirty="0"/>
              <a:t>, </a:t>
            </a:r>
            <a:r>
              <a:rPr lang="en-US" dirty="0" err="1"/>
              <a:t>dar</a:t>
            </a:r>
            <a:r>
              <a:rPr lang="en-US" dirty="0"/>
              <a:t> </a:t>
            </a:r>
            <a:r>
              <a:rPr lang="en-US" dirty="0" err="1"/>
              <a:t>neutilizate</a:t>
            </a:r>
            <a:r>
              <a:rPr lang="en-US" dirty="0"/>
              <a:t>, </a:t>
            </a:r>
            <a:r>
              <a:rPr lang="en-US" dirty="0" err="1"/>
              <a:t>fără</a:t>
            </a:r>
            <a:r>
              <a:rPr lang="en-US" dirty="0"/>
              <a:t> a </a:t>
            </a:r>
            <a:r>
              <a:rPr lang="en-US" dirty="0" err="1"/>
              <a:t>depăşi</a:t>
            </a:r>
            <a:r>
              <a:rPr lang="en-US" dirty="0"/>
              <a:t> </a:t>
            </a:r>
            <a:r>
              <a:rPr lang="en-US" dirty="0" err="1"/>
              <a:t>creditele</a:t>
            </a:r>
            <a:r>
              <a:rPr lang="en-US" dirty="0"/>
              <a:t> de </a:t>
            </a:r>
            <a:r>
              <a:rPr lang="en-US" dirty="0" err="1"/>
              <a:t>angajament</a:t>
            </a:r>
            <a:r>
              <a:rPr lang="en-US" dirty="0"/>
              <a:t> </a:t>
            </a:r>
            <a:r>
              <a:rPr lang="en-US" dirty="0" err="1"/>
              <a:t>şi</a:t>
            </a:r>
            <a:r>
              <a:rPr lang="en-US" dirty="0"/>
              <a:t> </a:t>
            </a:r>
            <a:r>
              <a:rPr lang="en-US" dirty="0" err="1"/>
              <a:t>creditele</a:t>
            </a:r>
            <a:r>
              <a:rPr lang="en-US" dirty="0"/>
              <a:t> </a:t>
            </a:r>
            <a:r>
              <a:rPr lang="en-US" dirty="0" err="1"/>
              <a:t>bugetare</a:t>
            </a:r>
            <a:r>
              <a:rPr lang="en-US" dirty="0"/>
              <a:t> </a:t>
            </a:r>
            <a:r>
              <a:rPr lang="en-US" dirty="0" err="1"/>
              <a:t>aprobate</a:t>
            </a:r>
            <a:r>
              <a:rPr lang="en-US" dirty="0"/>
              <a:t> </a:t>
            </a:r>
            <a:r>
              <a:rPr lang="en-US" dirty="0" err="1"/>
              <a:t>prin</a:t>
            </a:r>
            <a:r>
              <a:rPr lang="en-US" dirty="0"/>
              <a:t> </a:t>
            </a:r>
            <a:r>
              <a:rPr lang="en-US" dirty="0" err="1"/>
              <a:t>legile</a:t>
            </a:r>
            <a:r>
              <a:rPr lang="en-US" dirty="0"/>
              <a:t> </a:t>
            </a:r>
            <a:r>
              <a:rPr lang="en-US" dirty="0" err="1"/>
              <a:t>bugetare</a:t>
            </a:r>
            <a:r>
              <a:rPr lang="en-US" dirty="0"/>
              <a:t> </a:t>
            </a:r>
            <a:r>
              <a:rPr lang="en-US" dirty="0" err="1"/>
              <a:t>anuale</a:t>
            </a:r>
            <a:r>
              <a:rPr lang="en-US" dirty="0"/>
              <a:t>. </a:t>
            </a:r>
          </a:p>
          <a:p>
            <a:pPr marL="139700" indent="0">
              <a:buNone/>
            </a:pPr>
            <a:r>
              <a:rPr lang="en-US" dirty="0" err="1"/>
              <a:t>Numărul</a:t>
            </a:r>
            <a:r>
              <a:rPr lang="en-US" dirty="0"/>
              <a:t> total </a:t>
            </a:r>
            <a:r>
              <a:rPr lang="en-US" dirty="0" err="1"/>
              <a:t>estimat</a:t>
            </a:r>
            <a:r>
              <a:rPr lang="en-US" dirty="0"/>
              <a:t> al </a:t>
            </a:r>
            <a:r>
              <a:rPr lang="en-US" dirty="0" err="1"/>
              <a:t>întreprinderilor</a:t>
            </a:r>
            <a:r>
              <a:rPr lang="en-US" dirty="0"/>
              <a:t> care </a:t>
            </a:r>
            <a:r>
              <a:rPr lang="en-US" dirty="0" err="1"/>
              <a:t>urmează</a:t>
            </a:r>
            <a:r>
              <a:rPr lang="en-US" dirty="0"/>
              <a:t> </a:t>
            </a:r>
            <a:r>
              <a:rPr lang="en-US" dirty="0" err="1"/>
              <a:t>să</a:t>
            </a:r>
            <a:r>
              <a:rPr lang="en-US" dirty="0"/>
              <a:t> </a:t>
            </a:r>
            <a:r>
              <a:rPr lang="en-US" dirty="0" err="1"/>
              <a:t>beneficieze</a:t>
            </a:r>
            <a:r>
              <a:rPr lang="en-US" dirty="0"/>
              <a:t> de </a:t>
            </a:r>
            <a:r>
              <a:rPr lang="en-US" dirty="0" err="1"/>
              <a:t>ajutor</a:t>
            </a:r>
            <a:r>
              <a:rPr lang="en-US" dirty="0"/>
              <a:t> de stat </a:t>
            </a:r>
            <a:r>
              <a:rPr lang="en-US" dirty="0" err="1"/>
              <a:t>în</a:t>
            </a:r>
            <a:r>
              <a:rPr lang="en-US" dirty="0"/>
              <a:t> </a:t>
            </a:r>
            <a:r>
              <a:rPr lang="en-US" dirty="0" err="1"/>
              <a:t>baza</a:t>
            </a:r>
            <a:r>
              <a:rPr lang="en-US" dirty="0"/>
              <a:t> </a:t>
            </a:r>
            <a:r>
              <a:rPr lang="en-US" dirty="0" err="1"/>
              <a:t>schemei</a:t>
            </a:r>
            <a:r>
              <a:rPr lang="en-US" dirty="0"/>
              <a:t> </a:t>
            </a:r>
            <a:r>
              <a:rPr lang="en-US" dirty="0" err="1"/>
              <a:t>este</a:t>
            </a:r>
            <a:r>
              <a:rPr lang="en-US" dirty="0"/>
              <a:t> de </a:t>
            </a:r>
            <a:r>
              <a:rPr lang="en-US" dirty="0" err="1"/>
              <a:t>până</a:t>
            </a:r>
            <a:r>
              <a:rPr lang="en-US" dirty="0"/>
              <a:t> la 150.</a:t>
            </a:r>
            <a:endParaRPr dirty="0"/>
          </a:p>
        </p:txBody>
      </p:sp>
    </p:spTree>
    <p:extLst>
      <p:ext uri="{BB962C8B-B14F-4D97-AF65-F5344CB8AC3E}">
        <p14:creationId xmlns:p14="http://schemas.microsoft.com/office/powerpoint/2010/main" val="40896748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19</a:t>
            </a:fld>
            <a:endParaRPr lang="en-US" dirty="0"/>
          </a:p>
        </p:txBody>
      </p:sp>
    </p:spTree>
    <p:extLst>
      <p:ext uri="{BB962C8B-B14F-4D97-AF65-F5344CB8AC3E}">
        <p14:creationId xmlns:p14="http://schemas.microsoft.com/office/powerpoint/2010/main" val="3500427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19875" cy="3724275"/>
          </a:xfrm>
        </p:spPr>
      </p:sp>
      <p:sp>
        <p:nvSpPr>
          <p:cNvPr id="3" name="Notes Placeholder 2"/>
          <p:cNvSpPr>
            <a:spLocks noGrp="1"/>
          </p:cNvSpPr>
          <p:nvPr>
            <p:ph type="body" idx="1"/>
          </p:nvPr>
        </p:nvSpPr>
        <p:spPr/>
        <p:txBody>
          <a:bodyPr/>
          <a:lstStyle/>
          <a:p>
            <a:r>
              <a:rPr lang="en-US" sz="1100" b="0" i="0" u="none" strike="noStrike" cap="none" dirty="0">
                <a:solidFill>
                  <a:srgbClr val="000000"/>
                </a:solidFill>
                <a:effectLst/>
                <a:latin typeface="Arial"/>
                <a:ea typeface="Arial"/>
                <a:cs typeface="Arial"/>
                <a:sym typeface="Arial"/>
              </a:rPr>
              <a:t>Online data EUROSTAT: last update: </a:t>
            </a:r>
            <a:r>
              <a:rPr lang="en-US" sz="1100" b="1" i="0" u="none" strike="noStrike" cap="none" dirty="0">
                <a:solidFill>
                  <a:srgbClr val="000000"/>
                </a:solidFill>
                <a:effectLst/>
                <a:latin typeface="Arial"/>
                <a:ea typeface="Arial"/>
                <a:cs typeface="Arial"/>
                <a:sym typeface="Arial"/>
              </a:rPr>
              <a:t>17/08/2023 00:00 </a:t>
            </a:r>
          </a:p>
          <a:p>
            <a:r>
              <a:rPr lang="en-US" sz="1100" b="0" i="0" u="none" strike="noStrike" cap="none" dirty="0">
                <a:solidFill>
                  <a:srgbClr val="000000"/>
                </a:solidFill>
                <a:effectLst/>
                <a:latin typeface="Arial"/>
                <a:ea typeface="Arial"/>
                <a:cs typeface="Arial"/>
                <a:sym typeface="Arial"/>
              </a:rPr>
              <a:t> </a:t>
            </a:r>
          </a:p>
          <a:p>
            <a:r>
              <a:rPr lang="en-US" sz="1100" b="0" i="0" u="none" strike="noStrike" cap="none" dirty="0">
                <a:solidFill>
                  <a:srgbClr val="000000"/>
                </a:solidFill>
                <a:effectLst/>
                <a:latin typeface="Arial"/>
                <a:ea typeface="Arial"/>
                <a:cs typeface="Arial"/>
                <a:sym typeface="Arial"/>
              </a:rPr>
              <a:t>Dataset: </a:t>
            </a:r>
          </a:p>
          <a:p>
            <a:r>
              <a:rPr lang="en-US" sz="1100" b="1" i="0" u="none" strike="noStrike" cap="none" dirty="0">
                <a:solidFill>
                  <a:srgbClr val="000000"/>
                </a:solidFill>
                <a:effectLst/>
                <a:latin typeface="Arial"/>
                <a:ea typeface="Arial"/>
                <a:cs typeface="Arial"/>
                <a:sym typeface="Arial"/>
              </a:rPr>
              <a:t>Gross domestic product at market prices [TEC00001]</a:t>
            </a:r>
            <a:endParaRPr lang="en-US" sz="1100" b="0" i="0" u="none" strike="noStrike" cap="none" dirty="0">
              <a:solidFill>
                <a:srgbClr val="000000"/>
              </a:solidFill>
              <a:effectLst/>
              <a:latin typeface="Arial"/>
              <a:ea typeface="Arial"/>
              <a:cs typeface="Arial"/>
              <a:sym typeface="Arial"/>
            </a:endParaRPr>
          </a:p>
          <a:p>
            <a:r>
              <a:rPr lang="en-US" sz="1100" b="0" i="0" u="none" strike="noStrike" cap="none" dirty="0">
                <a:solidFill>
                  <a:srgbClr val="000000"/>
                </a:solidFill>
                <a:effectLst/>
                <a:latin typeface="Arial"/>
                <a:ea typeface="Arial"/>
                <a:cs typeface="Arial"/>
                <a:sym typeface="Arial"/>
              </a:rPr>
              <a:t>Last updated: </a:t>
            </a:r>
          </a:p>
          <a:p>
            <a:r>
              <a:rPr lang="en-US" sz="1100" b="0" i="0" u="none" strike="noStrike" cap="none" dirty="0">
                <a:solidFill>
                  <a:srgbClr val="000000"/>
                </a:solidFill>
                <a:effectLst/>
                <a:latin typeface="Arial"/>
                <a:ea typeface="Arial"/>
                <a:cs typeface="Arial"/>
                <a:sym typeface="Arial"/>
              </a:rPr>
              <a:t>17/08/2023 00:00</a:t>
            </a:r>
          </a:p>
          <a:p>
            <a:r>
              <a:rPr lang="en-US" sz="1100" b="0" i="0" u="none" strike="noStrike" cap="none" dirty="0">
                <a:solidFill>
                  <a:srgbClr val="000000"/>
                </a:solidFill>
                <a:effectLst/>
                <a:latin typeface="Arial"/>
                <a:ea typeface="Arial"/>
                <a:cs typeface="Arial"/>
                <a:sym typeface="Arial"/>
              </a:rPr>
              <a:t> </a:t>
            </a:r>
          </a:p>
          <a:p>
            <a:r>
              <a:rPr lang="en-US" sz="1100" b="0" i="0" u="none" strike="noStrike" cap="none" dirty="0">
                <a:solidFill>
                  <a:srgbClr val="000000"/>
                </a:solidFill>
                <a:effectLst/>
                <a:latin typeface="Arial"/>
                <a:ea typeface="Arial"/>
                <a:cs typeface="Arial"/>
                <a:sym typeface="Arial"/>
              </a:rPr>
              <a:t>Dataset: </a:t>
            </a:r>
          </a:p>
          <a:p>
            <a:r>
              <a:rPr lang="en-US" sz="1100" b="1" i="0" u="none" strike="noStrike" cap="none" dirty="0">
                <a:solidFill>
                  <a:srgbClr val="000000"/>
                </a:solidFill>
                <a:effectLst/>
                <a:latin typeface="Arial"/>
                <a:ea typeface="Arial"/>
                <a:cs typeface="Arial"/>
                <a:sym typeface="Arial"/>
              </a:rPr>
              <a:t>Real GDP growth rate - volume [TEC00115]</a:t>
            </a:r>
            <a:endParaRPr lang="en-US" sz="1100" b="0" i="0" u="none" strike="noStrike" cap="none" dirty="0">
              <a:solidFill>
                <a:srgbClr val="000000"/>
              </a:solidFill>
              <a:effectLst/>
              <a:latin typeface="Arial"/>
              <a:ea typeface="Arial"/>
              <a:cs typeface="Arial"/>
              <a:sym typeface="Arial"/>
            </a:endParaRPr>
          </a:p>
          <a:p>
            <a:r>
              <a:rPr lang="en-US" sz="1100" b="0" i="0" u="none" strike="noStrike" cap="none" dirty="0">
                <a:solidFill>
                  <a:srgbClr val="000000"/>
                </a:solidFill>
                <a:effectLst/>
                <a:latin typeface="Arial"/>
                <a:ea typeface="Arial"/>
                <a:cs typeface="Arial"/>
                <a:sym typeface="Arial"/>
              </a:rPr>
              <a:t>Last updated: </a:t>
            </a:r>
          </a:p>
          <a:p>
            <a:r>
              <a:rPr lang="en-US" sz="1100" b="0" i="0" u="none" strike="noStrike" cap="none" dirty="0">
                <a:solidFill>
                  <a:srgbClr val="000000"/>
                </a:solidFill>
                <a:effectLst/>
                <a:latin typeface="Arial"/>
                <a:ea typeface="Arial"/>
                <a:cs typeface="Arial"/>
                <a:sym typeface="Arial"/>
              </a:rPr>
              <a:t>17/08/2023 00:00</a:t>
            </a:r>
          </a:p>
          <a:p>
            <a:r>
              <a:rPr lang="en-US" sz="1100" b="0" i="0" u="none" strike="noStrike" cap="none" dirty="0">
                <a:solidFill>
                  <a:srgbClr val="000000"/>
                </a:solidFill>
                <a:effectLst/>
                <a:latin typeface="Arial"/>
                <a:ea typeface="Arial"/>
                <a:cs typeface="Arial"/>
                <a:sym typeface="Arial"/>
              </a:rPr>
              <a:t> </a:t>
            </a:r>
          </a:p>
        </p:txBody>
      </p:sp>
    </p:spTree>
    <p:extLst>
      <p:ext uri="{BB962C8B-B14F-4D97-AF65-F5344CB8AC3E}">
        <p14:creationId xmlns:p14="http://schemas.microsoft.com/office/powerpoint/2010/main" val="1447502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5" name="Google Shape;245;p: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139700" indent="0">
              <a:buNone/>
            </a:pPr>
            <a:r>
              <a:rPr lang="en-US" dirty="0"/>
              <a:t>HOTĂRÂRE </a:t>
            </a:r>
            <a:r>
              <a:rPr lang="en-US" dirty="0" err="1"/>
              <a:t>Nr</a:t>
            </a:r>
            <a:r>
              <a:rPr lang="en-US" dirty="0"/>
              <a:t>. 300/2024 din 4 </a:t>
            </a:r>
            <a:r>
              <a:rPr lang="en-US" dirty="0" err="1"/>
              <a:t>aprilie</a:t>
            </a:r>
            <a:r>
              <a:rPr lang="en-US" dirty="0"/>
              <a:t> 2024 pentru </a:t>
            </a:r>
            <a:r>
              <a:rPr lang="en-US" dirty="0" err="1"/>
              <a:t>instituirea</a:t>
            </a:r>
            <a:r>
              <a:rPr lang="en-US" dirty="0"/>
              <a:t> </a:t>
            </a:r>
            <a:r>
              <a:rPr lang="en-US" dirty="0" err="1"/>
              <a:t>unei</a:t>
            </a:r>
            <a:r>
              <a:rPr lang="en-US" dirty="0"/>
              <a:t> scheme de </a:t>
            </a:r>
            <a:r>
              <a:rPr lang="en-US" dirty="0" err="1"/>
              <a:t>ajutor</a:t>
            </a:r>
            <a:r>
              <a:rPr lang="en-US" dirty="0"/>
              <a:t> de stat </a:t>
            </a:r>
            <a:r>
              <a:rPr lang="en-US" dirty="0" err="1"/>
              <a:t>având</a:t>
            </a:r>
            <a:r>
              <a:rPr lang="en-US" dirty="0"/>
              <a:t> ca </a:t>
            </a:r>
            <a:r>
              <a:rPr lang="en-US" dirty="0" err="1"/>
              <a:t>obiectiv</a:t>
            </a:r>
            <a:r>
              <a:rPr lang="en-US" dirty="0"/>
              <a:t> </a:t>
            </a:r>
            <a:r>
              <a:rPr lang="en-US" dirty="0" err="1"/>
              <a:t>dezvoltarea</a:t>
            </a:r>
            <a:r>
              <a:rPr lang="en-US" dirty="0"/>
              <a:t> </a:t>
            </a:r>
            <a:r>
              <a:rPr lang="en-US" dirty="0" err="1"/>
              <a:t>regională</a:t>
            </a:r>
            <a:r>
              <a:rPr lang="en-US" dirty="0"/>
              <a:t> </a:t>
            </a:r>
            <a:r>
              <a:rPr lang="en-US" dirty="0" err="1"/>
              <a:t>prin</a:t>
            </a:r>
            <a:r>
              <a:rPr lang="en-US" dirty="0"/>
              <a:t> </a:t>
            </a:r>
            <a:r>
              <a:rPr lang="en-US" dirty="0" err="1"/>
              <a:t>stimularea</a:t>
            </a:r>
            <a:r>
              <a:rPr lang="en-US" dirty="0"/>
              <a:t> </a:t>
            </a:r>
            <a:r>
              <a:rPr lang="en-US" dirty="0" err="1"/>
              <a:t>realizării</a:t>
            </a:r>
            <a:r>
              <a:rPr lang="en-US" dirty="0"/>
              <a:t> de </a:t>
            </a:r>
            <a:r>
              <a:rPr lang="en-US" dirty="0" err="1"/>
              <a:t>investiţii</a:t>
            </a:r>
            <a:endParaRPr lang="en-US" dirty="0"/>
          </a:p>
          <a:p>
            <a:pPr marL="139700" indent="0">
              <a:buNone/>
            </a:pPr>
            <a:endParaRPr lang="en-US" dirty="0"/>
          </a:p>
          <a:p>
            <a:pPr marL="139700" indent="0">
              <a:buNone/>
            </a:pPr>
            <a:r>
              <a:rPr lang="en-US" dirty="0" err="1"/>
              <a:t>Scopul</a:t>
            </a:r>
            <a:r>
              <a:rPr lang="en-US" dirty="0"/>
              <a:t> </a:t>
            </a:r>
            <a:r>
              <a:rPr lang="en-US" dirty="0" err="1"/>
              <a:t>prezentei</a:t>
            </a:r>
            <a:r>
              <a:rPr lang="en-US" dirty="0"/>
              <a:t> </a:t>
            </a:r>
            <a:r>
              <a:rPr lang="en-US" dirty="0" err="1"/>
              <a:t>hotărâri</a:t>
            </a:r>
            <a:r>
              <a:rPr lang="en-US" dirty="0"/>
              <a:t> </a:t>
            </a:r>
            <a:r>
              <a:rPr lang="en-US" dirty="0" err="1"/>
              <a:t>îl</a:t>
            </a:r>
            <a:r>
              <a:rPr lang="en-US" dirty="0"/>
              <a:t> </a:t>
            </a:r>
            <a:r>
              <a:rPr lang="en-US" dirty="0" err="1"/>
              <a:t>reprezintă</a:t>
            </a:r>
            <a:r>
              <a:rPr lang="en-US" dirty="0"/>
              <a:t> </a:t>
            </a:r>
            <a:r>
              <a:rPr lang="en-US" dirty="0" err="1"/>
              <a:t>instituirea</a:t>
            </a:r>
            <a:r>
              <a:rPr lang="en-US" dirty="0"/>
              <a:t> </a:t>
            </a:r>
            <a:r>
              <a:rPr lang="en-US" dirty="0" err="1"/>
              <a:t>unei</a:t>
            </a:r>
            <a:r>
              <a:rPr lang="en-US" dirty="0"/>
              <a:t> scheme de </a:t>
            </a:r>
            <a:r>
              <a:rPr lang="en-US" dirty="0" err="1"/>
              <a:t>ajutor</a:t>
            </a:r>
            <a:r>
              <a:rPr lang="en-US" dirty="0"/>
              <a:t> de stat cu impact major </a:t>
            </a:r>
            <a:r>
              <a:rPr lang="en-US" dirty="0" err="1"/>
              <a:t>în</a:t>
            </a:r>
            <a:r>
              <a:rPr lang="en-US" dirty="0"/>
              <a:t> </a:t>
            </a:r>
            <a:r>
              <a:rPr lang="en-US" dirty="0" err="1"/>
              <a:t>economie</a:t>
            </a:r>
            <a:r>
              <a:rPr lang="en-US" dirty="0"/>
              <a:t>, </a:t>
            </a:r>
            <a:r>
              <a:rPr lang="en-US" dirty="0" err="1"/>
              <a:t>denumită</a:t>
            </a:r>
            <a:r>
              <a:rPr lang="en-US" dirty="0"/>
              <a:t> </a:t>
            </a:r>
            <a:r>
              <a:rPr lang="en-US" dirty="0" err="1"/>
              <a:t>în</a:t>
            </a:r>
            <a:r>
              <a:rPr lang="en-US" dirty="0"/>
              <a:t> </a:t>
            </a:r>
            <a:r>
              <a:rPr lang="en-US" dirty="0" err="1"/>
              <a:t>continuare</a:t>
            </a:r>
            <a:r>
              <a:rPr lang="en-US" dirty="0"/>
              <a:t> </a:t>
            </a:r>
            <a:r>
              <a:rPr lang="en-US" dirty="0" err="1"/>
              <a:t>schemă</a:t>
            </a:r>
            <a:r>
              <a:rPr lang="en-US" dirty="0"/>
              <a:t>, </a:t>
            </a:r>
            <a:r>
              <a:rPr lang="en-US" dirty="0" err="1"/>
              <a:t>având</a:t>
            </a:r>
            <a:r>
              <a:rPr lang="en-US" dirty="0"/>
              <a:t> ca </a:t>
            </a:r>
            <a:r>
              <a:rPr lang="en-US" dirty="0" err="1"/>
              <a:t>obiectiv</a:t>
            </a:r>
            <a:r>
              <a:rPr lang="en-US" dirty="0"/>
              <a:t> </a:t>
            </a:r>
            <a:r>
              <a:rPr lang="en-US" dirty="0" err="1"/>
              <a:t>dezvoltarea</a:t>
            </a:r>
            <a:r>
              <a:rPr lang="en-US" dirty="0"/>
              <a:t> </a:t>
            </a:r>
            <a:r>
              <a:rPr lang="en-US" dirty="0" err="1"/>
              <a:t>regională</a:t>
            </a:r>
            <a:r>
              <a:rPr lang="en-US" dirty="0"/>
              <a:t> </a:t>
            </a:r>
            <a:r>
              <a:rPr lang="en-US" dirty="0" err="1"/>
              <a:t>prin</a:t>
            </a:r>
            <a:r>
              <a:rPr lang="en-US" dirty="0"/>
              <a:t> </a:t>
            </a:r>
            <a:r>
              <a:rPr lang="en-US" dirty="0" err="1"/>
              <a:t>realizarea</a:t>
            </a:r>
            <a:r>
              <a:rPr lang="en-US" dirty="0"/>
              <a:t> de </a:t>
            </a:r>
            <a:r>
              <a:rPr lang="en-US" dirty="0" err="1"/>
              <a:t>investiţii</a:t>
            </a:r>
            <a:r>
              <a:rPr lang="en-US" dirty="0"/>
              <a:t> care </a:t>
            </a:r>
            <a:r>
              <a:rPr lang="en-US" dirty="0" err="1"/>
              <a:t>asigură</a:t>
            </a:r>
            <a:r>
              <a:rPr lang="en-US" dirty="0"/>
              <a:t> </a:t>
            </a:r>
            <a:r>
              <a:rPr lang="en-US" dirty="0" err="1"/>
              <a:t>echilibrarea</a:t>
            </a:r>
            <a:r>
              <a:rPr lang="en-US" dirty="0"/>
              <a:t> </a:t>
            </a:r>
            <a:r>
              <a:rPr lang="en-US" dirty="0" err="1"/>
              <a:t>balanţei</a:t>
            </a:r>
            <a:r>
              <a:rPr lang="en-US" dirty="0"/>
              <a:t> </a:t>
            </a:r>
            <a:r>
              <a:rPr lang="en-US" dirty="0" err="1"/>
              <a:t>comerciale</a:t>
            </a:r>
            <a:r>
              <a:rPr lang="en-US" dirty="0"/>
              <a:t> a </a:t>
            </a:r>
            <a:r>
              <a:rPr lang="en-US" dirty="0" err="1"/>
              <a:t>României</a:t>
            </a:r>
            <a:r>
              <a:rPr lang="en-US" dirty="0"/>
              <a:t> </a:t>
            </a:r>
            <a:r>
              <a:rPr lang="en-US" dirty="0" err="1"/>
              <a:t>în</a:t>
            </a:r>
            <a:r>
              <a:rPr lang="en-US" dirty="0"/>
              <a:t> </a:t>
            </a:r>
            <a:r>
              <a:rPr lang="en-US" dirty="0" err="1"/>
              <a:t>sectoarele</a:t>
            </a:r>
            <a:r>
              <a:rPr lang="en-US" dirty="0"/>
              <a:t> care se </a:t>
            </a:r>
            <a:r>
              <a:rPr lang="en-US" dirty="0" err="1"/>
              <a:t>regăsesc</a:t>
            </a:r>
            <a:r>
              <a:rPr lang="en-US" dirty="0"/>
              <a:t> </a:t>
            </a:r>
            <a:r>
              <a:rPr lang="en-US" dirty="0" err="1"/>
              <a:t>în</a:t>
            </a:r>
            <a:r>
              <a:rPr lang="en-US" dirty="0"/>
              <a:t> </a:t>
            </a:r>
            <a:r>
              <a:rPr lang="en-US" dirty="0" err="1"/>
              <a:t>anexa</a:t>
            </a:r>
            <a:r>
              <a:rPr lang="en-US" dirty="0"/>
              <a:t> </a:t>
            </a:r>
            <a:r>
              <a:rPr lang="en-US" dirty="0" err="1"/>
              <a:t>nr</a:t>
            </a:r>
            <a:r>
              <a:rPr lang="en-US" dirty="0"/>
              <a:t>. 1.</a:t>
            </a:r>
          </a:p>
          <a:p>
            <a:pPr marL="139700" indent="0">
              <a:buNone/>
            </a:pPr>
            <a:endParaRPr lang="en-US" dirty="0"/>
          </a:p>
          <a:p>
            <a:pPr marL="139700" indent="0">
              <a:buNone/>
            </a:pPr>
            <a:r>
              <a:rPr lang="en-US" dirty="0"/>
              <a:t>Se pot </a:t>
            </a:r>
            <a:r>
              <a:rPr lang="en-US" dirty="0" err="1"/>
              <a:t>emite</a:t>
            </a:r>
            <a:r>
              <a:rPr lang="en-US" dirty="0"/>
              <a:t> </a:t>
            </a:r>
            <a:r>
              <a:rPr lang="en-US" dirty="0" err="1"/>
              <a:t>acorduri</a:t>
            </a:r>
            <a:r>
              <a:rPr lang="en-US" dirty="0"/>
              <a:t> pentru </a:t>
            </a:r>
            <a:r>
              <a:rPr lang="en-US" dirty="0" err="1"/>
              <a:t>finanţare</a:t>
            </a:r>
            <a:r>
              <a:rPr lang="en-US" dirty="0"/>
              <a:t> </a:t>
            </a:r>
            <a:r>
              <a:rPr lang="en-US" dirty="0" err="1"/>
              <a:t>în</a:t>
            </a:r>
            <a:r>
              <a:rPr lang="en-US" dirty="0"/>
              <a:t> </a:t>
            </a:r>
            <a:r>
              <a:rPr lang="en-US" dirty="0" err="1"/>
              <a:t>baza</a:t>
            </a:r>
            <a:r>
              <a:rPr lang="en-US" dirty="0"/>
              <a:t> </a:t>
            </a:r>
            <a:r>
              <a:rPr lang="en-US" dirty="0" err="1"/>
              <a:t>prezentei</a:t>
            </a:r>
            <a:r>
              <a:rPr lang="en-US" dirty="0"/>
              <a:t> scheme </a:t>
            </a:r>
            <a:r>
              <a:rPr lang="en-US" dirty="0" err="1"/>
              <a:t>în</a:t>
            </a:r>
            <a:r>
              <a:rPr lang="en-US" dirty="0"/>
              <a:t> </a:t>
            </a:r>
            <a:r>
              <a:rPr lang="en-US" dirty="0" err="1"/>
              <a:t>perioada</a:t>
            </a:r>
            <a:r>
              <a:rPr lang="en-US" dirty="0"/>
              <a:t> 2024 - 2026, cu </a:t>
            </a:r>
            <a:r>
              <a:rPr lang="en-US" dirty="0" err="1"/>
              <a:t>respectarea</a:t>
            </a:r>
            <a:r>
              <a:rPr lang="en-US" dirty="0"/>
              <a:t> </a:t>
            </a:r>
            <a:r>
              <a:rPr lang="en-US" dirty="0" err="1"/>
              <a:t>legislaţiei</a:t>
            </a:r>
            <a:r>
              <a:rPr lang="en-US" dirty="0"/>
              <a:t> </a:t>
            </a:r>
            <a:r>
              <a:rPr lang="en-US" dirty="0" err="1"/>
              <a:t>în</a:t>
            </a:r>
            <a:r>
              <a:rPr lang="en-US" dirty="0"/>
              <a:t> </a:t>
            </a:r>
            <a:r>
              <a:rPr lang="en-US" dirty="0" err="1"/>
              <a:t>domeniul</a:t>
            </a:r>
            <a:r>
              <a:rPr lang="en-US" dirty="0"/>
              <a:t> </a:t>
            </a:r>
            <a:r>
              <a:rPr lang="en-US" dirty="0" err="1"/>
              <a:t>ajutorului</a:t>
            </a:r>
            <a:r>
              <a:rPr lang="en-US" dirty="0"/>
              <a:t> de stat </a:t>
            </a:r>
            <a:r>
              <a:rPr lang="en-US" dirty="0" err="1"/>
              <a:t>şi</a:t>
            </a:r>
            <a:r>
              <a:rPr lang="en-US" dirty="0"/>
              <a:t> a </a:t>
            </a:r>
            <a:r>
              <a:rPr lang="en-US" dirty="0" err="1"/>
              <a:t>hărţii</a:t>
            </a:r>
            <a:r>
              <a:rPr lang="en-US" dirty="0"/>
              <a:t> </a:t>
            </a:r>
            <a:r>
              <a:rPr lang="en-US" dirty="0" err="1"/>
              <a:t>regionale</a:t>
            </a:r>
            <a:r>
              <a:rPr lang="en-US" dirty="0"/>
              <a:t> </a:t>
            </a:r>
            <a:r>
              <a:rPr lang="en-US" dirty="0" err="1"/>
              <a:t>autorizate</a:t>
            </a:r>
            <a:r>
              <a:rPr lang="en-US" dirty="0"/>
              <a:t> de </a:t>
            </a:r>
            <a:r>
              <a:rPr lang="en-US" dirty="0" err="1"/>
              <a:t>Comisia</a:t>
            </a:r>
            <a:r>
              <a:rPr lang="en-US" dirty="0"/>
              <a:t> </a:t>
            </a:r>
            <a:r>
              <a:rPr lang="en-US" dirty="0" err="1"/>
              <a:t>Europeană</a:t>
            </a:r>
            <a:r>
              <a:rPr lang="en-US" dirty="0"/>
              <a:t>, </a:t>
            </a:r>
            <a:r>
              <a:rPr lang="en-US" dirty="0" err="1"/>
              <a:t>în</a:t>
            </a:r>
            <a:r>
              <a:rPr lang="en-US" dirty="0"/>
              <a:t> </a:t>
            </a:r>
            <a:r>
              <a:rPr lang="en-US" dirty="0" err="1"/>
              <a:t>limita</a:t>
            </a:r>
            <a:r>
              <a:rPr lang="en-US" dirty="0"/>
              <a:t> </a:t>
            </a:r>
            <a:r>
              <a:rPr lang="en-US" dirty="0" err="1"/>
              <a:t>bugetului</a:t>
            </a:r>
            <a:r>
              <a:rPr lang="en-US" dirty="0"/>
              <a:t> </a:t>
            </a:r>
            <a:r>
              <a:rPr lang="en-US" dirty="0" err="1"/>
              <a:t>anual</a:t>
            </a:r>
            <a:r>
              <a:rPr lang="en-US" dirty="0"/>
              <a:t> </a:t>
            </a:r>
            <a:r>
              <a:rPr lang="en-US" dirty="0" err="1"/>
              <a:t>alocat</a:t>
            </a:r>
            <a:r>
              <a:rPr lang="en-US" dirty="0"/>
              <a:t> </a:t>
            </a:r>
            <a:r>
              <a:rPr lang="en-US" dirty="0" err="1"/>
              <a:t>schemei</a:t>
            </a:r>
            <a:r>
              <a:rPr lang="en-US" dirty="0"/>
              <a:t>.</a:t>
            </a:r>
          </a:p>
          <a:p>
            <a:pPr marL="139700" indent="0">
              <a:buNone/>
            </a:pPr>
            <a:r>
              <a:rPr lang="en-US" dirty="0"/>
              <a:t>Plata </a:t>
            </a:r>
            <a:r>
              <a:rPr lang="en-US" dirty="0" err="1"/>
              <a:t>ajutorului</a:t>
            </a:r>
            <a:r>
              <a:rPr lang="en-US" dirty="0"/>
              <a:t> de stat se </a:t>
            </a:r>
            <a:r>
              <a:rPr lang="en-US" dirty="0" err="1"/>
              <a:t>efectuează</a:t>
            </a:r>
            <a:r>
              <a:rPr lang="en-US" dirty="0"/>
              <a:t> </a:t>
            </a:r>
            <a:r>
              <a:rPr lang="en-US" dirty="0" err="1"/>
              <a:t>în</a:t>
            </a:r>
            <a:r>
              <a:rPr lang="en-US" dirty="0"/>
              <a:t> </a:t>
            </a:r>
            <a:r>
              <a:rPr lang="en-US" dirty="0" err="1"/>
              <a:t>perioada</a:t>
            </a:r>
            <a:r>
              <a:rPr lang="en-US" dirty="0"/>
              <a:t> 2025 - 2032, </a:t>
            </a:r>
            <a:r>
              <a:rPr lang="en-US" dirty="0" err="1"/>
              <a:t>în</a:t>
            </a:r>
            <a:r>
              <a:rPr lang="en-US" dirty="0"/>
              <a:t> </a:t>
            </a:r>
            <a:r>
              <a:rPr lang="en-US" dirty="0" err="1"/>
              <a:t>baza</a:t>
            </a:r>
            <a:r>
              <a:rPr lang="en-US" dirty="0"/>
              <a:t> </a:t>
            </a:r>
            <a:r>
              <a:rPr lang="en-US" dirty="0" err="1"/>
              <a:t>acordurilor</a:t>
            </a:r>
            <a:r>
              <a:rPr lang="en-US" dirty="0"/>
              <a:t> pentru </a:t>
            </a:r>
            <a:r>
              <a:rPr lang="en-US" dirty="0" err="1"/>
              <a:t>finanţare</a:t>
            </a:r>
            <a:r>
              <a:rPr lang="en-US" dirty="0"/>
              <a:t> </a:t>
            </a:r>
            <a:r>
              <a:rPr lang="en-US" dirty="0" err="1"/>
              <a:t>emise</a:t>
            </a:r>
            <a:r>
              <a:rPr lang="en-US" dirty="0"/>
              <a:t>, </a:t>
            </a:r>
            <a:r>
              <a:rPr lang="en-US" dirty="0" err="1"/>
              <a:t>în</a:t>
            </a:r>
            <a:r>
              <a:rPr lang="en-US" dirty="0"/>
              <a:t> </a:t>
            </a:r>
            <a:r>
              <a:rPr lang="en-US" dirty="0" err="1"/>
              <a:t>limita</a:t>
            </a:r>
            <a:r>
              <a:rPr lang="en-US" dirty="0"/>
              <a:t> </a:t>
            </a:r>
            <a:r>
              <a:rPr lang="en-US" dirty="0" err="1"/>
              <a:t>bugetului</a:t>
            </a:r>
            <a:r>
              <a:rPr lang="en-US" dirty="0"/>
              <a:t> </a:t>
            </a:r>
            <a:r>
              <a:rPr lang="en-US" dirty="0" err="1"/>
              <a:t>anual</a:t>
            </a:r>
            <a:r>
              <a:rPr lang="en-US" dirty="0"/>
              <a:t> </a:t>
            </a:r>
            <a:r>
              <a:rPr lang="en-US" dirty="0" err="1"/>
              <a:t>alocat</a:t>
            </a:r>
            <a:r>
              <a:rPr lang="en-US" dirty="0"/>
              <a:t> </a:t>
            </a:r>
            <a:r>
              <a:rPr lang="en-US" dirty="0" err="1"/>
              <a:t>schemei</a:t>
            </a:r>
            <a:r>
              <a:rPr lang="en-US" dirty="0"/>
              <a:t>.</a:t>
            </a:r>
          </a:p>
          <a:p>
            <a:pPr marL="139700" indent="0">
              <a:buNone/>
            </a:pPr>
            <a:endParaRPr lang="en-US" dirty="0"/>
          </a:p>
          <a:p>
            <a:pPr marL="139700" indent="0">
              <a:buNone/>
            </a:pPr>
            <a:r>
              <a:rPr lang="en-US" dirty="0" err="1"/>
              <a:t>Bugetul</a:t>
            </a:r>
            <a:r>
              <a:rPr lang="en-US" dirty="0"/>
              <a:t> maxim al </a:t>
            </a:r>
            <a:r>
              <a:rPr lang="en-US" dirty="0" err="1"/>
              <a:t>schemei</a:t>
            </a:r>
            <a:r>
              <a:rPr lang="en-US" dirty="0"/>
              <a:t> </a:t>
            </a:r>
            <a:r>
              <a:rPr lang="en-US" dirty="0" err="1"/>
              <a:t>este</a:t>
            </a:r>
            <a:r>
              <a:rPr lang="en-US" dirty="0"/>
              <a:t> de 2.249,985 </a:t>
            </a:r>
            <a:r>
              <a:rPr lang="en-US" dirty="0" err="1"/>
              <a:t>milioane</a:t>
            </a:r>
            <a:r>
              <a:rPr lang="en-US" dirty="0"/>
              <a:t> lei, </a:t>
            </a:r>
            <a:r>
              <a:rPr lang="en-US" dirty="0" err="1"/>
              <a:t>respectiv</a:t>
            </a:r>
            <a:r>
              <a:rPr lang="en-US" dirty="0"/>
              <a:t> </a:t>
            </a:r>
            <a:r>
              <a:rPr lang="en-US" dirty="0" err="1"/>
              <a:t>echivalentul</a:t>
            </a:r>
            <a:r>
              <a:rPr lang="en-US" dirty="0"/>
              <a:t> a </a:t>
            </a:r>
            <a:r>
              <a:rPr lang="en-US" dirty="0" err="1"/>
              <a:t>aproximativ</a:t>
            </a:r>
            <a:r>
              <a:rPr lang="en-US" dirty="0"/>
              <a:t> 449,997 </a:t>
            </a:r>
            <a:r>
              <a:rPr lang="en-US" dirty="0" err="1"/>
              <a:t>milioane</a:t>
            </a:r>
            <a:r>
              <a:rPr lang="en-US" dirty="0"/>
              <a:t> euro,</a:t>
            </a:r>
          </a:p>
          <a:p>
            <a:pPr marL="139700" indent="0">
              <a:buNone/>
            </a:pPr>
            <a:r>
              <a:rPr lang="pt-BR" dirty="0"/>
              <a:t>Bugetul mediu anual al schemei este de 749,995 milioane lei, respectiv echivalentul a aproximativ 149,999 milioane euro. </a:t>
            </a:r>
          </a:p>
          <a:p>
            <a:pPr marL="139700" indent="0">
              <a:buNone/>
            </a:pPr>
            <a:r>
              <a:rPr lang="en-US" dirty="0" err="1"/>
              <a:t>Începând</a:t>
            </a:r>
            <a:r>
              <a:rPr lang="en-US" dirty="0"/>
              <a:t> cu </a:t>
            </a:r>
            <a:r>
              <a:rPr lang="en-US" dirty="0" err="1"/>
              <a:t>anul</a:t>
            </a:r>
            <a:r>
              <a:rPr lang="en-US" dirty="0"/>
              <a:t> 2026, </a:t>
            </a:r>
            <a:r>
              <a:rPr lang="en-US" dirty="0" err="1"/>
              <a:t>bugetul</a:t>
            </a:r>
            <a:r>
              <a:rPr lang="en-US" dirty="0"/>
              <a:t> maxim </a:t>
            </a:r>
            <a:r>
              <a:rPr lang="en-US" dirty="0" err="1"/>
              <a:t>anual</a:t>
            </a:r>
            <a:r>
              <a:rPr lang="en-US" dirty="0"/>
              <a:t> al </a:t>
            </a:r>
            <a:r>
              <a:rPr lang="en-US" dirty="0" err="1"/>
              <a:t>schemei</a:t>
            </a:r>
            <a:r>
              <a:rPr lang="en-US" dirty="0"/>
              <a:t> care </a:t>
            </a:r>
            <a:r>
              <a:rPr lang="en-US" dirty="0" err="1"/>
              <a:t>poate</a:t>
            </a:r>
            <a:r>
              <a:rPr lang="en-US" dirty="0"/>
              <a:t> fi </a:t>
            </a:r>
            <a:r>
              <a:rPr lang="en-US" dirty="0" err="1"/>
              <a:t>angajat</a:t>
            </a:r>
            <a:r>
              <a:rPr lang="en-US" dirty="0"/>
              <a:t> </a:t>
            </a:r>
            <a:r>
              <a:rPr lang="en-US" dirty="0" err="1"/>
              <a:t>cuprinde</a:t>
            </a:r>
            <a:r>
              <a:rPr lang="en-US" dirty="0"/>
              <a:t>, </a:t>
            </a:r>
            <a:r>
              <a:rPr lang="en-US" dirty="0" err="1"/>
              <a:t>pe</a:t>
            </a:r>
            <a:r>
              <a:rPr lang="en-US" dirty="0"/>
              <a:t> </a:t>
            </a:r>
            <a:r>
              <a:rPr lang="en-US" dirty="0" err="1"/>
              <a:t>lângă</a:t>
            </a:r>
            <a:r>
              <a:rPr lang="en-US" dirty="0"/>
              <a:t> </a:t>
            </a:r>
            <a:r>
              <a:rPr lang="en-US" dirty="0" err="1"/>
              <a:t>bugetul</a:t>
            </a:r>
            <a:r>
              <a:rPr lang="en-US" dirty="0"/>
              <a:t> </a:t>
            </a:r>
            <a:r>
              <a:rPr lang="en-US" dirty="0" err="1"/>
              <a:t>prevăzut</a:t>
            </a:r>
            <a:r>
              <a:rPr lang="en-US" dirty="0"/>
              <a:t> la </a:t>
            </a:r>
            <a:r>
              <a:rPr lang="en-US" dirty="0" err="1"/>
              <a:t>alin</a:t>
            </a:r>
            <a:r>
              <a:rPr lang="en-US" dirty="0"/>
              <a:t>. (3), </a:t>
            </a:r>
            <a:r>
              <a:rPr lang="en-US" dirty="0" err="1"/>
              <a:t>sumele</a:t>
            </a:r>
            <a:r>
              <a:rPr lang="en-US" dirty="0"/>
              <a:t> </a:t>
            </a:r>
            <a:r>
              <a:rPr lang="en-US" dirty="0" err="1"/>
              <a:t>stabilite</a:t>
            </a:r>
            <a:r>
              <a:rPr lang="en-US" dirty="0"/>
              <a:t> cu </a:t>
            </a:r>
            <a:r>
              <a:rPr lang="en-US" dirty="0" err="1"/>
              <a:t>această</a:t>
            </a:r>
            <a:r>
              <a:rPr lang="en-US" dirty="0"/>
              <a:t> </a:t>
            </a:r>
            <a:r>
              <a:rPr lang="en-US" dirty="0" err="1"/>
              <a:t>destinaţie</a:t>
            </a:r>
            <a:r>
              <a:rPr lang="en-US" dirty="0"/>
              <a:t>, </a:t>
            </a:r>
            <a:r>
              <a:rPr lang="en-US" dirty="0" err="1"/>
              <a:t>în</a:t>
            </a:r>
            <a:r>
              <a:rPr lang="en-US" dirty="0"/>
              <a:t> </a:t>
            </a:r>
            <a:r>
              <a:rPr lang="en-US" dirty="0" err="1"/>
              <a:t>anii</a:t>
            </a:r>
            <a:r>
              <a:rPr lang="en-US" dirty="0"/>
              <a:t> </a:t>
            </a:r>
            <a:r>
              <a:rPr lang="en-US" dirty="0" err="1"/>
              <a:t>anteriori</a:t>
            </a:r>
            <a:r>
              <a:rPr lang="en-US" dirty="0"/>
              <a:t>, </a:t>
            </a:r>
            <a:r>
              <a:rPr lang="en-US" dirty="0" err="1"/>
              <a:t>dar</a:t>
            </a:r>
            <a:r>
              <a:rPr lang="en-US" dirty="0"/>
              <a:t> </a:t>
            </a:r>
            <a:r>
              <a:rPr lang="en-US" dirty="0" err="1"/>
              <a:t>neutilizate</a:t>
            </a:r>
            <a:r>
              <a:rPr lang="en-US" dirty="0"/>
              <a:t>, </a:t>
            </a:r>
            <a:r>
              <a:rPr lang="en-US" dirty="0" err="1"/>
              <a:t>fără</a:t>
            </a:r>
            <a:r>
              <a:rPr lang="en-US" dirty="0"/>
              <a:t> a </a:t>
            </a:r>
            <a:r>
              <a:rPr lang="en-US" dirty="0" err="1"/>
              <a:t>depăşi</a:t>
            </a:r>
            <a:r>
              <a:rPr lang="en-US" dirty="0"/>
              <a:t> </a:t>
            </a:r>
            <a:r>
              <a:rPr lang="en-US" dirty="0" err="1"/>
              <a:t>creditele</a:t>
            </a:r>
            <a:r>
              <a:rPr lang="en-US" dirty="0"/>
              <a:t> de </a:t>
            </a:r>
            <a:r>
              <a:rPr lang="en-US" dirty="0" err="1"/>
              <a:t>angajament</a:t>
            </a:r>
            <a:r>
              <a:rPr lang="en-US" dirty="0"/>
              <a:t> </a:t>
            </a:r>
            <a:r>
              <a:rPr lang="en-US" dirty="0" err="1"/>
              <a:t>şi</a:t>
            </a:r>
            <a:r>
              <a:rPr lang="en-US" dirty="0"/>
              <a:t> </a:t>
            </a:r>
            <a:r>
              <a:rPr lang="en-US" dirty="0" err="1"/>
              <a:t>creditele</a:t>
            </a:r>
            <a:r>
              <a:rPr lang="en-US" dirty="0"/>
              <a:t> </a:t>
            </a:r>
            <a:r>
              <a:rPr lang="en-US" dirty="0" err="1"/>
              <a:t>bugetare</a:t>
            </a:r>
            <a:r>
              <a:rPr lang="en-US" dirty="0"/>
              <a:t> </a:t>
            </a:r>
            <a:r>
              <a:rPr lang="en-US" dirty="0" err="1"/>
              <a:t>aprobate</a:t>
            </a:r>
            <a:r>
              <a:rPr lang="en-US" dirty="0"/>
              <a:t> </a:t>
            </a:r>
            <a:r>
              <a:rPr lang="en-US" dirty="0" err="1"/>
              <a:t>prin</a:t>
            </a:r>
            <a:r>
              <a:rPr lang="en-US" dirty="0"/>
              <a:t> </a:t>
            </a:r>
            <a:r>
              <a:rPr lang="en-US" dirty="0" err="1"/>
              <a:t>legile</a:t>
            </a:r>
            <a:r>
              <a:rPr lang="en-US" dirty="0"/>
              <a:t> </a:t>
            </a:r>
            <a:r>
              <a:rPr lang="en-US" dirty="0" err="1"/>
              <a:t>bugetare</a:t>
            </a:r>
            <a:r>
              <a:rPr lang="en-US" dirty="0"/>
              <a:t> </a:t>
            </a:r>
            <a:r>
              <a:rPr lang="en-US" dirty="0" err="1"/>
              <a:t>anuale</a:t>
            </a:r>
            <a:r>
              <a:rPr lang="en-US" dirty="0"/>
              <a:t>. </a:t>
            </a:r>
          </a:p>
          <a:p>
            <a:pPr marL="139700" indent="0">
              <a:buNone/>
            </a:pPr>
            <a:r>
              <a:rPr lang="en-US" dirty="0" err="1"/>
              <a:t>Numărul</a:t>
            </a:r>
            <a:r>
              <a:rPr lang="en-US" dirty="0"/>
              <a:t> total </a:t>
            </a:r>
            <a:r>
              <a:rPr lang="en-US" dirty="0" err="1"/>
              <a:t>estimat</a:t>
            </a:r>
            <a:r>
              <a:rPr lang="en-US" dirty="0"/>
              <a:t> al </a:t>
            </a:r>
            <a:r>
              <a:rPr lang="en-US" dirty="0" err="1"/>
              <a:t>întreprinderilor</a:t>
            </a:r>
            <a:r>
              <a:rPr lang="en-US" dirty="0"/>
              <a:t> care </a:t>
            </a:r>
            <a:r>
              <a:rPr lang="en-US" dirty="0" err="1"/>
              <a:t>urmează</a:t>
            </a:r>
            <a:r>
              <a:rPr lang="en-US" dirty="0"/>
              <a:t> </a:t>
            </a:r>
            <a:r>
              <a:rPr lang="en-US" dirty="0" err="1"/>
              <a:t>să</a:t>
            </a:r>
            <a:r>
              <a:rPr lang="en-US" dirty="0"/>
              <a:t> </a:t>
            </a:r>
            <a:r>
              <a:rPr lang="en-US" dirty="0" err="1"/>
              <a:t>beneficieze</a:t>
            </a:r>
            <a:r>
              <a:rPr lang="en-US" dirty="0"/>
              <a:t> de </a:t>
            </a:r>
            <a:r>
              <a:rPr lang="en-US" dirty="0" err="1"/>
              <a:t>ajutor</a:t>
            </a:r>
            <a:r>
              <a:rPr lang="en-US" dirty="0"/>
              <a:t> de stat </a:t>
            </a:r>
            <a:r>
              <a:rPr lang="en-US" dirty="0" err="1"/>
              <a:t>în</a:t>
            </a:r>
            <a:r>
              <a:rPr lang="en-US" dirty="0"/>
              <a:t> </a:t>
            </a:r>
            <a:r>
              <a:rPr lang="en-US" dirty="0" err="1"/>
              <a:t>baza</a:t>
            </a:r>
            <a:r>
              <a:rPr lang="en-US" dirty="0"/>
              <a:t> </a:t>
            </a:r>
            <a:r>
              <a:rPr lang="en-US" dirty="0" err="1"/>
              <a:t>schemei</a:t>
            </a:r>
            <a:r>
              <a:rPr lang="en-US" dirty="0"/>
              <a:t> </a:t>
            </a:r>
            <a:r>
              <a:rPr lang="en-US" dirty="0" err="1"/>
              <a:t>este</a:t>
            </a:r>
            <a:r>
              <a:rPr lang="en-US" dirty="0"/>
              <a:t> de </a:t>
            </a:r>
            <a:r>
              <a:rPr lang="en-US" dirty="0" err="1"/>
              <a:t>până</a:t>
            </a:r>
            <a:r>
              <a:rPr lang="en-US" dirty="0"/>
              <a:t> la 150.</a:t>
            </a:r>
            <a:endParaRPr dirty="0"/>
          </a:p>
        </p:txBody>
      </p:sp>
    </p:spTree>
    <p:extLst>
      <p:ext uri="{BB962C8B-B14F-4D97-AF65-F5344CB8AC3E}">
        <p14:creationId xmlns:p14="http://schemas.microsoft.com/office/powerpoint/2010/main" val="2148378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21</a:t>
            </a:fld>
            <a:endParaRPr lang="en-US" dirty="0"/>
          </a:p>
        </p:txBody>
      </p:sp>
    </p:spTree>
    <p:extLst>
      <p:ext uri="{BB962C8B-B14F-4D97-AF65-F5344CB8AC3E}">
        <p14:creationId xmlns:p14="http://schemas.microsoft.com/office/powerpoint/2010/main" val="22573237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5" name="Google Shape;245;p: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139700" indent="0" fontAlgn="auto">
              <a:spcBef>
                <a:spcPts val="0"/>
              </a:spcBef>
              <a:spcAft>
                <a:spcPts val="0"/>
              </a:spcAft>
              <a:buNone/>
              <a:defRPr/>
            </a:pPr>
            <a:endParaRPr dirty="0"/>
          </a:p>
        </p:txBody>
      </p:sp>
    </p:spTree>
    <p:extLst>
      <p:ext uri="{BB962C8B-B14F-4D97-AF65-F5344CB8AC3E}">
        <p14:creationId xmlns:p14="http://schemas.microsoft.com/office/powerpoint/2010/main" val="4709702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23</a:t>
            </a:fld>
            <a:endParaRPr lang="en-US" dirty="0"/>
          </a:p>
        </p:txBody>
      </p:sp>
    </p:spTree>
    <p:extLst>
      <p:ext uri="{BB962C8B-B14F-4D97-AF65-F5344CB8AC3E}">
        <p14:creationId xmlns:p14="http://schemas.microsoft.com/office/powerpoint/2010/main" val="1135225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5" name="Google Shape;245;p: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139700" indent="0" fontAlgn="auto">
              <a:spcBef>
                <a:spcPts val="0"/>
              </a:spcBef>
              <a:spcAft>
                <a:spcPts val="0"/>
              </a:spcAft>
              <a:buNone/>
              <a:defRPr/>
            </a:pPr>
            <a:endParaRPr dirty="0"/>
          </a:p>
        </p:txBody>
      </p:sp>
    </p:spTree>
    <p:extLst>
      <p:ext uri="{BB962C8B-B14F-4D97-AF65-F5344CB8AC3E}">
        <p14:creationId xmlns:p14="http://schemas.microsoft.com/office/powerpoint/2010/main" val="459134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25</a:t>
            </a:fld>
            <a:endParaRPr lang="en-US" dirty="0"/>
          </a:p>
        </p:txBody>
      </p:sp>
    </p:spTree>
    <p:extLst>
      <p:ext uri="{BB962C8B-B14F-4D97-AF65-F5344CB8AC3E}">
        <p14:creationId xmlns:p14="http://schemas.microsoft.com/office/powerpoint/2010/main" val="3429957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
        <p:cNvGrpSpPr/>
        <p:nvPr/>
      </p:nvGrpSpPr>
      <p:grpSpPr>
        <a:xfrm>
          <a:off x="0" y="0"/>
          <a:ext cx="0" cy="0"/>
          <a:chOff x="0" y="0"/>
          <a:chExt cx="0" cy="0"/>
        </a:xfrm>
      </p:grpSpPr>
      <p:sp>
        <p:nvSpPr>
          <p:cNvPr id="218" name="Google Shape;218;g35ed75ccf_015: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9" name="Google Shape;219;g35ed75ccf_015: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endParaRPr lang="ro-RO" dirty="0"/>
          </a:p>
          <a:p>
            <a:r>
              <a:rPr lang="en-US" dirty="0"/>
              <a:t>Source: </a:t>
            </a:r>
            <a:r>
              <a:rPr lang="en-US" sz="2000" b="0" i="0" u="none" strike="noStrike" kern="1200" cap="none" dirty="0">
                <a:solidFill>
                  <a:schemeClr val="tx1"/>
                </a:solidFill>
                <a:effectLst/>
                <a:latin typeface="Arial"/>
                <a:ea typeface="Arial"/>
                <a:cs typeface="Arial"/>
                <a:sym typeface="Arial"/>
              </a:rPr>
              <a:t>The Romanian Airports Association (RAA)</a:t>
            </a:r>
            <a:endParaRPr lang="ro-RO" sz="2000" b="0" i="0" u="none" strike="noStrike" kern="1200" cap="none" dirty="0">
              <a:solidFill>
                <a:schemeClr val="tx1"/>
              </a:solidFill>
              <a:effectLst/>
              <a:latin typeface="Arial"/>
              <a:ea typeface="Arial"/>
              <a:cs typeface="Arial"/>
              <a:sym typeface="Arial"/>
            </a:endParaRPr>
          </a:p>
          <a:p>
            <a:endParaRPr lang="ro-RO" sz="2000" b="0" i="0" u="none" strike="noStrike" kern="1200" cap="none"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ROMANIAN MEMBER AIRPORTS</a:t>
            </a:r>
            <a:br>
              <a:rPr lang="en-US" sz="1100" b="0" i="0" u="none" strike="noStrike" kern="1200" cap="none" baseline="0" dirty="0">
                <a:solidFill>
                  <a:schemeClr val="tx1"/>
                </a:solidFill>
                <a:effectLst/>
                <a:latin typeface="Arial"/>
                <a:ea typeface="Arial"/>
                <a:cs typeface="Arial"/>
                <a:sym typeface="Arial"/>
              </a:rPr>
            </a:b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ARAD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3"/>
              </a:rPr>
              <a:t>www.aeroportularad.ro</a:t>
            </a:r>
            <a:br>
              <a:rPr lang="en-US" sz="1100" b="0" i="0" u="none" strike="noStrike" kern="1200" cap="none" baseline="0" dirty="0">
                <a:solidFill>
                  <a:schemeClr val="tx1"/>
                </a:solidFill>
                <a:effectLst/>
                <a:latin typeface="Arial"/>
                <a:ea typeface="Arial"/>
                <a:cs typeface="Arial"/>
                <a:sym typeface="Arial"/>
                <a:hlinkClick r:id="rId3"/>
              </a:rPr>
            </a:br>
            <a:r>
              <a:rPr lang="en-US" sz="1100" b="0" i="0" u="none" strike="noStrike" kern="1200" cap="none" baseline="0" dirty="0">
                <a:solidFill>
                  <a:schemeClr val="tx1"/>
                </a:solidFill>
                <a:effectLst/>
                <a:latin typeface="Arial"/>
                <a:ea typeface="Arial"/>
                <a:cs typeface="Arial"/>
                <a:sym typeface="Arial"/>
              </a:rPr>
              <a:t>Address: 4 </a:t>
            </a:r>
            <a:r>
              <a:rPr lang="en-US" sz="1100" b="0" i="0" u="none" strike="noStrike" kern="1200" cap="none" baseline="0" dirty="0" err="1">
                <a:solidFill>
                  <a:schemeClr val="tx1"/>
                </a:solidFill>
                <a:effectLst/>
                <a:latin typeface="Arial"/>
                <a:ea typeface="Arial"/>
                <a:cs typeface="Arial"/>
                <a:sym typeface="Arial"/>
              </a:rPr>
              <a:t>Aeroportului</a:t>
            </a:r>
            <a:r>
              <a:rPr lang="en-US" sz="1100" b="0" i="0" u="none" strike="noStrike" kern="1200" cap="none" baseline="0" dirty="0">
                <a:solidFill>
                  <a:schemeClr val="tx1"/>
                </a:solidFill>
                <a:effectLst/>
                <a:latin typeface="Arial"/>
                <a:ea typeface="Arial"/>
                <a:cs typeface="Arial"/>
                <a:sym typeface="Arial"/>
              </a:rPr>
              <a:t> Route,</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310059 Arad,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57 339 010   |  Fax +40 257 254 482</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4"/>
              </a:rPr>
              <a:t>office@aeroportularad.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BACAU GEORGE ENESCU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5"/>
              </a:rPr>
              <a:t>www.bacauairport.ro</a:t>
            </a:r>
            <a:br>
              <a:rPr lang="en-US" sz="1100" b="0" i="0" u="none" strike="noStrike" kern="1200" cap="none" baseline="0" dirty="0">
                <a:solidFill>
                  <a:schemeClr val="tx1"/>
                </a:solidFill>
                <a:effectLst/>
                <a:latin typeface="Arial"/>
                <a:ea typeface="Arial"/>
                <a:cs typeface="Arial"/>
                <a:sym typeface="Arial"/>
                <a:hlinkClick r:id="rId5"/>
              </a:rPr>
            </a:br>
            <a:r>
              <a:rPr lang="en-US" sz="1100" b="0" i="0" u="none" strike="noStrike" kern="1200" cap="none" baseline="0" dirty="0">
                <a:solidFill>
                  <a:schemeClr val="tx1"/>
                </a:solidFill>
                <a:effectLst/>
                <a:latin typeface="Arial"/>
                <a:ea typeface="Arial"/>
                <a:cs typeface="Arial"/>
                <a:sym typeface="Arial"/>
              </a:rPr>
              <a:t>Address: 1 </a:t>
            </a:r>
            <a:r>
              <a:rPr lang="en-US" sz="1100" b="0" i="0" u="none" strike="noStrike" kern="1200" cap="none" baseline="0" dirty="0" err="1">
                <a:solidFill>
                  <a:schemeClr val="tx1"/>
                </a:solidFill>
                <a:effectLst/>
                <a:latin typeface="Arial"/>
                <a:ea typeface="Arial"/>
                <a:cs typeface="Arial"/>
                <a:sym typeface="Arial"/>
              </a:rPr>
              <a:t>Aeroportului</a:t>
            </a:r>
            <a:r>
              <a:rPr lang="en-US" sz="1100" b="0" i="0" u="none" strike="noStrike" kern="1200" cap="none" baseline="0" dirty="0">
                <a:solidFill>
                  <a:schemeClr val="tx1"/>
                </a:solidFill>
                <a:effectLst/>
                <a:latin typeface="Arial"/>
                <a:ea typeface="Arial"/>
                <a:cs typeface="Arial"/>
                <a:sym typeface="Arial"/>
              </a:rPr>
              <a:t> Street,</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600324 Bacau,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34 575 400, 575 362 |  Fax +40 234 575 366</a:t>
            </a:r>
          </a:p>
          <a:p>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6"/>
              </a:rPr>
              <a:t>office@bacauairport.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MARAMURES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7"/>
              </a:rPr>
              <a:t>www.aimm.eu</a:t>
            </a:r>
            <a:r>
              <a:rPr lang="en-US" sz="1100" b="0" i="0" u="none" strike="noStrike" kern="1200" cap="none" baseline="0" dirty="0">
                <a:solidFill>
                  <a:schemeClr val="tx1"/>
                </a:solidFill>
                <a:effectLst/>
                <a:latin typeface="Arial"/>
                <a:ea typeface="Arial"/>
                <a:cs typeface="Arial"/>
                <a:sym typeface="Arial"/>
              </a:rPr>
              <a:t> </a:t>
            </a:r>
            <a:br>
              <a:rPr lang="en-US" sz="1100" b="0" i="0" u="none" strike="noStrike" kern="1200" cap="none" baseline="0" dirty="0">
                <a:solidFill>
                  <a:schemeClr val="tx1"/>
                </a:solidFill>
                <a:effectLst/>
                <a:latin typeface="Arial"/>
                <a:ea typeface="Arial"/>
                <a:cs typeface="Arial"/>
                <a:sym typeface="Arial"/>
                <a:hlinkClick r:id="rId8"/>
              </a:rPr>
            </a:br>
            <a:r>
              <a:rPr lang="en-US" sz="1100" b="0" i="0" u="none" strike="noStrike" kern="1200" cap="none" baseline="0" dirty="0">
                <a:solidFill>
                  <a:schemeClr val="tx1"/>
                </a:solidFill>
                <a:effectLst/>
                <a:latin typeface="Arial"/>
                <a:ea typeface="Arial"/>
                <a:cs typeface="Arial"/>
                <a:sym typeface="Arial"/>
              </a:rPr>
              <a:t>Address: 22 66th Street, 437345</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err="1">
                <a:solidFill>
                  <a:schemeClr val="tx1"/>
                </a:solidFill>
                <a:effectLst/>
                <a:latin typeface="Arial"/>
                <a:ea typeface="Arial"/>
                <a:cs typeface="Arial"/>
                <a:sym typeface="Arial"/>
              </a:rPr>
              <a:t>Tautii</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Magheraus</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Maramures</a:t>
            </a:r>
            <a:r>
              <a:rPr lang="en-US" sz="1100" b="0" i="0" u="none" strike="noStrike" kern="1200" cap="none" baseline="0" dirty="0">
                <a:solidFill>
                  <a:schemeClr val="tx1"/>
                </a:solidFill>
                <a:effectLst/>
                <a:latin typeface="Arial"/>
                <a:ea typeface="Arial"/>
                <a:cs typeface="Arial"/>
                <a:sym typeface="Arial"/>
              </a:rPr>
              <a:t>,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62 293 444 |  Tel/ Fax +40 264 223 394</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9"/>
              </a:rPr>
              <a:t>office@aimm.eu</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BUCHAREST NATIONAL AIRPORTS COMPANY</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10"/>
              </a:rPr>
              <a:t>www.bucharestairports.ro</a:t>
            </a:r>
            <a:br>
              <a:rPr lang="en-US" sz="1100" b="0" i="0" u="none" strike="noStrike" kern="1200" cap="none" baseline="0" dirty="0">
                <a:solidFill>
                  <a:schemeClr val="tx1"/>
                </a:solidFill>
                <a:effectLst/>
                <a:latin typeface="Arial"/>
                <a:ea typeface="Arial"/>
                <a:cs typeface="Arial"/>
                <a:sym typeface="Arial"/>
                <a:hlinkClick r:id="rId10"/>
              </a:rPr>
            </a:br>
            <a:r>
              <a:rPr lang="en-US" sz="1100" b="0" i="0" u="none" strike="noStrike" kern="1200" cap="none" baseline="0" dirty="0">
                <a:solidFill>
                  <a:schemeClr val="tx1"/>
                </a:solidFill>
                <a:effectLst/>
                <a:latin typeface="Arial"/>
                <a:ea typeface="Arial"/>
                <a:cs typeface="Arial"/>
                <a:sym typeface="Arial"/>
              </a:rPr>
              <a:t>Address: 224E </a:t>
            </a:r>
            <a:r>
              <a:rPr lang="en-US" sz="1100" b="0" i="0" u="none" strike="noStrike" kern="1200" cap="none" baseline="0" dirty="0" err="1">
                <a:solidFill>
                  <a:schemeClr val="tx1"/>
                </a:solidFill>
                <a:effectLst/>
                <a:latin typeface="Arial"/>
                <a:ea typeface="Arial"/>
                <a:cs typeface="Arial"/>
                <a:sym typeface="Arial"/>
              </a:rPr>
              <a:t>Bucurestilor</a:t>
            </a:r>
            <a:r>
              <a:rPr lang="en-US" sz="1100" b="0" i="0" u="none" strike="noStrike" kern="1200" cap="none" baseline="0" dirty="0">
                <a:solidFill>
                  <a:schemeClr val="tx1"/>
                </a:solidFill>
                <a:effectLst/>
                <a:latin typeface="Arial"/>
                <a:ea typeface="Arial"/>
                <a:cs typeface="Arial"/>
                <a:sym typeface="Arial"/>
              </a:rPr>
              <a:t> Route,</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075150 </a:t>
            </a:r>
            <a:r>
              <a:rPr lang="en-US" sz="1100" b="0" i="0" u="none" strike="noStrike" kern="1200" cap="none" baseline="0" dirty="0" err="1">
                <a:solidFill>
                  <a:schemeClr val="tx1"/>
                </a:solidFill>
                <a:effectLst/>
                <a:latin typeface="Arial"/>
                <a:ea typeface="Arial"/>
                <a:cs typeface="Arial"/>
                <a:sym typeface="Arial"/>
              </a:rPr>
              <a:t>Otopeni</a:t>
            </a:r>
            <a:r>
              <a:rPr lang="en-US" sz="1100" b="0" i="0" u="none" strike="noStrike" kern="1200" cap="none" baseline="0" dirty="0">
                <a:solidFill>
                  <a:schemeClr val="tx1"/>
                </a:solidFill>
                <a:effectLst/>
                <a:latin typeface="Arial"/>
                <a:ea typeface="Arial"/>
                <a:cs typeface="Arial"/>
                <a:sym typeface="Arial"/>
              </a:rPr>
              <a:t>, Ilfov,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1 201 3304   |  Fax +40 21 201 4990</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11"/>
              </a:rPr>
              <a:t>secretariat@bucharestairports.ro</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a:solidFill>
                  <a:schemeClr val="tx1"/>
                </a:solidFill>
                <a:effectLst/>
                <a:latin typeface="Arial"/>
                <a:ea typeface="Arial"/>
                <a:cs typeface="Arial"/>
                <a:sym typeface="Arial"/>
                <a:hlinkClick r:id="rId12"/>
              </a:rPr>
              <a:t>secretariat@cnab.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CLUJ AVRAM IANCU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13"/>
              </a:rPr>
              <a:t>www.airportcluj.ro</a:t>
            </a:r>
            <a:br>
              <a:rPr lang="en-US" sz="1100" b="0" i="0" u="none" strike="noStrike" kern="1200" cap="none" baseline="0" dirty="0">
                <a:solidFill>
                  <a:schemeClr val="tx1"/>
                </a:solidFill>
                <a:effectLst/>
                <a:latin typeface="Arial"/>
                <a:ea typeface="Arial"/>
                <a:cs typeface="Arial"/>
                <a:sym typeface="Arial"/>
                <a:hlinkClick r:id="rId13"/>
              </a:rPr>
            </a:br>
            <a:r>
              <a:rPr lang="en-US" sz="1100" b="0" i="0" u="none" strike="noStrike" kern="1200" cap="none" baseline="0" dirty="0">
                <a:solidFill>
                  <a:schemeClr val="tx1"/>
                </a:solidFill>
                <a:effectLst/>
                <a:latin typeface="Arial"/>
                <a:ea typeface="Arial"/>
                <a:cs typeface="Arial"/>
                <a:sym typeface="Arial"/>
              </a:rPr>
              <a:t>Address: 149 </a:t>
            </a:r>
            <a:r>
              <a:rPr lang="en-US" sz="1100" b="0" i="0" u="none" strike="noStrike" kern="1200" cap="none" baseline="0" dirty="0" err="1">
                <a:solidFill>
                  <a:schemeClr val="tx1"/>
                </a:solidFill>
                <a:effectLst/>
                <a:latin typeface="Arial"/>
                <a:ea typeface="Arial"/>
                <a:cs typeface="Arial"/>
                <a:sym typeface="Arial"/>
              </a:rPr>
              <a:t>Traian</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Vuia</a:t>
            </a:r>
            <a:r>
              <a:rPr lang="en-US" sz="1100" b="0" i="0" u="none" strike="noStrike" kern="1200" cap="none" baseline="0" dirty="0">
                <a:solidFill>
                  <a:schemeClr val="tx1"/>
                </a:solidFill>
                <a:effectLst/>
                <a:latin typeface="Arial"/>
                <a:ea typeface="Arial"/>
                <a:cs typeface="Arial"/>
                <a:sym typeface="Arial"/>
              </a:rPr>
              <a:t> Street,</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400397 Cluj-Napoca,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64 416 636, 307 500  |  Fax +40 264 416 712</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14"/>
              </a:rPr>
              <a:t>office@airportcluj.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CONSTANTA MIHAIL KOGALNICEANU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15"/>
              </a:rPr>
              <a:t>www.mk-airport.ro</a:t>
            </a:r>
            <a:br>
              <a:rPr lang="en-US" sz="1100" b="0" i="0" u="none" strike="noStrike" kern="1200" cap="none" baseline="0" dirty="0">
                <a:solidFill>
                  <a:schemeClr val="tx1"/>
                </a:solidFill>
                <a:effectLst/>
                <a:latin typeface="Arial"/>
                <a:ea typeface="Arial"/>
                <a:cs typeface="Arial"/>
                <a:sym typeface="Arial"/>
                <a:hlinkClick r:id="rId15"/>
              </a:rPr>
            </a:br>
            <a:r>
              <a:rPr lang="en-US" sz="1100" b="0" i="0" u="none" strike="noStrike" kern="1200" cap="none" baseline="0" dirty="0">
                <a:solidFill>
                  <a:schemeClr val="tx1"/>
                </a:solidFill>
                <a:effectLst/>
                <a:latin typeface="Arial"/>
                <a:ea typeface="Arial"/>
                <a:cs typeface="Arial"/>
                <a:sym typeface="Arial"/>
              </a:rPr>
              <a:t>Address: 4 Tudor </a:t>
            </a:r>
            <a:r>
              <a:rPr lang="en-US" sz="1100" b="0" i="0" u="none" strike="noStrike" kern="1200" cap="none" baseline="0" dirty="0" err="1">
                <a:solidFill>
                  <a:schemeClr val="tx1"/>
                </a:solidFill>
                <a:effectLst/>
                <a:latin typeface="Arial"/>
                <a:ea typeface="Arial"/>
                <a:cs typeface="Arial"/>
                <a:sym typeface="Arial"/>
              </a:rPr>
              <a:t>Vladimirescu</a:t>
            </a:r>
            <a:r>
              <a:rPr lang="en-US" sz="1100" b="0" i="0" u="none" strike="noStrike" kern="1200" cap="none" baseline="0" dirty="0">
                <a:solidFill>
                  <a:schemeClr val="tx1"/>
                </a:solidFill>
                <a:effectLst/>
                <a:latin typeface="Arial"/>
                <a:ea typeface="Arial"/>
                <a:cs typeface="Arial"/>
                <a:sym typeface="Arial"/>
              </a:rPr>
              <a:t> Street, 907195</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err="1">
                <a:solidFill>
                  <a:schemeClr val="tx1"/>
                </a:solidFill>
                <a:effectLst/>
                <a:latin typeface="Arial"/>
                <a:ea typeface="Arial"/>
                <a:cs typeface="Arial"/>
                <a:sym typeface="Arial"/>
              </a:rPr>
              <a:t>Mihail</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Kogalniceanu</a:t>
            </a:r>
            <a:r>
              <a:rPr lang="en-US" sz="1100" b="0" i="0" u="none" strike="noStrike" kern="1200" cap="none" baseline="0" dirty="0">
                <a:solidFill>
                  <a:schemeClr val="tx1"/>
                </a:solidFill>
                <a:effectLst/>
                <a:latin typeface="Arial"/>
                <a:ea typeface="Arial"/>
                <a:cs typeface="Arial"/>
                <a:sym typeface="Arial"/>
              </a:rPr>
              <a:t>, Constanta,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41 255 100, 255 177  |  Fax +40 241 508 022</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16"/>
              </a:rPr>
              <a:t>aeroport@mk-airport.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CRAIOVA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17"/>
              </a:rPr>
              <a:t>www.aeroportcraiova.ro</a:t>
            </a:r>
            <a:br>
              <a:rPr lang="en-US" sz="1100" b="0" i="0" u="none" strike="noStrike" kern="1200" cap="none" baseline="0" dirty="0">
                <a:solidFill>
                  <a:schemeClr val="tx1"/>
                </a:solidFill>
                <a:effectLst/>
                <a:latin typeface="Arial"/>
                <a:ea typeface="Arial"/>
                <a:cs typeface="Arial"/>
                <a:sym typeface="Arial"/>
                <a:hlinkClick r:id="rId17"/>
              </a:rPr>
            </a:br>
            <a:r>
              <a:rPr lang="en-US" sz="1100" b="0" i="0" u="none" strike="noStrike" kern="1200" cap="none" baseline="0" dirty="0">
                <a:solidFill>
                  <a:schemeClr val="tx1"/>
                </a:solidFill>
                <a:effectLst/>
                <a:latin typeface="Arial"/>
                <a:ea typeface="Arial"/>
                <a:cs typeface="Arial"/>
                <a:sym typeface="Arial"/>
              </a:rPr>
              <a:t>Address: 325 </a:t>
            </a:r>
            <a:r>
              <a:rPr lang="en-US" sz="1100" b="0" i="0" u="none" strike="noStrike" kern="1200" cap="none" baseline="0" dirty="0" err="1">
                <a:solidFill>
                  <a:schemeClr val="tx1"/>
                </a:solidFill>
                <a:effectLst/>
                <a:latin typeface="Arial"/>
                <a:ea typeface="Arial"/>
                <a:cs typeface="Arial"/>
                <a:sym typeface="Arial"/>
              </a:rPr>
              <a:t>Bucuresti</a:t>
            </a:r>
            <a:r>
              <a:rPr lang="en-US" sz="1100" b="0" i="0" u="none" strike="noStrike" kern="1200" cap="none" baseline="0" dirty="0">
                <a:solidFill>
                  <a:schemeClr val="tx1"/>
                </a:solidFill>
                <a:effectLst/>
                <a:latin typeface="Arial"/>
                <a:ea typeface="Arial"/>
                <a:cs typeface="Arial"/>
                <a:sym typeface="Arial"/>
              </a:rPr>
              <a:t> Route,</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200621 Craiova,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51 416 860   |  Fax +40 251 411 112</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18"/>
              </a:rPr>
              <a:t>office@aeroportcraiova.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ORADEA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19"/>
              </a:rPr>
              <a:t>www.aeroportoradea.ro</a:t>
            </a:r>
            <a:br>
              <a:rPr lang="en-US" sz="1100" b="0" i="0" u="none" strike="noStrike" kern="1200" cap="none" baseline="0" dirty="0">
                <a:solidFill>
                  <a:schemeClr val="tx1"/>
                </a:solidFill>
                <a:effectLst/>
                <a:latin typeface="Arial"/>
                <a:ea typeface="Arial"/>
                <a:cs typeface="Arial"/>
                <a:sym typeface="Arial"/>
                <a:hlinkClick r:id="rId19"/>
              </a:rPr>
            </a:br>
            <a:r>
              <a:rPr lang="en-US" sz="1100" b="0" i="0" u="none" strike="noStrike" kern="1200" cap="none" baseline="0" dirty="0">
                <a:solidFill>
                  <a:schemeClr val="tx1"/>
                </a:solidFill>
                <a:effectLst/>
                <a:latin typeface="Arial"/>
                <a:ea typeface="Arial"/>
                <a:cs typeface="Arial"/>
                <a:sym typeface="Arial"/>
              </a:rPr>
              <a:t>Address: 80 </a:t>
            </a:r>
            <a:r>
              <a:rPr lang="en-US" sz="1100" b="0" i="0" u="none" strike="noStrike" kern="1200" cap="none" baseline="0" dirty="0" err="1">
                <a:solidFill>
                  <a:schemeClr val="tx1"/>
                </a:solidFill>
                <a:effectLst/>
                <a:latin typeface="Arial"/>
                <a:ea typeface="Arial"/>
                <a:cs typeface="Arial"/>
                <a:sym typeface="Arial"/>
              </a:rPr>
              <a:t>Calea</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Aradului</a:t>
            </a:r>
            <a:r>
              <a:rPr lang="en-US" sz="1100" b="0" i="0" u="none" strike="noStrike" kern="1200" cap="none" baseline="0" dirty="0">
                <a:solidFill>
                  <a:schemeClr val="tx1"/>
                </a:solidFill>
                <a:effectLst/>
                <a:latin typeface="Arial"/>
                <a:ea typeface="Arial"/>
                <a:cs typeface="Arial"/>
                <a:sym typeface="Arial"/>
              </a:rPr>
              <a:t> Street,</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410223 ORADEA,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59 416 082  |  Fax +40 259 455 641</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20"/>
              </a:rPr>
              <a:t>airport@aeroportoradea.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IASI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21"/>
              </a:rPr>
              <a:t>www.aeroport.ro</a:t>
            </a:r>
            <a:br>
              <a:rPr lang="en-US" sz="1100" b="0" i="0" u="none" strike="noStrike" kern="1200" cap="none" baseline="0" dirty="0">
                <a:solidFill>
                  <a:schemeClr val="tx1"/>
                </a:solidFill>
                <a:effectLst/>
                <a:latin typeface="Arial"/>
                <a:ea typeface="Arial"/>
                <a:cs typeface="Arial"/>
                <a:sym typeface="Arial"/>
                <a:hlinkClick r:id="rId21"/>
              </a:rPr>
            </a:br>
            <a:r>
              <a:rPr lang="en-US" sz="1100" b="0" i="0" u="none" strike="noStrike" kern="1200" cap="none" baseline="0" dirty="0">
                <a:solidFill>
                  <a:schemeClr val="tx1"/>
                </a:solidFill>
                <a:effectLst/>
                <a:latin typeface="Arial"/>
                <a:ea typeface="Arial"/>
                <a:cs typeface="Arial"/>
                <a:sym typeface="Arial"/>
              </a:rPr>
              <a:t>Address:34 </a:t>
            </a:r>
            <a:r>
              <a:rPr lang="en-US" sz="1100" b="0" i="0" u="none" strike="noStrike" kern="1200" cap="none" baseline="0" dirty="0" err="1">
                <a:solidFill>
                  <a:schemeClr val="tx1"/>
                </a:solidFill>
                <a:effectLst/>
                <a:latin typeface="Arial"/>
                <a:ea typeface="Arial"/>
                <a:cs typeface="Arial"/>
                <a:sym typeface="Arial"/>
              </a:rPr>
              <a:t>Moara</a:t>
            </a:r>
            <a:r>
              <a:rPr lang="en-US" sz="1100" b="0" i="0" u="none" strike="noStrike" kern="1200" cap="none" baseline="0" dirty="0">
                <a:solidFill>
                  <a:schemeClr val="tx1"/>
                </a:solidFill>
                <a:effectLst/>
                <a:latin typeface="Arial"/>
                <a:ea typeface="Arial"/>
                <a:cs typeface="Arial"/>
                <a:sym typeface="Arial"/>
              </a:rPr>
              <a:t> de </a:t>
            </a:r>
            <a:r>
              <a:rPr lang="en-US" sz="1100" b="0" i="0" u="none" strike="noStrike" kern="1200" cap="none" baseline="0" dirty="0" err="1">
                <a:solidFill>
                  <a:schemeClr val="tx1"/>
                </a:solidFill>
                <a:effectLst/>
                <a:latin typeface="Arial"/>
                <a:ea typeface="Arial"/>
                <a:cs typeface="Arial"/>
                <a:sym typeface="Arial"/>
              </a:rPr>
              <a:t>Vant</a:t>
            </a:r>
            <a:r>
              <a:rPr lang="en-US" sz="1100" b="0" i="0" u="none" strike="noStrike" kern="1200" cap="none" baseline="0" dirty="0">
                <a:solidFill>
                  <a:schemeClr val="tx1"/>
                </a:solidFill>
                <a:effectLst/>
                <a:latin typeface="Arial"/>
                <a:ea typeface="Arial"/>
                <a:cs typeface="Arial"/>
                <a:sym typeface="Arial"/>
              </a:rPr>
              <a:t> Street,</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700750 Iasi,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32 271 590 | Fax +40 232 271 570</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22"/>
              </a:rPr>
              <a:t>iasi@aeroport.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SATU MARE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23"/>
              </a:rPr>
              <a:t>www.aeroportulsm.ro</a:t>
            </a:r>
            <a:br>
              <a:rPr lang="en-US" sz="1100" b="0" i="0" u="none" strike="noStrike" kern="1200" cap="none" baseline="0" dirty="0">
                <a:solidFill>
                  <a:schemeClr val="tx1"/>
                </a:solidFill>
                <a:effectLst/>
                <a:latin typeface="Arial"/>
                <a:ea typeface="Arial"/>
                <a:cs typeface="Arial"/>
                <a:sym typeface="Arial"/>
                <a:hlinkClick r:id="rId23"/>
              </a:rPr>
            </a:br>
            <a:r>
              <a:rPr lang="en-US" sz="1100" b="0" i="0" u="none" strike="noStrike" kern="1200" cap="none" baseline="0" dirty="0">
                <a:solidFill>
                  <a:schemeClr val="tx1"/>
                </a:solidFill>
                <a:effectLst/>
                <a:latin typeface="Arial"/>
                <a:ea typeface="Arial"/>
                <a:cs typeface="Arial"/>
                <a:sym typeface="Arial"/>
              </a:rPr>
              <a:t>Address: </a:t>
            </a:r>
            <a:r>
              <a:rPr lang="en-US" sz="1100" b="0" i="0" u="none" strike="noStrike" kern="1200" cap="none" baseline="0" dirty="0" err="1">
                <a:solidFill>
                  <a:schemeClr val="tx1"/>
                </a:solidFill>
                <a:effectLst/>
                <a:latin typeface="Arial"/>
                <a:ea typeface="Arial"/>
                <a:cs typeface="Arial"/>
                <a:sym typeface="Arial"/>
              </a:rPr>
              <a:t>Satu</a:t>
            </a:r>
            <a:r>
              <a:rPr lang="en-US" sz="1100" b="0" i="0" u="none" strike="noStrike" kern="1200" cap="none" baseline="0" dirty="0">
                <a:solidFill>
                  <a:schemeClr val="tx1"/>
                </a:solidFill>
                <a:effectLst/>
                <a:latin typeface="Arial"/>
                <a:ea typeface="Arial"/>
                <a:cs typeface="Arial"/>
                <a:sym typeface="Arial"/>
              </a:rPr>
              <a:t> Mare-</a:t>
            </a:r>
            <a:r>
              <a:rPr lang="en-US" sz="1100" b="0" i="0" u="none" strike="noStrike" kern="1200" cap="none" baseline="0" dirty="0" err="1">
                <a:solidFill>
                  <a:schemeClr val="tx1"/>
                </a:solidFill>
                <a:effectLst/>
                <a:latin typeface="Arial"/>
                <a:ea typeface="Arial"/>
                <a:cs typeface="Arial"/>
                <a:sym typeface="Arial"/>
              </a:rPr>
              <a:t>Zalau</a:t>
            </a:r>
            <a:r>
              <a:rPr lang="en-US" sz="1100" b="0" i="0" u="none" strike="noStrike" kern="1200" cap="none" baseline="0" dirty="0">
                <a:solidFill>
                  <a:schemeClr val="tx1"/>
                </a:solidFill>
                <a:effectLst/>
                <a:latin typeface="Arial"/>
                <a:ea typeface="Arial"/>
                <a:cs typeface="Arial"/>
                <a:sym typeface="Arial"/>
              </a:rPr>
              <a:t> Highway,</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km. 9.5,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61 768 640 | Fax +40 261 768 776</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24"/>
              </a:rPr>
              <a:t>office@aeroportulsatumare.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SIBIU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25"/>
              </a:rPr>
              <a:t>www.sibiuairport.ro</a:t>
            </a:r>
            <a:br>
              <a:rPr lang="en-US" sz="1100" b="0" i="0" u="none" strike="noStrike" kern="1200" cap="none" baseline="0" dirty="0">
                <a:solidFill>
                  <a:schemeClr val="tx1"/>
                </a:solidFill>
                <a:effectLst/>
                <a:latin typeface="Arial"/>
                <a:ea typeface="Arial"/>
                <a:cs typeface="Arial"/>
                <a:sym typeface="Arial"/>
                <a:hlinkClick r:id="rId25"/>
              </a:rPr>
            </a:br>
            <a:r>
              <a:rPr lang="en-US" sz="1100" b="0" i="0" u="none" strike="noStrike" kern="1200" cap="none" baseline="0" dirty="0">
                <a:solidFill>
                  <a:schemeClr val="tx1"/>
                </a:solidFill>
                <a:effectLst/>
                <a:latin typeface="Arial"/>
                <a:ea typeface="Arial"/>
                <a:cs typeface="Arial"/>
                <a:sym typeface="Arial"/>
              </a:rPr>
              <a:t>Address: 73 Alba-Iulia Highway,</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550052 Sibiu,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69 253 981  |  Fax +40 269 253 131</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26"/>
              </a:rPr>
              <a:t>secretariat@sibiuairport.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SUCEAVA STEFAN CEL MARE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27"/>
              </a:rPr>
              <a:t>www.aeroportsuceava.ro</a:t>
            </a:r>
            <a:br>
              <a:rPr lang="en-US" sz="1100" b="0" i="0" u="none" strike="noStrike" kern="1200" cap="none" baseline="0" dirty="0">
                <a:solidFill>
                  <a:schemeClr val="tx1"/>
                </a:solidFill>
                <a:effectLst/>
                <a:latin typeface="Arial"/>
                <a:ea typeface="Arial"/>
                <a:cs typeface="Arial"/>
                <a:sym typeface="Arial"/>
                <a:hlinkClick r:id="rId27"/>
              </a:rPr>
            </a:br>
            <a:r>
              <a:rPr lang="en-US" sz="1100" b="0" i="0" u="none" strike="noStrike" kern="1200" cap="none" baseline="0" dirty="0">
                <a:solidFill>
                  <a:schemeClr val="tx1"/>
                </a:solidFill>
                <a:effectLst/>
                <a:latin typeface="Arial"/>
                <a:ea typeface="Arial"/>
                <a:cs typeface="Arial"/>
                <a:sym typeface="Arial"/>
              </a:rPr>
              <a:t>Address: 1 </a:t>
            </a:r>
            <a:r>
              <a:rPr lang="en-US" sz="1100" b="0" i="0" u="none" strike="noStrike" kern="1200" cap="none" baseline="0" dirty="0" err="1">
                <a:solidFill>
                  <a:schemeClr val="tx1"/>
                </a:solidFill>
                <a:effectLst/>
                <a:latin typeface="Arial"/>
                <a:ea typeface="Arial"/>
                <a:cs typeface="Arial"/>
                <a:sym typeface="Arial"/>
              </a:rPr>
              <a:t>Aeroportului</a:t>
            </a:r>
            <a:r>
              <a:rPr lang="en-US" sz="1100" b="0" i="0" u="none" strike="noStrike" kern="1200" cap="none" baseline="0" dirty="0">
                <a:solidFill>
                  <a:schemeClr val="tx1"/>
                </a:solidFill>
                <a:effectLst/>
                <a:latin typeface="Arial"/>
                <a:ea typeface="Arial"/>
                <a:cs typeface="Arial"/>
                <a:sym typeface="Arial"/>
              </a:rPr>
              <a:t> Street, 727475</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err="1">
                <a:solidFill>
                  <a:schemeClr val="tx1"/>
                </a:solidFill>
                <a:effectLst/>
                <a:latin typeface="Arial"/>
                <a:ea typeface="Arial"/>
                <a:cs typeface="Arial"/>
                <a:sym typeface="Arial"/>
              </a:rPr>
              <a:t>Salcea</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Suceava</a:t>
            </a:r>
            <a:r>
              <a:rPr lang="en-US" sz="1100" b="0" i="0" u="none" strike="noStrike" kern="1200" cap="none" baseline="0" dirty="0">
                <a:solidFill>
                  <a:schemeClr val="tx1"/>
                </a:solidFill>
                <a:effectLst/>
                <a:latin typeface="Arial"/>
                <a:ea typeface="Arial"/>
                <a:cs typeface="Arial"/>
                <a:sym typeface="Arial"/>
              </a:rPr>
              <a:t>,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fax +40 230 529 999</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28"/>
              </a:rPr>
              <a:t>office@aeroportsuceava.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TIMISOARA TRAIAN VUIA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29"/>
              </a:rPr>
              <a:t>www.aerotim.ro</a:t>
            </a:r>
            <a:br>
              <a:rPr lang="en-US" sz="1100" b="0" i="0" u="none" strike="noStrike" kern="1200" cap="none" baseline="0" dirty="0">
                <a:solidFill>
                  <a:schemeClr val="tx1"/>
                </a:solidFill>
                <a:effectLst/>
                <a:latin typeface="Arial"/>
                <a:ea typeface="Arial"/>
                <a:cs typeface="Arial"/>
                <a:sym typeface="Arial"/>
                <a:hlinkClick r:id="rId29"/>
              </a:rPr>
            </a:br>
            <a:r>
              <a:rPr lang="en-US" sz="1100" b="0" i="0" u="none" strike="noStrike" kern="1200" cap="none" baseline="0" dirty="0">
                <a:solidFill>
                  <a:schemeClr val="tx1"/>
                </a:solidFill>
                <a:effectLst/>
                <a:latin typeface="Arial"/>
                <a:ea typeface="Arial"/>
                <a:cs typeface="Arial"/>
                <a:sym typeface="Arial"/>
              </a:rPr>
              <a:t>Address: 2 </a:t>
            </a:r>
            <a:r>
              <a:rPr lang="en-US" sz="1100" b="0" i="0" u="none" strike="noStrike" kern="1200" cap="none" baseline="0" dirty="0" err="1">
                <a:solidFill>
                  <a:schemeClr val="tx1"/>
                </a:solidFill>
                <a:effectLst/>
                <a:latin typeface="Arial"/>
                <a:ea typeface="Arial"/>
                <a:cs typeface="Arial"/>
                <a:sym typeface="Arial"/>
              </a:rPr>
              <a:t>Aeroport</a:t>
            </a:r>
            <a:r>
              <a:rPr lang="en-US" sz="1100" b="0" i="0" u="none" strike="noStrike" kern="1200" cap="none" baseline="0" dirty="0">
                <a:solidFill>
                  <a:schemeClr val="tx1"/>
                </a:solidFill>
                <a:effectLst/>
                <a:latin typeface="Arial"/>
                <a:ea typeface="Arial"/>
                <a:cs typeface="Arial"/>
                <a:sym typeface="Arial"/>
              </a:rPr>
              <a:t> Street,</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307210 </a:t>
            </a:r>
            <a:r>
              <a:rPr lang="en-US" sz="1100" b="0" i="0" u="none" strike="noStrike" kern="1200" cap="none" baseline="0" dirty="0" err="1">
                <a:solidFill>
                  <a:schemeClr val="tx1"/>
                </a:solidFill>
                <a:effectLst/>
                <a:latin typeface="Arial"/>
                <a:ea typeface="Arial"/>
                <a:cs typeface="Arial"/>
                <a:sym typeface="Arial"/>
              </a:rPr>
              <a:t>Ghiroda</a:t>
            </a:r>
            <a:r>
              <a:rPr lang="en-US" sz="1100" b="0" i="0" u="none" strike="noStrike" kern="1200" cap="none" baseline="0" dirty="0">
                <a:solidFill>
                  <a:schemeClr val="tx1"/>
                </a:solidFill>
                <a:effectLst/>
                <a:latin typeface="Arial"/>
                <a:ea typeface="Arial"/>
                <a:cs typeface="Arial"/>
                <a:sym typeface="Arial"/>
              </a:rPr>
              <a:t>, Timis,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56 386 089   |  Fax +40 256 490 705</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30"/>
              </a:rPr>
              <a:t>office@aerotim.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TULCEA DELTA DUNARII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31"/>
              </a:rPr>
              <a:t>www.aeroportul-tulcea.ro</a:t>
            </a:r>
            <a:br>
              <a:rPr lang="en-US" sz="1100" b="0" i="0" u="none" strike="noStrike" kern="1200" cap="none" baseline="0" dirty="0">
                <a:solidFill>
                  <a:schemeClr val="tx1"/>
                </a:solidFill>
                <a:effectLst/>
                <a:latin typeface="Arial"/>
                <a:ea typeface="Arial"/>
                <a:cs typeface="Arial"/>
                <a:sym typeface="Arial"/>
                <a:hlinkClick r:id="rId31"/>
              </a:rPr>
            </a:br>
            <a:r>
              <a:rPr lang="en-US" sz="1100" b="0" i="0" u="none" strike="noStrike" kern="1200" cap="none" baseline="0" dirty="0">
                <a:solidFill>
                  <a:schemeClr val="tx1"/>
                </a:solidFill>
                <a:effectLst/>
                <a:latin typeface="Arial"/>
                <a:ea typeface="Arial"/>
                <a:cs typeface="Arial"/>
                <a:sym typeface="Arial"/>
              </a:rPr>
              <a:t>Address: </a:t>
            </a:r>
            <a:r>
              <a:rPr lang="en-US" sz="1100" b="0" i="0" u="none" strike="noStrike" kern="1200" cap="none" baseline="0" dirty="0" err="1">
                <a:solidFill>
                  <a:schemeClr val="tx1"/>
                </a:solidFill>
                <a:effectLst/>
                <a:latin typeface="Arial"/>
                <a:ea typeface="Arial"/>
                <a:cs typeface="Arial"/>
                <a:sym typeface="Arial"/>
              </a:rPr>
              <a:t>Tulcea</a:t>
            </a:r>
            <a:r>
              <a:rPr lang="en-US" sz="1100" b="0" i="0" u="none" strike="noStrike" kern="1200" cap="none" baseline="0" dirty="0">
                <a:solidFill>
                  <a:schemeClr val="tx1"/>
                </a:solidFill>
                <a:effectLst/>
                <a:latin typeface="Arial"/>
                <a:ea typeface="Arial"/>
                <a:cs typeface="Arial"/>
                <a:sym typeface="Arial"/>
              </a:rPr>
              <a:t>-Constanta Highway, km. 15,</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820250 </a:t>
            </a:r>
            <a:r>
              <a:rPr lang="en-US" sz="1100" b="0" i="0" u="none" strike="noStrike" kern="1200" cap="none" baseline="0" dirty="0" err="1">
                <a:solidFill>
                  <a:schemeClr val="tx1"/>
                </a:solidFill>
                <a:effectLst/>
                <a:latin typeface="Arial"/>
                <a:ea typeface="Arial"/>
                <a:cs typeface="Arial"/>
                <a:sym typeface="Arial"/>
              </a:rPr>
              <a:t>Tulcea</a:t>
            </a:r>
            <a:r>
              <a:rPr lang="en-US" sz="1100" b="0" i="0" u="none" strike="noStrike" kern="1200" cap="none" baseline="0" dirty="0">
                <a:solidFill>
                  <a:schemeClr val="tx1"/>
                </a:solidFill>
                <a:effectLst/>
                <a:latin typeface="Arial"/>
                <a:ea typeface="Arial"/>
                <a:cs typeface="Arial"/>
                <a:sym typeface="Arial"/>
              </a:rPr>
              <a:t>,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240 512 910  |  Fax +40 240 511 040</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32"/>
              </a:rPr>
              <a:t>office@aeroportul-tulcea.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TUZLA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33"/>
              </a:rPr>
              <a:t>www.regional-air.ro</a:t>
            </a:r>
            <a:br>
              <a:rPr lang="en-US" sz="1100" b="0" i="0" u="none" strike="noStrike" kern="1200" cap="none" baseline="0" dirty="0">
                <a:solidFill>
                  <a:schemeClr val="tx1"/>
                </a:solidFill>
                <a:effectLst/>
                <a:latin typeface="Arial"/>
                <a:ea typeface="Arial"/>
                <a:cs typeface="Arial"/>
                <a:sym typeface="Arial"/>
                <a:hlinkClick r:id="rId33"/>
              </a:rPr>
            </a:br>
            <a:r>
              <a:rPr lang="en-US" sz="1100" b="0" i="0" u="none" strike="noStrike" kern="1200" cap="none" baseline="0" dirty="0">
                <a:solidFill>
                  <a:schemeClr val="tx1"/>
                </a:solidFill>
                <a:effectLst/>
                <a:latin typeface="Arial"/>
                <a:ea typeface="Arial"/>
                <a:cs typeface="Arial"/>
                <a:sym typeface="Arial"/>
              </a:rPr>
              <a:t>Address: Tuzla Airport,</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907295 Constanta, Romania</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Tel +40 375 390 390   |  Fax +40 0241 733 450</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34"/>
              </a:rPr>
              <a:t>office@regional-air.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a:solidFill>
                  <a:schemeClr val="tx1"/>
                </a:solidFill>
                <a:effectLst/>
                <a:latin typeface="Arial"/>
                <a:ea typeface="Arial"/>
                <a:cs typeface="Arial"/>
                <a:sym typeface="Arial"/>
              </a:rPr>
              <a:t>TARGU MURES “TRANSILVANIA” INTERNATIONAL AIRPORT</a:t>
            </a:r>
          </a:p>
          <a:p>
            <a:r>
              <a:rPr lang="en-US" sz="1100" b="0" i="0" u="none" strike="noStrike" kern="1200" cap="none" baseline="0" dirty="0">
                <a:solidFill>
                  <a:schemeClr val="tx1"/>
                </a:solidFill>
                <a:effectLst/>
                <a:latin typeface="Arial"/>
                <a:ea typeface="Arial"/>
                <a:cs typeface="Arial"/>
                <a:sym typeface="Arial"/>
              </a:rPr>
              <a:t>Web: </a:t>
            </a:r>
            <a:r>
              <a:rPr lang="en-US" sz="1100" b="0" i="0" u="none" strike="noStrike" kern="1200" cap="none" baseline="0" dirty="0">
                <a:solidFill>
                  <a:schemeClr val="tx1"/>
                </a:solidFill>
                <a:effectLst/>
                <a:latin typeface="Arial"/>
                <a:ea typeface="Arial"/>
                <a:cs typeface="Arial"/>
                <a:sym typeface="Arial"/>
                <a:hlinkClick r:id="rId35"/>
              </a:rPr>
              <a:t>www.aeroportultransilvania.ro</a:t>
            </a:r>
            <a:endParaRPr lang="en-US" sz="1100" b="0" i="0" u="none" strike="noStrike" kern="1200" cap="none" baseline="0" dirty="0">
              <a:solidFill>
                <a:schemeClr val="tx1"/>
              </a:solidFill>
              <a:effectLst/>
              <a:latin typeface="Arial"/>
              <a:ea typeface="Arial"/>
              <a:cs typeface="Arial"/>
              <a:sym typeface="Arial"/>
            </a:endParaRPr>
          </a:p>
          <a:p>
            <a:r>
              <a:rPr lang="en-US" sz="1100" b="0" i="0" u="none" strike="noStrike" kern="1200" cap="none" baseline="0" dirty="0" err="1">
                <a:solidFill>
                  <a:schemeClr val="tx1"/>
                </a:solidFill>
                <a:effectLst/>
                <a:latin typeface="Arial"/>
                <a:ea typeface="Arial"/>
                <a:cs typeface="Arial"/>
                <a:sym typeface="Arial"/>
              </a:rPr>
              <a:t>Vidrasau</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Șos</a:t>
            </a:r>
            <a:r>
              <a:rPr lang="en-US" sz="1100" b="0" i="0" u="none" strike="noStrike" kern="1200" cap="none" baseline="0" dirty="0">
                <a:solidFill>
                  <a:schemeClr val="tx1"/>
                </a:solidFill>
                <a:effectLst/>
                <a:latin typeface="Arial"/>
                <a:ea typeface="Arial"/>
                <a:cs typeface="Arial"/>
                <a:sym typeface="Arial"/>
              </a:rPr>
              <a:t>. </a:t>
            </a:r>
            <a:r>
              <a:rPr lang="en-US" sz="1100" b="0" i="0" u="none" strike="noStrike" kern="1200" cap="none" baseline="0" dirty="0" err="1">
                <a:solidFill>
                  <a:schemeClr val="tx1"/>
                </a:solidFill>
                <a:effectLst/>
                <a:latin typeface="Arial"/>
                <a:ea typeface="Arial"/>
                <a:cs typeface="Arial"/>
                <a:sym typeface="Arial"/>
              </a:rPr>
              <a:t>Targu-Mures</a:t>
            </a:r>
            <a:r>
              <a:rPr lang="en-US" sz="1100" b="0" i="0" u="none" strike="noStrike" kern="1200" cap="none" baseline="0" dirty="0">
                <a:solidFill>
                  <a:schemeClr val="tx1"/>
                </a:solidFill>
                <a:effectLst/>
                <a:latin typeface="Arial"/>
                <a:ea typeface="Arial"/>
                <a:cs typeface="Arial"/>
                <a:sym typeface="Arial"/>
              </a:rPr>
              <a:t> – </a:t>
            </a:r>
            <a:r>
              <a:rPr lang="en-US" sz="1100" b="0" i="0" u="none" strike="noStrike" kern="1200" cap="none" baseline="0" dirty="0" err="1">
                <a:solidFill>
                  <a:schemeClr val="tx1"/>
                </a:solidFill>
                <a:effectLst/>
                <a:latin typeface="Arial"/>
                <a:ea typeface="Arial"/>
                <a:cs typeface="Arial"/>
                <a:sym typeface="Arial"/>
              </a:rPr>
              <a:t>Luduș</a:t>
            </a:r>
            <a:r>
              <a:rPr lang="en-US" sz="1100" b="0" i="0" u="none" strike="noStrike" kern="1200" cap="none" baseline="0" dirty="0">
                <a:solidFill>
                  <a:schemeClr val="tx1"/>
                </a:solidFill>
                <a:effectLst/>
                <a:latin typeface="Arial"/>
                <a:ea typeface="Arial"/>
                <a:cs typeface="Arial"/>
                <a:sym typeface="Arial"/>
              </a:rPr>
              <a:t> road, Km. 14.5</a:t>
            </a:r>
            <a:br>
              <a:rPr lang="en-US" sz="1100" b="0" i="0" u="none" strike="noStrike" kern="1200" cap="none" baseline="0" dirty="0">
                <a:solidFill>
                  <a:schemeClr val="tx1"/>
                </a:solidFill>
                <a:effectLst/>
                <a:latin typeface="Arial"/>
                <a:ea typeface="Arial"/>
                <a:cs typeface="Arial"/>
                <a:sym typeface="Arial"/>
              </a:rPr>
            </a:br>
            <a:r>
              <a:rPr lang="en-US" sz="1100" b="0" i="0" u="none" strike="noStrike" kern="1200" cap="none" baseline="0" dirty="0" err="1">
                <a:solidFill>
                  <a:schemeClr val="tx1"/>
                </a:solidFill>
                <a:effectLst/>
                <a:latin typeface="Arial"/>
                <a:ea typeface="Arial"/>
                <a:cs typeface="Arial"/>
                <a:sym typeface="Arial"/>
              </a:rPr>
              <a:t>Mures</a:t>
            </a:r>
            <a:r>
              <a:rPr lang="en-US" sz="1100" b="0" i="0" u="none" strike="noStrike" kern="1200" cap="none" baseline="0" dirty="0">
                <a:solidFill>
                  <a:schemeClr val="tx1"/>
                </a:solidFill>
                <a:effectLst/>
                <a:latin typeface="Arial"/>
                <a:ea typeface="Arial"/>
                <a:cs typeface="Arial"/>
                <a:sym typeface="Arial"/>
              </a:rPr>
              <a:t>, 547612, Romania</a:t>
            </a:r>
          </a:p>
          <a:p>
            <a:r>
              <a:rPr lang="en-US" sz="1100" b="0" i="0" u="none" strike="noStrike" kern="1200" cap="none" baseline="0" dirty="0">
                <a:solidFill>
                  <a:schemeClr val="tx1"/>
                </a:solidFill>
                <a:effectLst/>
                <a:latin typeface="Arial"/>
                <a:ea typeface="Arial"/>
                <a:cs typeface="Arial"/>
                <a:sym typeface="Arial"/>
              </a:rPr>
              <a:t>Tel +40 265 328 259  |   Fax +40 265 328 257</a:t>
            </a:r>
          </a:p>
          <a:p>
            <a:r>
              <a:rPr lang="en-US" sz="1100" b="0" i="0" u="none" strike="noStrike" kern="1200" cap="none" baseline="0" dirty="0">
                <a:solidFill>
                  <a:schemeClr val="tx1"/>
                </a:solidFill>
                <a:effectLst/>
                <a:latin typeface="Arial"/>
                <a:ea typeface="Arial"/>
                <a:cs typeface="Arial"/>
                <a:sym typeface="Arial"/>
              </a:rPr>
              <a:t>Email: </a:t>
            </a:r>
            <a:r>
              <a:rPr lang="en-US" sz="1100" b="0" i="0" u="none" strike="noStrike" kern="1200" cap="none" baseline="0" dirty="0">
                <a:solidFill>
                  <a:schemeClr val="tx1"/>
                </a:solidFill>
                <a:effectLst/>
                <a:latin typeface="Arial"/>
                <a:ea typeface="Arial"/>
                <a:cs typeface="Arial"/>
                <a:sym typeface="Arial"/>
                <a:hlinkClick r:id="rId36"/>
              </a:rPr>
              <a:t>office@transylvaniaairport.ro</a:t>
            </a:r>
            <a:endParaRPr lang="en-US" sz="1100" b="0" i="0" u="none" strike="noStrike" kern="1200" cap="none" baseline="0" dirty="0">
              <a:solidFill>
                <a:schemeClr val="tx1"/>
              </a:solidFill>
              <a:effectLst/>
              <a:latin typeface="Arial"/>
              <a:ea typeface="Arial"/>
              <a:cs typeface="Arial"/>
              <a:sym typeface="Arial"/>
            </a:endParaRPr>
          </a:p>
          <a:p>
            <a:endParaRPr lang="en-US" sz="1100" b="0" i="0" baseline="0"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14917299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cap="none" dirty="0" err="1">
                <a:solidFill>
                  <a:srgbClr val="000000"/>
                </a:solidFill>
                <a:effectLst/>
                <a:latin typeface="Arial"/>
                <a:ea typeface="Arial"/>
                <a:cs typeface="Arial"/>
                <a:sym typeface="Arial"/>
                <a:hlinkClick r:id="rId3"/>
              </a:rPr>
              <a:t>Situația</a:t>
            </a:r>
            <a:r>
              <a:rPr lang="en-US" sz="1100" b="1" i="0" u="none" strike="noStrike" cap="none" dirty="0">
                <a:solidFill>
                  <a:srgbClr val="000000"/>
                </a:solidFill>
                <a:effectLst/>
                <a:latin typeface="Arial"/>
                <a:ea typeface="Arial"/>
                <a:cs typeface="Arial"/>
                <a:sym typeface="Arial"/>
                <a:hlinkClick r:id="rId3"/>
              </a:rPr>
              <a:t> </a:t>
            </a:r>
            <a:r>
              <a:rPr lang="en-US" sz="1100" b="1" i="0" u="none" strike="noStrike" cap="none" dirty="0" err="1">
                <a:solidFill>
                  <a:srgbClr val="000000"/>
                </a:solidFill>
                <a:effectLst/>
                <a:latin typeface="Arial"/>
                <a:ea typeface="Arial"/>
                <a:cs typeface="Arial"/>
                <a:sym typeface="Arial"/>
                <a:hlinkClick r:id="rId3"/>
              </a:rPr>
              <a:t>parcurilor</a:t>
            </a:r>
            <a:r>
              <a:rPr lang="en-US" sz="1100" b="1" i="0" u="none" strike="noStrike" cap="none" dirty="0">
                <a:solidFill>
                  <a:srgbClr val="000000"/>
                </a:solidFill>
                <a:effectLst/>
                <a:latin typeface="Arial"/>
                <a:ea typeface="Arial"/>
                <a:cs typeface="Arial"/>
                <a:sym typeface="Arial"/>
                <a:hlinkClick r:id="rId3"/>
              </a:rPr>
              <a:t> </a:t>
            </a:r>
            <a:r>
              <a:rPr lang="en-US" sz="1100" b="1" i="0" u="none" strike="noStrike" cap="none" dirty="0" err="1">
                <a:solidFill>
                  <a:srgbClr val="000000"/>
                </a:solidFill>
                <a:effectLst/>
                <a:latin typeface="Arial"/>
                <a:ea typeface="Arial"/>
                <a:cs typeface="Arial"/>
                <a:sym typeface="Arial"/>
                <a:hlinkClick r:id="rId3"/>
              </a:rPr>
              <a:t>industriale</a:t>
            </a:r>
            <a:r>
              <a:rPr lang="en-US" sz="1100" b="0" i="0" u="none" strike="noStrike" cap="none" dirty="0">
                <a:solidFill>
                  <a:srgbClr val="000000"/>
                </a:solidFill>
                <a:effectLst/>
                <a:latin typeface="Arial"/>
                <a:ea typeface="Arial"/>
                <a:cs typeface="Arial"/>
                <a:sym typeface="Arial"/>
              </a:rPr>
              <a:t> (</a:t>
            </a:r>
            <a:r>
              <a:rPr lang="en-US" sz="1100" b="0" i="0" u="none" strike="noStrike" cap="none" dirty="0" err="1">
                <a:solidFill>
                  <a:srgbClr val="000000"/>
                </a:solidFill>
                <a:effectLst/>
                <a:latin typeface="Arial"/>
                <a:ea typeface="Arial"/>
                <a:cs typeface="Arial"/>
                <a:sym typeface="Arial"/>
              </a:rPr>
              <a:t>actualizat</a:t>
            </a:r>
            <a:r>
              <a:rPr lang="en-US" sz="1100" b="0" i="0" u="none" strike="noStrike" cap="none" dirty="0">
                <a:solidFill>
                  <a:srgbClr val="000000"/>
                </a:solidFill>
                <a:effectLst/>
                <a:latin typeface="Arial"/>
                <a:ea typeface="Arial"/>
                <a:cs typeface="Arial"/>
                <a:sym typeface="Arial"/>
              </a:rPr>
              <a:t>: </a:t>
            </a:r>
            <a:r>
              <a:rPr lang="ro-RO" sz="1100" b="0" i="0" u="none" strike="noStrike" cap="none" dirty="0">
                <a:solidFill>
                  <a:srgbClr val="000000"/>
                </a:solidFill>
                <a:effectLst/>
                <a:latin typeface="Arial"/>
                <a:ea typeface="Arial"/>
                <a:cs typeface="Arial"/>
                <a:sym typeface="Arial"/>
              </a:rPr>
              <a:t>17</a:t>
            </a:r>
            <a:r>
              <a:rPr lang="en-US" sz="1100" b="0" i="0" u="none" strike="noStrike" cap="none" dirty="0">
                <a:solidFill>
                  <a:srgbClr val="000000"/>
                </a:solidFill>
                <a:effectLst/>
                <a:latin typeface="Arial"/>
                <a:ea typeface="Arial"/>
                <a:cs typeface="Arial"/>
                <a:sym typeface="Arial"/>
              </a:rPr>
              <a:t>/</a:t>
            </a:r>
            <a:r>
              <a:rPr lang="ro-RO" sz="1100" b="0" i="0" u="none" strike="noStrike" cap="none" dirty="0">
                <a:solidFill>
                  <a:srgbClr val="000000"/>
                </a:solidFill>
                <a:effectLst/>
                <a:latin typeface="Arial"/>
                <a:ea typeface="Arial"/>
                <a:cs typeface="Arial"/>
                <a:sym typeface="Arial"/>
              </a:rPr>
              <a:t>12</a:t>
            </a:r>
            <a:r>
              <a:rPr lang="en-US" sz="1100" b="0" i="0" u="none" strike="noStrike" cap="none" dirty="0">
                <a:solidFill>
                  <a:srgbClr val="000000"/>
                </a:solidFill>
                <a:effectLst/>
                <a:latin typeface="Arial"/>
                <a:ea typeface="Arial"/>
                <a:cs typeface="Arial"/>
                <a:sym typeface="Arial"/>
              </a:rPr>
              <a:t>/2024) – MDLPA.ro</a:t>
            </a:r>
            <a:endParaRPr lang="en-US" sz="1200" b="0" i="0" u="none" strike="noStrike" kern="1200" cap="none" dirty="0">
              <a:solidFill>
                <a:schemeClr val="tx1"/>
              </a:solidFill>
              <a:effectLst/>
              <a:latin typeface="Arial"/>
              <a:ea typeface="Arial"/>
              <a:cs typeface="Arial"/>
              <a:sym typeface="Arial"/>
            </a:endParaRPr>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27</a:t>
            </a:fld>
            <a:endParaRPr lang="en-US" dirty="0"/>
          </a:p>
        </p:txBody>
      </p:sp>
    </p:spTree>
    <p:extLst>
      <p:ext uri="{BB962C8B-B14F-4D97-AF65-F5344CB8AC3E}">
        <p14:creationId xmlns:p14="http://schemas.microsoft.com/office/powerpoint/2010/main" val="7518344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19875" cy="3724275"/>
          </a:xfrm>
        </p:spPr>
      </p:sp>
      <p:sp>
        <p:nvSpPr>
          <p:cNvPr id="3" name="Notes Placeholder 2"/>
          <p:cNvSpPr>
            <a:spLocks noGrp="1"/>
          </p:cNvSpPr>
          <p:nvPr>
            <p:ph type="body" idx="1"/>
          </p:nvPr>
        </p:nvSpPr>
        <p:spPr/>
        <p:txBody>
          <a:bodyPr/>
          <a:lstStyle/>
          <a:p>
            <a:pPr marL="139700" indent="0">
              <a:buNone/>
            </a:pPr>
            <a:r>
              <a:rPr lang="en-US" dirty="0"/>
              <a:t>Data extracted on 15/04/2024 12:02:56 from [ESTAT]</a:t>
            </a:r>
            <a:r>
              <a:rPr lang="ro-RO" dirty="0"/>
              <a:t>  - </a:t>
            </a:r>
            <a:r>
              <a:rPr lang="en-US" dirty="0"/>
              <a:t>Economic accounts for agriculture - values at current prices</a:t>
            </a:r>
            <a:endParaRPr lang="ro-RO" dirty="0"/>
          </a:p>
          <a:p>
            <a:pPr marL="139700" indent="0">
              <a:buNone/>
            </a:pPr>
            <a:r>
              <a:rPr lang="en-US" sz="1100" b="0" i="0" u="none" strike="noStrike" cap="none" dirty="0">
                <a:solidFill>
                  <a:srgbClr val="000000"/>
                </a:solidFill>
                <a:effectLst/>
                <a:latin typeface="Arial"/>
                <a:ea typeface="Arial"/>
                <a:cs typeface="Arial"/>
                <a:sym typeface="Arial"/>
              </a:rPr>
              <a:t>Last updated: 02/02/2024 11:00</a:t>
            </a:r>
            <a:endParaRPr lang="ro-RO" dirty="0"/>
          </a:p>
          <a:p>
            <a:pPr marL="139700" indent="0">
              <a:buNone/>
            </a:pPr>
            <a:r>
              <a:rPr lang="en-US" dirty="0"/>
              <a:t>Agricultural indicator</a:t>
            </a:r>
            <a:r>
              <a:rPr lang="ro-RO" dirty="0"/>
              <a:t> - </a:t>
            </a:r>
            <a:r>
              <a:rPr lang="en-US" dirty="0"/>
              <a:t>Production value at basic price</a:t>
            </a:r>
            <a:endParaRPr lang="ro-RO" dirty="0"/>
          </a:p>
          <a:p>
            <a:pPr marL="139700" indent="0">
              <a:buNone/>
            </a:pPr>
            <a:endParaRPr lang="ro-RO" dirty="0"/>
          </a:p>
          <a:p>
            <a:pPr marL="1397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0" i="0" u="sng" strike="noStrike" cap="none" dirty="0">
                <a:solidFill>
                  <a:srgbClr val="000000"/>
                </a:solidFill>
                <a:effectLst/>
                <a:latin typeface="Arial"/>
                <a:ea typeface="Arial"/>
                <a:cs typeface="Arial"/>
                <a:sym typeface="Arial"/>
                <a:hlinkClick r:id="rId3"/>
              </a:rPr>
              <a:t>EC approves EUR 241 </a:t>
            </a:r>
            <a:r>
              <a:rPr lang="en-US" sz="1100" b="0" i="0" u="sng" strike="noStrike" cap="none" dirty="0" err="1">
                <a:solidFill>
                  <a:srgbClr val="000000"/>
                </a:solidFill>
                <a:effectLst/>
                <a:latin typeface="Arial"/>
                <a:ea typeface="Arial"/>
                <a:cs typeface="Arial"/>
                <a:sym typeface="Arial"/>
                <a:hlinkClick r:id="rId3"/>
              </a:rPr>
              <a:t>mln</a:t>
            </a:r>
            <a:r>
              <a:rPr lang="en-US" sz="1100" b="0" i="0" u="sng" strike="noStrike" cap="none" dirty="0">
                <a:solidFill>
                  <a:srgbClr val="000000"/>
                </a:solidFill>
                <a:effectLst/>
                <a:latin typeface="Arial"/>
                <a:ea typeface="Arial"/>
                <a:cs typeface="Arial"/>
                <a:sym typeface="Arial"/>
                <a:hlinkClick r:id="rId3"/>
              </a:rPr>
              <a:t> Romanian aid scheme to support agricultural producers | Romania Insider (romania-insider.com)</a:t>
            </a:r>
            <a:endParaRPr lang="en-US" sz="1100" b="0" i="0" u="none" strike="noStrike" cap="none" dirty="0">
              <a:solidFill>
                <a:srgbClr val="000000"/>
              </a:solidFill>
              <a:effectLst/>
              <a:latin typeface="Arial"/>
              <a:ea typeface="Arial"/>
              <a:cs typeface="Arial"/>
              <a:sym typeface="Arial"/>
            </a:endParaRPr>
          </a:p>
          <a:p>
            <a:r>
              <a:rPr lang="en-US" sz="1100" b="0" i="0" u="none" strike="noStrike" cap="none" dirty="0">
                <a:solidFill>
                  <a:srgbClr val="000000"/>
                </a:solidFill>
                <a:effectLst/>
                <a:latin typeface="Arial"/>
                <a:ea typeface="Arial"/>
                <a:cs typeface="Arial"/>
                <a:sym typeface="Arial"/>
              </a:rPr>
              <a:t>The European Commission (EC) approved a Romanian scheme worth roughly EUR 241 million (RON 1.2 billion) to support the agricultural primary plant production sector in the context of Russia’s war against Ukraine. </a:t>
            </a:r>
          </a:p>
          <a:p>
            <a:r>
              <a:rPr lang="en-US" sz="1100" b="0" i="0" u="none" strike="noStrike" cap="none" dirty="0">
                <a:solidFill>
                  <a:srgbClr val="000000"/>
                </a:solidFill>
                <a:effectLst/>
                <a:latin typeface="Arial"/>
                <a:ea typeface="Arial"/>
                <a:cs typeface="Arial"/>
                <a:sym typeface="Arial"/>
              </a:rPr>
              <a:t>Under the scheme, the aid will consist of limited amounts of direct grants, the Commission said, quoted by local news agency </a:t>
            </a:r>
            <a:r>
              <a:rPr lang="en-US" sz="1100" b="0" i="0" u="sng" strike="noStrike" cap="none" dirty="0" err="1">
                <a:solidFill>
                  <a:srgbClr val="000000"/>
                </a:solidFill>
                <a:effectLst/>
                <a:latin typeface="Arial"/>
                <a:ea typeface="Arial"/>
                <a:cs typeface="Arial"/>
                <a:sym typeface="Arial"/>
                <a:hlinkClick r:id="rId4"/>
              </a:rPr>
              <a:t>Agerpres</a:t>
            </a:r>
            <a:r>
              <a:rPr lang="en-US" sz="1100" b="0" i="0" u="none" strike="noStrike" cap="none" dirty="0">
                <a:solidFill>
                  <a:srgbClr val="000000"/>
                </a:solidFill>
                <a:effectLst/>
                <a:latin typeface="Arial"/>
                <a:ea typeface="Arial"/>
                <a:cs typeface="Arial"/>
                <a:sym typeface="Arial"/>
              </a:rPr>
              <a:t>.</a:t>
            </a:r>
          </a:p>
          <a:p>
            <a:r>
              <a:rPr lang="en-US" sz="1100" b="0" i="0" u="none" strike="noStrike" cap="none" dirty="0">
                <a:solidFill>
                  <a:srgbClr val="000000"/>
                </a:solidFill>
                <a:effectLst/>
                <a:latin typeface="Arial"/>
                <a:ea typeface="Arial"/>
                <a:cs typeface="Arial"/>
                <a:sym typeface="Arial"/>
              </a:rPr>
              <a:t>The measure will be open to agricultural producers of some plant products, especially winter cereals and rapeseed producers, affected by market difficulties provoked by the war in neighboring Ukraine.</a:t>
            </a:r>
          </a:p>
          <a:p>
            <a:r>
              <a:rPr lang="en-US" sz="1100" b="0" i="0" u="none" strike="noStrike" cap="none" dirty="0">
                <a:solidFill>
                  <a:srgbClr val="000000"/>
                </a:solidFill>
                <a:effectLst/>
                <a:latin typeface="Arial"/>
                <a:ea typeface="Arial"/>
                <a:cs typeface="Arial"/>
                <a:sym typeface="Arial"/>
              </a:rPr>
              <a:t>The aid will be at most EUR 280,000 per beneficiary and will be granted by June 30, 2024.</a:t>
            </a:r>
          </a:p>
          <a:p>
            <a:pPr marL="139700" indent="0">
              <a:buNone/>
            </a:pPr>
            <a:endParaRPr lang="ro-RO"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28</a:t>
            </a:fld>
            <a:endParaRPr lang="en-US" dirty="0"/>
          </a:p>
        </p:txBody>
      </p:sp>
    </p:spTree>
    <p:extLst>
      <p:ext uri="{BB962C8B-B14F-4D97-AF65-F5344CB8AC3E}">
        <p14:creationId xmlns:p14="http://schemas.microsoft.com/office/powerpoint/2010/main" val="39355001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744538"/>
            <a:ext cx="6619875" cy="3724275"/>
          </a:xfrm>
        </p:spPr>
      </p:sp>
      <p:sp>
        <p:nvSpPr>
          <p:cNvPr id="3" name="Notes Placeholder 2"/>
          <p:cNvSpPr>
            <a:spLocks noGrp="1"/>
          </p:cNvSpPr>
          <p:nvPr>
            <p:ph type="body" idx="1"/>
          </p:nvPr>
        </p:nvSpPr>
        <p:spPr/>
        <p:txBody>
          <a:bodyPr/>
          <a:lstStyle/>
          <a:p>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Acordul</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comercial</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va</a:t>
            </a:r>
            <a:r>
              <a:rPr lang="en-US" sz="1100" b="0" i="0" u="none" strike="noStrike" kern="1200" cap="none" dirty="0">
                <a:solidFill>
                  <a:schemeClr val="tx1"/>
                </a:solidFill>
                <a:effectLst/>
                <a:latin typeface="Arial"/>
                <a:ea typeface="Arial"/>
                <a:cs typeface="Arial"/>
                <a:sym typeface="Arial"/>
              </a:rPr>
              <a:t> include o </a:t>
            </a:r>
            <a:r>
              <a:rPr lang="en-US" sz="1100" b="0" i="0" u="none" strike="noStrike" kern="1200" cap="none" dirty="0" err="1">
                <a:solidFill>
                  <a:schemeClr val="tx1"/>
                </a:solidFill>
                <a:effectLst/>
                <a:latin typeface="Arial"/>
                <a:ea typeface="Arial"/>
                <a:cs typeface="Arial"/>
                <a:sym typeface="Arial"/>
              </a:rPr>
              <a:t>uzină</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NuScale</a:t>
            </a:r>
            <a:r>
              <a:rPr lang="en-US" sz="1100" b="0" i="0" u="none" strike="noStrike" kern="1200" cap="none" dirty="0">
                <a:solidFill>
                  <a:schemeClr val="tx1"/>
                </a:solidFill>
                <a:effectLst/>
                <a:latin typeface="Arial"/>
                <a:ea typeface="Arial"/>
                <a:cs typeface="Arial"/>
                <a:sym typeface="Arial"/>
              </a:rPr>
              <a:t> cu 12 module, care </a:t>
            </a:r>
            <a:r>
              <a:rPr lang="en-US" sz="1100" b="0" i="0" u="none" strike="noStrike" kern="1200" cap="none" dirty="0" err="1">
                <a:solidFill>
                  <a:schemeClr val="tx1"/>
                </a:solidFill>
                <a:effectLst/>
                <a:latin typeface="Arial"/>
                <a:ea typeface="Arial"/>
                <a:cs typeface="Arial"/>
                <a:sym typeface="Arial"/>
              </a:rPr>
              <a:t>va</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crea</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inițial</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peste</a:t>
            </a:r>
            <a:r>
              <a:rPr lang="en-US" sz="1100" b="0" i="0" u="none" strike="noStrike" kern="1200" cap="none" dirty="0">
                <a:solidFill>
                  <a:schemeClr val="tx1"/>
                </a:solidFill>
                <a:effectLst/>
                <a:latin typeface="Arial"/>
                <a:ea typeface="Arial"/>
                <a:cs typeface="Arial"/>
                <a:sym typeface="Arial"/>
              </a:rPr>
              <a:t> 6.000 de </a:t>
            </a:r>
            <a:r>
              <a:rPr lang="en-US" sz="1100" b="0" i="0" u="none" strike="noStrike" kern="1200" cap="none" dirty="0" err="1">
                <a:solidFill>
                  <a:schemeClr val="tx1"/>
                </a:solidFill>
                <a:effectLst/>
                <a:latin typeface="Arial"/>
                <a:ea typeface="Arial"/>
                <a:cs typeface="Arial"/>
                <a:sym typeface="Arial"/>
              </a:rPr>
              <a:t>locuri</a:t>
            </a:r>
            <a:r>
              <a:rPr lang="en-US" sz="1100" b="0" i="0" u="none" strike="noStrike" kern="1200" cap="none" dirty="0">
                <a:solidFill>
                  <a:schemeClr val="tx1"/>
                </a:solidFill>
                <a:effectLst/>
                <a:latin typeface="Arial"/>
                <a:ea typeface="Arial"/>
                <a:cs typeface="Arial"/>
                <a:sym typeface="Arial"/>
              </a:rPr>
              <a:t> de </a:t>
            </a:r>
            <a:r>
              <a:rPr lang="en-US" sz="1100" b="0" i="0" u="none" strike="noStrike" kern="1200" cap="none" dirty="0" err="1">
                <a:solidFill>
                  <a:schemeClr val="tx1"/>
                </a:solidFill>
                <a:effectLst/>
                <a:latin typeface="Arial"/>
                <a:ea typeface="Arial"/>
                <a:cs typeface="Arial"/>
                <a:sym typeface="Arial"/>
              </a:rPr>
              <a:t>muncă</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în</a:t>
            </a:r>
            <a:r>
              <a:rPr lang="en-US" sz="1100" b="0" i="0" u="none" strike="noStrike" kern="1200" cap="none" dirty="0">
                <a:solidFill>
                  <a:schemeClr val="tx1"/>
                </a:solidFill>
                <a:effectLst/>
                <a:latin typeface="Arial"/>
                <a:ea typeface="Arial"/>
                <a:cs typeface="Arial"/>
                <a:sym typeface="Arial"/>
              </a:rPr>
              <a:t> SUA </a:t>
            </a:r>
            <a:r>
              <a:rPr lang="en-US" sz="1100" b="0" i="0" u="none" strike="noStrike" kern="1200" cap="none" dirty="0" err="1">
                <a:solidFill>
                  <a:schemeClr val="tx1"/>
                </a:solidFill>
                <a:effectLst/>
                <a:latin typeface="Arial"/>
                <a:ea typeface="Arial"/>
                <a:cs typeface="Arial"/>
                <a:sym typeface="Arial"/>
              </a:rPr>
              <a:t>și</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România</a:t>
            </a:r>
            <a:r>
              <a:rPr lang="en-US" sz="1100" b="0" i="0" u="none" strike="noStrike" kern="1200" cap="none" dirty="0">
                <a:solidFill>
                  <a:schemeClr val="tx1"/>
                </a:solidFill>
                <a:effectLst/>
                <a:latin typeface="Arial"/>
                <a:ea typeface="Arial"/>
                <a:cs typeface="Arial"/>
                <a:sym typeface="Arial"/>
              </a:rPr>
              <a:t>, cu </a:t>
            </a:r>
            <a:r>
              <a:rPr lang="en-US" sz="1100" b="0" i="0" u="none" strike="noStrike" kern="1200" cap="none" dirty="0" err="1">
                <a:solidFill>
                  <a:schemeClr val="tx1"/>
                </a:solidFill>
                <a:effectLst/>
                <a:latin typeface="Arial"/>
                <a:ea typeface="Arial"/>
                <a:cs typeface="Arial"/>
                <a:sym typeface="Arial"/>
              </a:rPr>
              <a:t>potențialul</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creșterii</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acestora</a:t>
            </a:r>
            <a:r>
              <a:rPr lang="en-US" sz="1100" b="0" i="0" u="none" strike="noStrike" kern="1200" cap="none" dirty="0">
                <a:solidFill>
                  <a:schemeClr val="tx1"/>
                </a:solidFill>
                <a:effectLst/>
                <a:latin typeface="Arial"/>
                <a:ea typeface="Arial"/>
                <a:cs typeface="Arial"/>
                <a:sym typeface="Arial"/>
              </a:rPr>
              <a:t> la 30.000, </a:t>
            </a:r>
            <a:r>
              <a:rPr lang="en-US" sz="1100" b="0" i="0" u="none" strike="noStrike" kern="1200" cap="none" dirty="0" err="1">
                <a:solidFill>
                  <a:schemeClr val="tx1"/>
                </a:solidFill>
                <a:effectLst/>
                <a:latin typeface="Arial"/>
                <a:ea typeface="Arial"/>
                <a:cs typeface="Arial"/>
                <a:sym typeface="Arial"/>
              </a:rPr>
              <a:t>pe</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măsură</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ce</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proiectul</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va</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crește</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Implementarea</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tehnologiei</a:t>
            </a:r>
            <a:r>
              <a:rPr lang="en-US" sz="1100" b="0" i="0" u="none" strike="noStrike" kern="1200" cap="none" dirty="0">
                <a:solidFill>
                  <a:schemeClr val="tx1"/>
                </a:solidFill>
                <a:effectLst/>
                <a:latin typeface="Arial"/>
                <a:ea typeface="Arial"/>
                <a:cs typeface="Arial"/>
                <a:sym typeface="Arial"/>
              </a:rPr>
              <a:t> SMR </a:t>
            </a:r>
            <a:r>
              <a:rPr lang="en-US" sz="1100" b="0" i="0" u="none" strike="noStrike" kern="1200" cap="none" dirty="0" err="1">
                <a:solidFill>
                  <a:schemeClr val="tx1"/>
                </a:solidFill>
                <a:effectLst/>
                <a:latin typeface="Arial"/>
                <a:ea typeface="Arial"/>
                <a:cs typeface="Arial"/>
                <a:sym typeface="Arial"/>
              </a:rPr>
              <a:t>va</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contribui</a:t>
            </a:r>
            <a:r>
              <a:rPr lang="en-US" sz="1100" b="0" i="0" u="none" strike="noStrike" kern="1200" cap="none" dirty="0">
                <a:solidFill>
                  <a:schemeClr val="tx1"/>
                </a:solidFill>
                <a:effectLst/>
                <a:latin typeface="Arial"/>
                <a:ea typeface="Arial"/>
                <a:cs typeface="Arial"/>
                <a:sym typeface="Arial"/>
              </a:rPr>
              <a:t> la </a:t>
            </a:r>
            <a:r>
              <a:rPr lang="en-US" sz="1100" b="0" i="0" u="none" strike="noStrike" kern="1200" cap="none" dirty="0" err="1">
                <a:solidFill>
                  <a:schemeClr val="tx1"/>
                </a:solidFill>
                <a:effectLst/>
                <a:latin typeface="Arial"/>
                <a:ea typeface="Arial"/>
                <a:cs typeface="Arial"/>
                <a:sym typeface="Arial"/>
              </a:rPr>
              <a:t>creșterea</a:t>
            </a:r>
            <a:r>
              <a:rPr lang="en-US" sz="1100" b="0" i="0" u="none" strike="noStrike" kern="1200" cap="none" dirty="0">
                <a:solidFill>
                  <a:schemeClr val="tx1"/>
                </a:solidFill>
                <a:effectLst/>
                <a:latin typeface="Arial"/>
                <a:ea typeface="Arial"/>
                <a:cs typeface="Arial"/>
                <a:sym typeface="Arial"/>
              </a:rPr>
              <a:t> </a:t>
            </a:r>
            <a:r>
              <a:rPr lang="en-US" sz="1100" b="0" i="0" u="none" strike="noStrike" kern="1200" cap="none" dirty="0" err="1">
                <a:solidFill>
                  <a:schemeClr val="tx1"/>
                </a:solidFill>
                <a:effectLst/>
                <a:latin typeface="Arial"/>
                <a:ea typeface="Arial"/>
                <a:cs typeface="Arial"/>
                <a:sym typeface="Arial"/>
              </a:rPr>
              <a:t>unui</a:t>
            </a:r>
            <a:r>
              <a:rPr lang="en-US" sz="1100" b="0" i="0" u="none" strike="noStrike" kern="1200" cap="none" dirty="0">
                <a:solidFill>
                  <a:schemeClr val="tx1"/>
                </a:solidFill>
                <a:effectLst/>
                <a:latin typeface="Arial"/>
                <a:ea typeface="Arial"/>
                <a:cs typeface="Arial"/>
                <a:sym typeface="Arial"/>
              </a:rPr>
              <a:t> sector energetic </a:t>
            </a:r>
            <a:r>
              <a:rPr lang="en-US" sz="1100" b="0" i="0" u="none" strike="noStrike" kern="1200" cap="none" dirty="0" err="1">
                <a:solidFill>
                  <a:schemeClr val="tx1"/>
                </a:solidFill>
                <a:effectLst/>
                <a:latin typeface="Arial"/>
                <a:ea typeface="Arial"/>
                <a:cs typeface="Arial"/>
                <a:sym typeface="Arial"/>
              </a:rPr>
              <a:t>fără</a:t>
            </a:r>
            <a:r>
              <a:rPr lang="en-US" sz="1100" b="0" i="0" u="none" strike="noStrike" kern="1200" cap="none" dirty="0">
                <a:solidFill>
                  <a:schemeClr val="tx1"/>
                </a:solidFill>
                <a:effectLst/>
                <a:latin typeface="Arial"/>
                <a:ea typeface="Arial"/>
                <a:cs typeface="Arial"/>
                <a:sym typeface="Arial"/>
              </a:rPr>
              <a:t> carbon </a:t>
            </a:r>
            <a:r>
              <a:rPr lang="en-US" sz="1100" b="0" i="0" u="none" strike="noStrike" kern="1200" cap="none" dirty="0" err="1">
                <a:solidFill>
                  <a:schemeClr val="tx1"/>
                </a:solidFill>
                <a:effectLst/>
                <a:latin typeface="Arial"/>
                <a:ea typeface="Arial"/>
                <a:cs typeface="Arial"/>
                <a:sym typeface="Arial"/>
              </a:rPr>
              <a:t>și</a:t>
            </a:r>
            <a:r>
              <a:rPr lang="en-US" sz="1100" b="0" i="0" u="none" strike="noStrike" kern="1200" cap="none" dirty="0">
                <a:solidFill>
                  <a:schemeClr val="tx1"/>
                </a:solidFill>
                <a:effectLst/>
                <a:latin typeface="Arial"/>
                <a:ea typeface="Arial"/>
                <a:cs typeface="Arial"/>
                <a:sym typeface="Arial"/>
              </a:rPr>
              <a:t> cu </a:t>
            </a:r>
            <a:r>
              <a:rPr lang="en-US" sz="1100" b="0" i="0" u="none" strike="noStrike" kern="1200" cap="none" dirty="0" err="1">
                <a:solidFill>
                  <a:schemeClr val="tx1"/>
                </a:solidFill>
                <a:effectLst/>
                <a:latin typeface="Arial"/>
                <a:ea typeface="Arial"/>
                <a:cs typeface="Arial"/>
                <a:sym typeface="Arial"/>
              </a:rPr>
              <a:t>emisii</a:t>
            </a:r>
            <a:r>
              <a:rPr lang="en-US" sz="1100" b="0" i="0" u="none" strike="noStrike" kern="1200" cap="none" dirty="0">
                <a:solidFill>
                  <a:schemeClr val="tx1"/>
                </a:solidFill>
                <a:effectLst/>
                <a:latin typeface="Arial"/>
                <a:ea typeface="Arial"/>
                <a:cs typeface="Arial"/>
                <a:sym typeface="Arial"/>
              </a:rPr>
              <a:t> de </a:t>
            </a:r>
            <a:r>
              <a:rPr lang="en-US" sz="1100" b="0" i="0" u="none" strike="noStrike" kern="1200" cap="none" dirty="0" err="1">
                <a:solidFill>
                  <a:schemeClr val="tx1"/>
                </a:solidFill>
                <a:effectLst/>
                <a:latin typeface="Arial"/>
                <a:ea typeface="Arial"/>
                <a:cs typeface="Arial"/>
                <a:sym typeface="Arial"/>
              </a:rPr>
              <a:t>gaz</a:t>
            </a:r>
            <a:r>
              <a:rPr lang="en-US" sz="1100" b="0" i="0" u="none" strike="noStrike" kern="1200" cap="none" dirty="0">
                <a:solidFill>
                  <a:schemeClr val="tx1"/>
                </a:solidFill>
                <a:effectLst/>
                <a:latin typeface="Arial"/>
                <a:ea typeface="Arial"/>
                <a:cs typeface="Arial"/>
                <a:sym typeface="Arial"/>
              </a:rPr>
              <a:t> zero.</a:t>
            </a:r>
          </a:p>
          <a:p>
            <a:pPr marL="139700" indent="0">
              <a:buNone/>
            </a:pPr>
            <a:endParaRPr lang="en-US" dirty="0"/>
          </a:p>
        </p:txBody>
      </p:sp>
    </p:spTree>
    <p:extLst>
      <p:ext uri="{BB962C8B-B14F-4D97-AF65-F5344CB8AC3E}">
        <p14:creationId xmlns:p14="http://schemas.microsoft.com/office/powerpoint/2010/main" val="2478563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3606f1c2d_30: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6" name="Google Shape;196;g3606f1c2d_30: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139700" lvl="0" indent="0">
              <a:buNone/>
            </a:pPr>
            <a:r>
              <a:rPr lang="ro-RO" sz="1100" b="0" i="0" u="none" strike="noStrike" cap="none" dirty="0">
                <a:solidFill>
                  <a:srgbClr val="000000"/>
                </a:solidFill>
                <a:effectLst/>
                <a:latin typeface="Arial"/>
                <a:ea typeface="Arial"/>
                <a:cs typeface="Arial"/>
                <a:sym typeface="Arial"/>
              </a:rPr>
              <a:t>In Q3 2024, as compared to Q3 2023, the GDP registered an increase by 1.2% for the unadjusted series and a decrease by 0,1% for the seaonally adjusted series. In Q3 2024, as compared to Q2 2024, the GDP was unchanged, in real terms. In the period 01.I-30.IX 2024, as against the same period of the previous year, the GDP increased by 0.9% both for the unadjusted series and for the seasonally adjusted series (according to the *NIS January 10, 2025).</a:t>
            </a:r>
            <a:endParaRPr lang="en-US" sz="1100" b="0" i="0" u="none" strike="noStrike" cap="none" dirty="0">
              <a:solidFill>
                <a:srgbClr val="000000"/>
              </a:solidFill>
              <a:effectLst/>
              <a:latin typeface="Arial"/>
              <a:ea typeface="Arial"/>
              <a:cs typeface="Arial"/>
              <a:sym typeface="Arial"/>
            </a:endParaRPr>
          </a:p>
          <a:p>
            <a:pPr marL="139700" indent="0">
              <a:buNone/>
            </a:pPr>
            <a:endParaRPr lang="en-US" sz="1100" b="0" i="0" u="none" strike="noStrike" cap="none" dirty="0">
              <a:solidFill>
                <a:srgbClr val="000000"/>
              </a:solidFill>
              <a:effectLst/>
              <a:latin typeface="Arial"/>
              <a:ea typeface="Arial"/>
              <a:cs typeface="Arial"/>
              <a:sym typeface="Arial"/>
            </a:endParaRPr>
          </a:p>
          <a:p>
            <a:pPr marL="139700" indent="0">
              <a:lnSpc>
                <a:spcPct val="110000"/>
              </a:lnSpc>
              <a:buClr>
                <a:srgbClr val="99CC00"/>
              </a:buClr>
              <a:buNone/>
            </a:pPr>
            <a:r>
              <a:rPr lang="en-US" sz="1100" b="1" i="0" u="none" strike="noStrike" cap="none" dirty="0">
                <a:solidFill>
                  <a:srgbClr val="000000"/>
                </a:solidFill>
                <a:effectLst/>
                <a:latin typeface="Arial"/>
                <a:ea typeface="Arial"/>
                <a:cs typeface="Arial"/>
                <a:sym typeface="Arial"/>
              </a:rPr>
              <a:t>Harvard</a:t>
            </a:r>
            <a:r>
              <a:rPr lang="en-US" sz="1100" b="1" i="0" u="none" strike="noStrike" cap="none" baseline="0" dirty="0">
                <a:solidFill>
                  <a:srgbClr val="000000"/>
                </a:solidFill>
                <a:effectLst/>
                <a:latin typeface="Arial"/>
                <a:ea typeface="Arial"/>
                <a:cs typeface="Arial"/>
                <a:sym typeface="Arial"/>
              </a:rPr>
              <a:t> University - </a:t>
            </a:r>
            <a:r>
              <a:rPr lang="en-US" sz="1100" b="1" dirty="0">
                <a:solidFill>
                  <a:srgbClr val="2846A8"/>
                </a:solidFill>
                <a:latin typeface="Cambria" panose="02040503050406030204" pitchFamily="18" charset="0"/>
              </a:rPr>
              <a:t>The Atlas of Economic Complexity, </a:t>
            </a:r>
            <a:r>
              <a:rPr lang="en-US" sz="1100" b="1" i="0" u="none" strike="noStrike" cap="none" dirty="0">
                <a:solidFill>
                  <a:srgbClr val="000000"/>
                </a:solidFill>
                <a:effectLst/>
                <a:latin typeface="Arial"/>
                <a:ea typeface="Arial"/>
                <a:cs typeface="Arial"/>
                <a:sym typeface="Arial"/>
              </a:rPr>
              <a:t>Economic Complexity Index (ECI) ranking</a:t>
            </a:r>
          </a:p>
          <a:p>
            <a:pPr marL="139700" indent="0">
              <a:buNone/>
            </a:pPr>
            <a:r>
              <a:rPr lang="ro-RO" sz="1100" b="0" i="0" u="none" strike="noStrike" cap="none" dirty="0">
                <a:solidFill>
                  <a:srgbClr val="000000"/>
                </a:solidFill>
                <a:effectLst/>
                <a:latin typeface="Arial"/>
                <a:ea typeface="Arial"/>
                <a:cs typeface="Arial"/>
                <a:sym typeface="Arial"/>
              </a:rPr>
              <a:t>Romania is a high-income country, ranking as the 46th richest economy per capita out of 146 studied. Its 19 million inhabitants have a GDP per capita of $15,821 ($38,563 PPP; 2022). GDP per capita growth has averaged 3.9% over the past five years, above regional averages.</a:t>
            </a:r>
          </a:p>
          <a:p>
            <a:pPr marL="139700" indent="0">
              <a:buNone/>
            </a:pPr>
            <a:r>
              <a:rPr lang="en-US" sz="1100" b="0" i="0" u="none" strike="noStrike" cap="none" dirty="0">
                <a:solidFill>
                  <a:srgbClr val="000000"/>
                </a:solidFill>
                <a:effectLst/>
                <a:latin typeface="Arial"/>
                <a:ea typeface="Arial"/>
                <a:cs typeface="Arial"/>
                <a:sym typeface="Arial"/>
              </a:rPr>
              <a:t>Romania ranks as the 20th most complex country in the Economic Complexity Index (ECI) ranking. Compared to a decade prior, Romania's economy has become more complex, improving 9 positions in the ECI ranking. Romania's improving complexity has been driven by diversifying its exports. Moving forward, Romania is positioned to take advantage of many opportunities to diversify its production using its existing knowhow.</a:t>
            </a:r>
          </a:p>
          <a:p>
            <a:pPr marL="139700" indent="0">
              <a:buNone/>
            </a:pPr>
            <a:r>
              <a:rPr lang="en-US" sz="1100" b="0" i="0" u="none" strike="noStrike" cap="none" dirty="0">
                <a:solidFill>
                  <a:srgbClr val="000000"/>
                </a:solidFill>
                <a:effectLst/>
                <a:latin typeface="Arial"/>
                <a:ea typeface="Arial"/>
                <a:cs typeface="Arial"/>
                <a:sym typeface="Arial"/>
              </a:rPr>
              <a:t>Romania is more complex than expected for its income level. However, its economy is projected to grow slowly. The Growth Lab's 2031 Growth Projections foresee growth in Romania of 2.7% annually over the coming decade, ranking in the bottom half of countries globally.</a:t>
            </a:r>
          </a:p>
        </p:txBody>
      </p:sp>
    </p:spTree>
    <p:extLst>
      <p:ext uri="{BB962C8B-B14F-4D97-AF65-F5344CB8AC3E}">
        <p14:creationId xmlns:p14="http://schemas.microsoft.com/office/powerpoint/2010/main" val="16267384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30</a:t>
            </a:fld>
            <a:endParaRPr lang="en-US" dirty="0"/>
          </a:p>
        </p:txBody>
      </p:sp>
    </p:spTree>
    <p:extLst>
      <p:ext uri="{BB962C8B-B14F-4D97-AF65-F5344CB8AC3E}">
        <p14:creationId xmlns:p14="http://schemas.microsoft.com/office/powerpoint/2010/main" val="42562277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US" sz="1100" b="1" dirty="0">
                <a:solidFill>
                  <a:schemeClr val="bg1"/>
                </a:solidFill>
                <a:latin typeface="Cambria" panose="02040503050406030204" pitchFamily="18" charset="0"/>
                <a:cs typeface="Arial" pitchFamily="34" charset="0"/>
              </a:rPr>
              <a:t>INDUSTRY SIZE</a:t>
            </a:r>
            <a:r>
              <a:rPr lang="ro-RO" sz="1100" b="1" dirty="0">
                <a:solidFill>
                  <a:schemeClr val="bg1"/>
                </a:solidFill>
                <a:latin typeface="Cambria" panose="02040503050406030204" pitchFamily="18" charset="0"/>
                <a:cs typeface="Arial" pitchFamily="34" charset="0"/>
              </a:rPr>
              <a:t> -</a:t>
            </a:r>
            <a:r>
              <a:rPr lang="ro-RO" sz="1100" b="1" baseline="0" dirty="0">
                <a:solidFill>
                  <a:schemeClr val="bg1"/>
                </a:solidFill>
                <a:latin typeface="Cambria" panose="02040503050406030204" pitchFamily="18" charset="0"/>
                <a:cs typeface="Arial" pitchFamily="34" charset="0"/>
              </a:rPr>
              <a:t> </a:t>
            </a:r>
            <a:r>
              <a:rPr lang="ro-RO" sz="1100" b="1" dirty="0">
                <a:solidFill>
                  <a:schemeClr val="bg1"/>
                </a:solidFill>
                <a:latin typeface="Cambria" panose="02040503050406030204" pitchFamily="18" charset="0"/>
                <a:cs typeface="Arial" pitchFamily="34" charset="0"/>
              </a:rPr>
              <a:t>in</a:t>
            </a:r>
            <a:r>
              <a:rPr lang="ro-RO" sz="1100" b="1" baseline="0" dirty="0">
                <a:solidFill>
                  <a:schemeClr val="bg1"/>
                </a:solidFill>
                <a:latin typeface="Cambria" panose="02040503050406030204" pitchFamily="18" charset="0"/>
                <a:cs typeface="Arial" pitchFamily="34" charset="0"/>
              </a:rPr>
              <a:t> </a:t>
            </a:r>
            <a:r>
              <a:rPr lang="ro-RO" sz="1100" b="1" dirty="0">
                <a:solidFill>
                  <a:schemeClr val="bg1"/>
                </a:solidFill>
                <a:latin typeface="Cambria" panose="02040503050406030204" pitchFamily="18" charset="0"/>
                <a:cs typeface="Arial" pitchFamily="34" charset="0"/>
              </a:rPr>
              <a:t>202</a:t>
            </a:r>
            <a:r>
              <a:rPr lang="en-US" sz="1100" b="1" dirty="0">
                <a:solidFill>
                  <a:schemeClr val="bg1"/>
                </a:solidFill>
                <a:latin typeface="Cambria" panose="02040503050406030204" pitchFamily="18" charset="0"/>
                <a:cs typeface="Arial" pitchFamily="34" charset="0"/>
              </a:rPr>
              <a:t>2</a:t>
            </a:r>
          </a:p>
          <a:p>
            <a:endParaRPr lang="ro-RO" sz="1100" dirty="0">
              <a:solidFill>
                <a:srgbClr val="2846A8"/>
              </a:solidFill>
              <a:latin typeface="Cambria" panose="02040503050406030204" pitchFamily="18" charset="0"/>
              <a:cs typeface="Arial" pitchFamily="34" charset="0"/>
            </a:endParaRPr>
          </a:p>
          <a:p>
            <a:r>
              <a:rPr lang="en-US" sz="1100" dirty="0">
                <a:solidFill>
                  <a:srgbClr val="2846A8"/>
                </a:solidFill>
                <a:latin typeface="Cambria" panose="02040503050406030204" pitchFamily="18" charset="0"/>
                <a:cs typeface="Arial" pitchFamily="34" charset="0"/>
              </a:rPr>
              <a:t>Automotive - ACAROM - The Romanian Automotive Industry</a:t>
            </a:r>
          </a:p>
          <a:p>
            <a:r>
              <a:rPr lang="en-US" sz="1100" dirty="0">
                <a:solidFill>
                  <a:srgbClr val="2846A8"/>
                </a:solidFill>
                <a:latin typeface="Cambria" panose="02040503050406030204" pitchFamily="18" charset="0"/>
                <a:cs typeface="Arial" pitchFamily="34" charset="0"/>
              </a:rPr>
              <a:t>IT&amp;C - ZF </a:t>
            </a:r>
            <a:r>
              <a:rPr lang="en-US" sz="1100" dirty="0" err="1">
                <a:solidFill>
                  <a:srgbClr val="2846A8"/>
                </a:solidFill>
                <a:latin typeface="Cambria" panose="02040503050406030204" pitchFamily="18" charset="0"/>
                <a:cs typeface="Arial" pitchFamily="34" charset="0"/>
              </a:rPr>
              <a:t>supliment</a:t>
            </a:r>
            <a:r>
              <a:rPr lang="en-US" sz="1100" dirty="0">
                <a:solidFill>
                  <a:srgbClr val="2846A8"/>
                </a:solidFill>
                <a:latin typeface="Cambria" panose="02040503050406030204" pitchFamily="18" charset="0"/>
                <a:cs typeface="Arial" pitchFamily="34" charset="0"/>
              </a:rPr>
              <a:t> “</a:t>
            </a:r>
            <a:r>
              <a:rPr lang="en-US" sz="1100" dirty="0" err="1">
                <a:solidFill>
                  <a:srgbClr val="2846A8"/>
                </a:solidFill>
                <a:latin typeface="Cambria" panose="02040503050406030204" pitchFamily="18" charset="0"/>
                <a:cs typeface="Arial" pitchFamily="34" charset="0"/>
              </a:rPr>
              <a:t>Cele</a:t>
            </a:r>
            <a:r>
              <a:rPr lang="en-US" sz="1100" dirty="0">
                <a:solidFill>
                  <a:srgbClr val="2846A8"/>
                </a:solidFill>
                <a:latin typeface="Cambria" panose="02040503050406030204" pitchFamily="18" charset="0"/>
                <a:cs typeface="Arial" pitchFamily="34" charset="0"/>
              </a:rPr>
              <a:t> </a:t>
            </a:r>
            <a:r>
              <a:rPr lang="en-US" sz="1100" dirty="0" err="1">
                <a:solidFill>
                  <a:srgbClr val="2846A8"/>
                </a:solidFill>
                <a:latin typeface="Cambria" panose="02040503050406030204" pitchFamily="18" charset="0"/>
                <a:cs typeface="Arial" pitchFamily="34" charset="0"/>
              </a:rPr>
              <a:t>mai</a:t>
            </a:r>
            <a:r>
              <a:rPr lang="en-US" sz="1100" dirty="0">
                <a:solidFill>
                  <a:srgbClr val="2846A8"/>
                </a:solidFill>
                <a:latin typeface="Cambria" panose="02040503050406030204" pitchFamily="18" charset="0"/>
                <a:cs typeface="Arial" pitchFamily="34" charset="0"/>
              </a:rPr>
              <a:t> </a:t>
            </a:r>
            <a:r>
              <a:rPr lang="en-US" sz="1100" dirty="0" err="1">
                <a:solidFill>
                  <a:srgbClr val="2846A8"/>
                </a:solidFill>
                <a:latin typeface="Cambria" panose="02040503050406030204" pitchFamily="18" charset="0"/>
                <a:cs typeface="Arial" pitchFamily="34" charset="0"/>
              </a:rPr>
              <a:t>dinamice</a:t>
            </a:r>
            <a:r>
              <a:rPr lang="en-US" sz="1100" dirty="0">
                <a:solidFill>
                  <a:srgbClr val="2846A8"/>
                </a:solidFill>
                <a:latin typeface="Cambria" panose="02040503050406030204" pitchFamily="18" charset="0"/>
                <a:cs typeface="Arial" pitchFamily="34" charset="0"/>
              </a:rPr>
              <a:t> </a:t>
            </a:r>
            <a:r>
              <a:rPr lang="en-US" sz="1100" dirty="0" err="1">
                <a:solidFill>
                  <a:srgbClr val="2846A8"/>
                </a:solidFill>
                <a:latin typeface="Cambria" panose="02040503050406030204" pitchFamily="18" charset="0"/>
                <a:cs typeface="Arial" pitchFamily="34" charset="0"/>
              </a:rPr>
              <a:t>companii</a:t>
            </a:r>
            <a:r>
              <a:rPr lang="en-US" sz="1100" dirty="0">
                <a:solidFill>
                  <a:srgbClr val="2846A8"/>
                </a:solidFill>
                <a:latin typeface="Cambria" panose="02040503050406030204" pitchFamily="18" charset="0"/>
                <a:cs typeface="Arial" pitchFamily="34" charset="0"/>
              </a:rPr>
              <a:t> din Romania”, </a:t>
            </a:r>
            <a:r>
              <a:rPr lang="en-US" sz="1100" dirty="0" err="1">
                <a:solidFill>
                  <a:srgbClr val="2846A8"/>
                </a:solidFill>
                <a:latin typeface="Cambria" panose="02040503050406030204" pitchFamily="18" charset="0"/>
                <a:cs typeface="Arial" pitchFamily="34" charset="0"/>
              </a:rPr>
              <a:t>octombrie</a:t>
            </a:r>
            <a:r>
              <a:rPr lang="en-US" sz="1100" dirty="0">
                <a:solidFill>
                  <a:srgbClr val="2846A8"/>
                </a:solidFill>
                <a:latin typeface="Cambria" panose="02040503050406030204" pitchFamily="18" charset="0"/>
                <a:cs typeface="Arial" pitchFamily="34" charset="0"/>
              </a:rPr>
              <a:t> 2022</a:t>
            </a:r>
          </a:p>
          <a:p>
            <a:r>
              <a:rPr lang="en-US" sz="1100" dirty="0">
                <a:solidFill>
                  <a:srgbClr val="2846A8"/>
                </a:solidFill>
                <a:latin typeface="Cambria" panose="02040503050406030204" pitchFamily="18" charset="0"/>
                <a:cs typeface="Arial" pitchFamily="34" charset="0"/>
              </a:rPr>
              <a:t>Aerospace - Top </a:t>
            </a:r>
            <a:r>
              <a:rPr lang="en-US" sz="1100" dirty="0" err="1">
                <a:solidFill>
                  <a:srgbClr val="2846A8"/>
                </a:solidFill>
                <a:latin typeface="Cambria" panose="02040503050406030204" pitchFamily="18" charset="0"/>
                <a:cs typeface="Arial" pitchFamily="34" charset="0"/>
              </a:rPr>
              <a:t>Firme</a:t>
            </a:r>
            <a:r>
              <a:rPr lang="en-US" sz="1100" dirty="0">
                <a:solidFill>
                  <a:srgbClr val="2846A8"/>
                </a:solidFill>
                <a:latin typeface="Cambria" panose="02040503050406030204" pitchFamily="18" charset="0"/>
                <a:cs typeface="Arial" pitchFamily="34" charset="0"/>
              </a:rPr>
              <a:t> CAEN 3030</a:t>
            </a:r>
          </a:p>
          <a:p>
            <a:r>
              <a:rPr lang="ro-RO" sz="1100" dirty="0">
                <a:solidFill>
                  <a:srgbClr val="2846A8"/>
                </a:solidFill>
                <a:latin typeface="Cambria" panose="02040503050406030204" pitchFamily="18" charset="0"/>
                <a:cs typeface="Arial" pitchFamily="34" charset="0"/>
              </a:rPr>
              <a:t> </a:t>
            </a:r>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31</a:t>
            </a:fld>
            <a:endParaRPr lang="en-US" dirty="0"/>
          </a:p>
        </p:txBody>
      </p:sp>
    </p:spTree>
    <p:extLst>
      <p:ext uri="{BB962C8B-B14F-4D97-AF65-F5344CB8AC3E}">
        <p14:creationId xmlns:p14="http://schemas.microsoft.com/office/powerpoint/2010/main" val="6379365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35f391192_0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9" name="Google Shape;239;g35f391192_0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637514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35</a:t>
            </a:fld>
            <a:endParaRPr lang="en-US" dirty="0"/>
          </a:p>
        </p:txBody>
      </p:sp>
    </p:spTree>
    <p:extLst>
      <p:ext uri="{BB962C8B-B14F-4D97-AF65-F5344CB8AC3E}">
        <p14:creationId xmlns:p14="http://schemas.microsoft.com/office/powerpoint/2010/main" val="27430335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25" y="554038"/>
            <a:ext cx="4918075" cy="27670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573414" y="7008579"/>
            <a:ext cx="4264482" cy="369317"/>
          </a:xfrm>
          <a:prstGeom prst="rect">
            <a:avLst/>
          </a:prstGeom>
        </p:spPr>
        <p:txBody>
          <a:bodyPr/>
          <a:lstStyle/>
          <a:p>
            <a:fld id="{CA86CDFF-272B-4F57-88CB-988DA90BA8DA}" type="slidenum">
              <a:rPr lang="en-US" smtClean="0"/>
              <a:pPr/>
              <a:t>36</a:t>
            </a:fld>
            <a:endParaRPr lang="en-US" dirty="0"/>
          </a:p>
        </p:txBody>
      </p:sp>
    </p:spTree>
    <p:extLst>
      <p:ext uri="{BB962C8B-B14F-4D97-AF65-F5344CB8AC3E}">
        <p14:creationId xmlns:p14="http://schemas.microsoft.com/office/powerpoint/2010/main" val="39820883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35f391192_04: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5" name="Google Shape;205;g35f391192_04: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087942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35f391192_02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35f391192_02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139700" lvl="0" indent="0">
              <a:buNone/>
            </a:pPr>
            <a:r>
              <a:rPr lang="ro-RO" sz="1100" b="0" i="0" u="none" strike="noStrike" cap="none" dirty="0">
                <a:solidFill>
                  <a:srgbClr val="000000"/>
                </a:solidFill>
                <a:effectLst/>
                <a:latin typeface="Arial"/>
                <a:ea typeface="Arial"/>
                <a:cs typeface="Arial"/>
                <a:sym typeface="Arial"/>
              </a:rPr>
              <a:t>Conform previziunilor economice din toamna anului 2024 ale Comisiei Europene, pentru anul 2024 se preconizează că ritmul de creștere al PIB-ului real va scădea semnificativ, până la 1,4%. Consumul privat dinamic a susținut cererea internă și importurile, în timp ce creșterea exporturilor a rămas moderată. O redresare treptată a cererii externe, relaxarea condițiilor financiare și consumul și investițiile private rezistente sunt programate să accelereze creșterea de peste 2% în 2025 (2,5%) și în 2026 (2,9%) (Comisia Europeană – Prognoza de Toamnă, 15.11.2024).</a:t>
            </a:r>
          </a:p>
          <a:p>
            <a:pPr marL="139700" lvl="0" indent="0">
              <a:buNone/>
            </a:pPr>
            <a:endParaRPr lang="en-US" sz="1100" b="0" i="0" u="none" strike="noStrike" cap="none" dirty="0">
              <a:solidFill>
                <a:srgbClr val="000000"/>
              </a:solidFill>
              <a:effectLst/>
              <a:latin typeface="Arial"/>
              <a:ea typeface="Arial"/>
              <a:cs typeface="Arial"/>
              <a:sym typeface="Arial"/>
            </a:endParaRPr>
          </a:p>
          <a:p>
            <a:pPr marL="139700" lvl="0" indent="0">
              <a:buNone/>
            </a:pPr>
            <a:r>
              <a:rPr lang="ro-RO" sz="1100" b="0" i="0" u="none" strike="noStrike" cap="none" dirty="0">
                <a:solidFill>
                  <a:srgbClr val="000000"/>
                </a:solidFill>
                <a:effectLst/>
                <a:latin typeface="Arial"/>
                <a:ea typeface="Arial"/>
                <a:cs typeface="Arial"/>
                <a:sym typeface="Arial"/>
              </a:rPr>
              <a:t>According to the Autumn Economic Forecast 2024 of the European Commission, in 2024, real GDP growth is expected to decelerate markedly to 1.4%. Buoyant private consumption supported domestic demand and imports, while export growth remained subdued. A gradual recovery in external demand, easing of financial conditions and resilient private consumption and investment are set to accelerate growth above 2% in 2025 (2.5%) and in 2026 (2.9%). (EC - Autumn 2024 Economic Forecast, 15 November 2024).</a:t>
            </a:r>
            <a:endParaRPr lang="en-US" sz="1100" b="0" i="0" u="none" strike="noStrike" cap="none" dirty="0">
              <a:solidFill>
                <a:srgbClr val="000000"/>
              </a:solidFill>
              <a:effectLst/>
              <a:latin typeface="Arial"/>
              <a:ea typeface="Arial"/>
              <a:cs typeface="Arial"/>
              <a:sym typeface="Arial"/>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28787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35f391192_02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35f391192_02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100" b="1" i="0" u="none" strike="noStrike" kern="1200" cap="none" dirty="0">
                <a:solidFill>
                  <a:schemeClr val="tx1"/>
                </a:solidFill>
                <a:effectLst/>
                <a:latin typeface="Arial"/>
                <a:ea typeface="Arial"/>
                <a:cs typeface="Arial"/>
                <a:sym typeface="Arial"/>
              </a:rPr>
              <a:t>Last update </a:t>
            </a:r>
            <a:r>
              <a:rPr lang="ro-RO" sz="1100" b="1" i="0" u="none" strike="noStrike" kern="1200" cap="none" dirty="0">
                <a:solidFill>
                  <a:schemeClr val="tx1"/>
                </a:solidFill>
                <a:effectLst/>
                <a:latin typeface="Arial"/>
                <a:ea typeface="Arial"/>
                <a:cs typeface="Arial"/>
                <a:sym typeface="Arial"/>
              </a:rPr>
              <a:t>14 January 2025</a:t>
            </a:r>
            <a:r>
              <a:rPr lang="en-US" sz="1100" b="1" i="0" u="none" strike="noStrike" kern="1200" cap="none" dirty="0">
                <a:solidFill>
                  <a:schemeClr val="tx1"/>
                </a:solidFill>
                <a:effectLst/>
                <a:latin typeface="Arial"/>
                <a:ea typeface="Arial"/>
                <a:cs typeface="Arial"/>
                <a:sym typeface="Arial"/>
              </a:rPr>
              <a:t> - </a:t>
            </a:r>
            <a:r>
              <a:rPr lang="ro-RO" sz="1100" b="0" dirty="0">
                <a:solidFill>
                  <a:srgbClr val="2846A8"/>
                </a:solidFill>
                <a:latin typeface="Cambria" panose="02040503050406030204" pitchFamily="18" charset="0"/>
              </a:rPr>
              <a:t>National Commission of  </a:t>
            </a:r>
            <a:r>
              <a:rPr lang="en-US" sz="1100" b="0" dirty="0">
                <a:solidFill>
                  <a:srgbClr val="2846A8"/>
                </a:solidFill>
                <a:latin typeface="Cambria" panose="02040503050406030204" pitchFamily="18" charset="0"/>
              </a:rPr>
              <a:t>Strategy</a:t>
            </a:r>
            <a:r>
              <a:rPr lang="ro-RO" sz="1100" b="0" dirty="0">
                <a:solidFill>
                  <a:srgbClr val="2846A8"/>
                </a:solidFill>
                <a:latin typeface="Cambria" panose="02040503050406030204" pitchFamily="18" charset="0"/>
              </a:rPr>
              <a:t> and</a:t>
            </a:r>
            <a:r>
              <a:rPr lang="en-US" sz="1100" b="0" dirty="0">
                <a:solidFill>
                  <a:srgbClr val="2846A8"/>
                </a:solidFill>
                <a:latin typeface="Cambria" panose="02040503050406030204" pitchFamily="18" charset="0"/>
              </a:rPr>
              <a:t> P</a:t>
            </a:r>
            <a:r>
              <a:rPr lang="ro-RO" sz="1100" b="0" dirty="0">
                <a:solidFill>
                  <a:srgbClr val="2846A8"/>
                </a:solidFill>
                <a:latin typeface="Cambria" panose="02040503050406030204" pitchFamily="18" charset="0"/>
              </a:rPr>
              <a:t>rognosis</a:t>
            </a:r>
            <a:r>
              <a:rPr lang="en-US" sz="1100" b="0" dirty="0">
                <a:solidFill>
                  <a:srgbClr val="2846A8"/>
                </a:solidFill>
                <a:latin typeface="Cambria" panose="02040503050406030204" pitchFamily="18" charset="0"/>
              </a:rPr>
              <a:t> – </a:t>
            </a:r>
            <a:r>
              <a:rPr lang="ro-RO" sz="1100" b="0" dirty="0">
                <a:solidFill>
                  <a:srgbClr val="2846A8"/>
                </a:solidFill>
                <a:latin typeface="Cambria" panose="02040503050406030204" pitchFamily="18" charset="0"/>
              </a:rPr>
              <a:t>Autumn </a:t>
            </a:r>
            <a:r>
              <a:rPr lang="en-US" sz="1100" b="0" dirty="0">
                <a:solidFill>
                  <a:srgbClr val="2846A8"/>
                </a:solidFill>
                <a:latin typeface="Cambria" panose="02040503050406030204" pitchFamily="18" charset="0"/>
              </a:rPr>
              <a:t>202</a:t>
            </a:r>
            <a:r>
              <a:rPr lang="ro-RO" sz="1100" b="0" dirty="0">
                <a:solidFill>
                  <a:srgbClr val="2846A8"/>
                </a:solidFill>
                <a:latin typeface="Cambria" panose="02040503050406030204" pitchFamily="18" charset="0"/>
              </a:rPr>
              <a:t>4 </a:t>
            </a:r>
            <a:r>
              <a:rPr lang="en-US" sz="1100" b="0" dirty="0">
                <a:solidFill>
                  <a:srgbClr val="2846A8"/>
                </a:solidFill>
                <a:latin typeface="Cambria" panose="02040503050406030204" pitchFamily="18" charset="0"/>
              </a:rPr>
              <a:t>Forecast </a:t>
            </a:r>
            <a:r>
              <a:rPr lang="ro-RO" sz="1100" b="0" dirty="0">
                <a:solidFill>
                  <a:srgbClr val="2846A8"/>
                </a:solidFill>
                <a:latin typeface="Cambria" panose="02040503050406030204" pitchFamily="18" charset="0"/>
              </a:rPr>
              <a:t>(</a:t>
            </a:r>
            <a:r>
              <a:rPr lang="ro-RO" dirty="0"/>
              <a:t>aparuta in </a:t>
            </a:r>
            <a:r>
              <a:rPr lang="en-US" dirty="0" err="1"/>
              <a:t>Decembrie</a:t>
            </a:r>
            <a:r>
              <a:rPr lang="en-US" dirty="0"/>
              <a:t> 2024</a:t>
            </a:r>
            <a:r>
              <a:rPr lang="ro-RO" dirty="0"/>
              <a:t>)</a:t>
            </a:r>
            <a:endParaRPr lang="en-US" sz="1100" b="1" i="0" u="none" strike="noStrike" kern="1200" cap="none" dirty="0">
              <a:solidFill>
                <a:schemeClr val="tx1"/>
              </a:solidFill>
              <a:effectLst/>
              <a:latin typeface="Arial"/>
              <a:ea typeface="Arial"/>
              <a:cs typeface="Arial"/>
              <a:sym typeface="Arial"/>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3505130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35f391192_02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35f391192_02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US" sz="1100" b="1" i="0" u="none" strike="noStrike" cap="none" dirty="0">
                <a:solidFill>
                  <a:srgbClr val="000000"/>
                </a:solidFill>
                <a:effectLst/>
                <a:latin typeface="Arial"/>
                <a:ea typeface="Arial"/>
                <a:cs typeface="Arial"/>
                <a:sym typeface="Arial"/>
              </a:rPr>
              <a:t>Minimum wage statistics</a:t>
            </a:r>
            <a:r>
              <a:rPr lang="ro-RO" sz="1100" b="1" i="0" u="none" strike="noStrike" cap="none" dirty="0">
                <a:solidFill>
                  <a:srgbClr val="000000"/>
                </a:solidFill>
                <a:effectLst/>
                <a:latin typeface="Arial"/>
                <a:ea typeface="Arial"/>
                <a:cs typeface="Arial"/>
                <a:sym typeface="Arial"/>
              </a:rPr>
              <a:t> EUROSTAT</a:t>
            </a:r>
            <a:endParaRPr lang="en-US" sz="1100" b="1" i="0" u="none" strike="noStrike" cap="none" dirty="0">
              <a:solidFill>
                <a:srgbClr val="000000"/>
              </a:solidFill>
              <a:effectLst/>
              <a:latin typeface="Arial"/>
              <a:ea typeface="Arial"/>
              <a:cs typeface="Arial"/>
              <a:sym typeface="Arial"/>
            </a:endParaRPr>
          </a:p>
          <a:p>
            <a:r>
              <a:rPr lang="ro-RO" sz="1100" b="1" i="0" u="none" strike="noStrike" cap="none" dirty="0">
                <a:solidFill>
                  <a:srgbClr val="000000"/>
                </a:solidFill>
                <a:effectLst/>
                <a:latin typeface="Arial"/>
                <a:ea typeface="Arial"/>
                <a:cs typeface="Arial"/>
                <a:sym typeface="Arial"/>
              </a:rPr>
              <a:t>https://ec.europa.eu/eurostat/statistics-explained/index.php?title=Minimum_wage_statistics</a:t>
            </a:r>
          </a:p>
          <a:p>
            <a:r>
              <a:rPr lang="en-US" sz="1100" b="1" i="0" u="none" strike="noStrike" cap="none" dirty="0">
                <a:solidFill>
                  <a:srgbClr val="000000"/>
                </a:solidFill>
                <a:effectLst/>
                <a:latin typeface="Arial"/>
                <a:ea typeface="Arial"/>
                <a:cs typeface="Arial"/>
                <a:sym typeface="Arial"/>
              </a:rPr>
              <a:t>Data extracted in July 2024. </a:t>
            </a:r>
          </a:p>
          <a:p>
            <a:r>
              <a:rPr lang="en-US" sz="1100" b="1" i="0" u="none" strike="noStrike" cap="none" dirty="0">
                <a:solidFill>
                  <a:srgbClr val="000000"/>
                </a:solidFill>
                <a:effectLst/>
                <a:latin typeface="Arial"/>
                <a:ea typeface="Arial"/>
                <a:cs typeface="Arial"/>
                <a:sym typeface="Arial"/>
              </a:rPr>
              <a:t>Planned article update: 31 January 2025.</a:t>
            </a:r>
          </a:p>
          <a:p>
            <a:endParaRPr lang="ro-RO" sz="1100" b="1" i="0" u="none" strike="noStrike" cap="none" dirty="0">
              <a:solidFill>
                <a:srgbClr val="000000"/>
              </a:solidFill>
              <a:effectLst/>
              <a:latin typeface="Arial"/>
              <a:ea typeface="Arial"/>
              <a:cs typeface="Arial"/>
              <a:sym typeface="Arial"/>
            </a:endParaRPr>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ro-RO" sz="1100" b="0" i="0" u="none" strike="noStrike" cap="none" dirty="0">
                <a:solidFill>
                  <a:srgbClr val="000000"/>
                </a:solidFill>
                <a:effectLst/>
                <a:latin typeface="Arial"/>
                <a:ea typeface="Arial"/>
                <a:cs typeface="Arial"/>
                <a:sym typeface="Arial"/>
              </a:rPr>
              <a:t>Starting January 1st, 2025, the gross national guaranteed minimum wage in payment is 4,050 lei/month. In the construction sector, where the gross national guaranteed minimum wage is lei 4,582/per month (without including allowances, bonuses and other additions) GDO 156/2024).</a:t>
            </a:r>
            <a:endParaRPr lang="en-US" sz="1100" b="0" i="0" u="none" strike="noStrike" cap="none" dirty="0">
              <a:solidFill>
                <a:srgbClr val="000000"/>
              </a:solidFill>
              <a:effectLst/>
              <a:latin typeface="Arial"/>
              <a:ea typeface="Arial"/>
              <a:cs typeface="Arial"/>
              <a:sym typeface="Arial"/>
            </a:endParaRPr>
          </a:p>
        </p:txBody>
      </p:sp>
    </p:spTree>
    <p:extLst>
      <p:ext uri="{BB962C8B-B14F-4D97-AF65-F5344CB8AC3E}">
        <p14:creationId xmlns:p14="http://schemas.microsoft.com/office/powerpoint/2010/main" val="2344137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35f391192_02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35f391192_02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sz="1100" b="0" i="0" u="none" strike="noStrike" cap="none" dirty="0">
                <a:solidFill>
                  <a:srgbClr val="000000"/>
                </a:solidFill>
                <a:effectLst/>
                <a:latin typeface="Arial"/>
                <a:ea typeface="Arial"/>
                <a:cs typeface="Arial"/>
                <a:sym typeface="Arial"/>
              </a:rPr>
              <a:t>United Nations Conference on Trade and Development (UNCTAD)</a:t>
            </a:r>
            <a:endParaRPr lang="ro-RO" sz="1100" b="0" i="0" u="none" strike="noStrike" cap="none" dirty="0">
              <a:solidFill>
                <a:srgbClr val="000000"/>
              </a:solidFill>
              <a:effectLst/>
              <a:latin typeface="Arial"/>
              <a:ea typeface="Arial"/>
              <a:cs typeface="Arial"/>
              <a:sym typeface="Arial"/>
            </a:endParaRPr>
          </a:p>
          <a:p>
            <a:pPr marL="139700" indent="0">
              <a:buNone/>
            </a:pPr>
            <a:r>
              <a:rPr lang="en-US" sz="1100" b="1" i="0" u="none" strike="noStrike" cap="none" dirty="0">
                <a:solidFill>
                  <a:srgbClr val="000000"/>
                </a:solidFill>
                <a:effectLst/>
                <a:latin typeface="Arial"/>
                <a:ea typeface="Arial"/>
                <a:cs typeface="Arial"/>
                <a:sym typeface="Arial"/>
              </a:rPr>
              <a:t>Agency/Department</a:t>
            </a:r>
            <a:r>
              <a:rPr lang="ro-RO" sz="1100" b="1" i="0" u="none" strike="noStrike" cap="none" dirty="0">
                <a:solidFill>
                  <a:srgbClr val="000000"/>
                </a:solidFill>
                <a:effectLst/>
                <a:latin typeface="Arial"/>
                <a:ea typeface="Arial"/>
                <a:cs typeface="Arial"/>
                <a:sym typeface="Arial"/>
              </a:rPr>
              <a:t> - </a:t>
            </a:r>
            <a:r>
              <a:rPr lang="en-US" sz="1100" b="0" i="0" u="none" strike="noStrike" cap="none" dirty="0">
                <a:solidFill>
                  <a:srgbClr val="000000"/>
                </a:solidFill>
                <a:effectLst/>
                <a:latin typeface="Arial"/>
                <a:ea typeface="Arial"/>
                <a:cs typeface="Arial"/>
                <a:sym typeface="Arial"/>
              </a:rPr>
              <a:t>UNCTAD/Division on Investment and Enterprise (DIAE)</a:t>
            </a:r>
          </a:p>
          <a:p>
            <a:r>
              <a:rPr lang="en-US" sz="1100" b="1" i="0" u="none" strike="noStrike" cap="none" dirty="0">
                <a:solidFill>
                  <a:srgbClr val="000000"/>
                </a:solidFill>
                <a:effectLst/>
                <a:latin typeface="Arial"/>
                <a:ea typeface="Arial"/>
                <a:cs typeface="Arial"/>
                <a:sym typeface="Arial"/>
              </a:rPr>
              <a:t>Print Publication Date</a:t>
            </a:r>
            <a:r>
              <a:rPr lang="ro-RO" sz="1100" b="1" i="0" u="none" strike="noStrike" cap="none" dirty="0">
                <a:solidFill>
                  <a:srgbClr val="000000"/>
                </a:solidFill>
                <a:effectLst/>
                <a:latin typeface="Arial"/>
                <a:ea typeface="Arial"/>
                <a:cs typeface="Arial"/>
                <a:sym typeface="Arial"/>
              </a:rPr>
              <a:t> - </a:t>
            </a:r>
            <a:r>
              <a:rPr lang="en-US" sz="1100" b="0" i="0" u="none" strike="noStrike" cap="none" dirty="0">
                <a:solidFill>
                  <a:srgbClr val="000000"/>
                </a:solidFill>
                <a:effectLst/>
                <a:latin typeface="Arial"/>
                <a:ea typeface="Arial"/>
                <a:cs typeface="Arial"/>
                <a:sym typeface="Arial"/>
              </a:rPr>
              <a:t>September 2024</a:t>
            </a:r>
          </a:p>
          <a:p>
            <a:r>
              <a:rPr lang="en-US" sz="1100" b="1" i="0" u="none" strike="noStrike" cap="none" dirty="0">
                <a:solidFill>
                  <a:srgbClr val="000000"/>
                </a:solidFill>
                <a:effectLst/>
                <a:latin typeface="Arial"/>
                <a:ea typeface="Arial"/>
                <a:cs typeface="Arial"/>
                <a:sym typeface="Arial"/>
              </a:rPr>
              <a:t>PDF Publication Date</a:t>
            </a:r>
            <a:r>
              <a:rPr lang="ro-RO" sz="1100" b="1" i="0" u="none" strike="noStrike" cap="none" dirty="0">
                <a:solidFill>
                  <a:srgbClr val="000000"/>
                </a:solidFill>
                <a:effectLst/>
                <a:latin typeface="Arial"/>
                <a:ea typeface="Arial"/>
                <a:cs typeface="Arial"/>
                <a:sym typeface="Arial"/>
              </a:rPr>
              <a:t> - </a:t>
            </a:r>
            <a:r>
              <a:rPr lang="en-US" sz="1100" b="0" i="0" u="none" strike="noStrike" cap="none" dirty="0">
                <a:solidFill>
                  <a:srgbClr val="000000"/>
                </a:solidFill>
                <a:effectLst/>
                <a:latin typeface="Arial"/>
                <a:ea typeface="Arial"/>
                <a:cs typeface="Arial"/>
                <a:sym typeface="Arial"/>
              </a:rPr>
              <a:t>June 2024</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57966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Google Shape;244;p: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5" name="Google Shape;245;p: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r>
              <a:rPr lang="en-US" sz="1100" dirty="0">
                <a:solidFill>
                  <a:srgbClr val="545558"/>
                </a:solidFill>
                <a:latin typeface="Cambria" panose="02040503050406030204" pitchFamily="18" charset="0"/>
              </a:rPr>
              <a:t>FDI stock was channeled primarily to </a:t>
            </a:r>
            <a:r>
              <a:rPr lang="en-US" sz="1100" b="0" i="0" u="none" strike="noStrike" cap="none" dirty="0">
                <a:solidFill>
                  <a:srgbClr val="000000"/>
                </a:solidFill>
                <a:effectLst/>
                <a:latin typeface="Arial"/>
                <a:ea typeface="Arial"/>
                <a:cs typeface="Arial"/>
                <a:sym typeface="Arial"/>
              </a:rPr>
              <a:t>manufacturing (30.2% of total FDI). Out of this the largest recipients were: </a:t>
            </a:r>
          </a:p>
          <a:p>
            <a:r>
              <a:rPr lang="en-US" sz="1100" b="0" i="0" u="none" strike="noStrike" cap="none" dirty="0">
                <a:solidFill>
                  <a:srgbClr val="000000"/>
                </a:solidFill>
                <a:effectLst/>
                <a:latin typeface="Arial"/>
                <a:ea typeface="Arial"/>
                <a:cs typeface="Arial"/>
                <a:sym typeface="Arial"/>
              </a:rPr>
              <a:t>• 22.1% transport equipment </a:t>
            </a:r>
          </a:p>
          <a:p>
            <a:r>
              <a:rPr lang="en-US" sz="1100" b="0" i="0" u="none" strike="noStrike" cap="none" dirty="0">
                <a:solidFill>
                  <a:srgbClr val="000000"/>
                </a:solidFill>
                <a:effectLst/>
                <a:latin typeface="Arial"/>
                <a:ea typeface="Arial"/>
                <a:cs typeface="Arial"/>
                <a:sym typeface="Arial"/>
              </a:rPr>
              <a:t>•21.1% oil processing, chemical, rubber &amp; plastic products</a:t>
            </a:r>
          </a:p>
          <a:p>
            <a:r>
              <a:rPr lang="en-US" sz="1100" b="0" i="0" u="none" strike="noStrike" cap="none" dirty="0">
                <a:solidFill>
                  <a:srgbClr val="000000"/>
                </a:solidFill>
                <a:effectLst/>
                <a:latin typeface="Arial"/>
                <a:ea typeface="Arial"/>
                <a:cs typeface="Arial"/>
                <a:sym typeface="Arial"/>
              </a:rPr>
              <a:t>• 12.2% food, beverages and tobacco</a:t>
            </a:r>
          </a:p>
          <a:p>
            <a:r>
              <a:rPr lang="en-US" sz="1100" b="0" i="0" u="none" strike="noStrike" cap="none" dirty="0">
                <a:solidFill>
                  <a:srgbClr val="000000"/>
                </a:solidFill>
                <a:effectLst/>
                <a:latin typeface="Arial"/>
                <a:ea typeface="Arial"/>
                <a:cs typeface="Arial"/>
                <a:sym typeface="Arial"/>
              </a:rPr>
              <a:t>Apart from industry, other activities that also attracted significant FDI are: </a:t>
            </a:r>
          </a:p>
          <a:p>
            <a:r>
              <a:rPr lang="en-US" sz="1100" b="0" i="0" u="none" strike="noStrike" cap="none" dirty="0">
                <a:solidFill>
                  <a:srgbClr val="000000"/>
                </a:solidFill>
                <a:effectLst/>
                <a:latin typeface="Arial"/>
                <a:ea typeface="Arial"/>
                <a:cs typeface="Arial"/>
                <a:sym typeface="Arial"/>
              </a:rPr>
              <a:t>• 17.7% construction &amp; real estate transactions</a:t>
            </a:r>
          </a:p>
          <a:p>
            <a:r>
              <a:rPr lang="en-US" sz="1100" b="0" i="0" u="none" strike="noStrike" cap="none" dirty="0">
                <a:solidFill>
                  <a:srgbClr val="000000"/>
                </a:solidFill>
                <a:effectLst/>
                <a:latin typeface="Arial"/>
                <a:ea typeface="Arial"/>
                <a:cs typeface="Arial"/>
                <a:sym typeface="Arial"/>
              </a:rPr>
              <a:t>• 17.2% trade</a:t>
            </a:r>
          </a:p>
          <a:p>
            <a:r>
              <a:rPr lang="en-US" sz="1100" b="0" i="0" u="none" strike="noStrike" cap="none" dirty="0">
                <a:solidFill>
                  <a:srgbClr val="000000"/>
                </a:solidFill>
                <a:effectLst/>
                <a:latin typeface="Arial"/>
                <a:ea typeface="Arial"/>
                <a:cs typeface="Arial"/>
                <a:sym typeface="Arial"/>
              </a:rPr>
              <a:t>• 13.2% financial intermediation &amp; insurance</a:t>
            </a:r>
          </a:p>
          <a:p>
            <a:pPr marL="0" lvl="0" indent="0" algn="l" rtl="0">
              <a:spcBef>
                <a:spcPts val="0"/>
              </a:spcBef>
              <a:spcAft>
                <a:spcPts val="0"/>
              </a:spcAft>
              <a:buNone/>
            </a:pPr>
            <a:endParaRPr lang="en-US" dirty="0"/>
          </a:p>
          <a:p>
            <a:pPr marL="0" lvl="0" indent="0" algn="l" rtl="0">
              <a:spcBef>
                <a:spcPts val="0"/>
              </a:spcBef>
              <a:spcAft>
                <a:spcPts val="0"/>
              </a:spcAft>
              <a:buNone/>
            </a:pPr>
            <a:r>
              <a:rPr lang="en-US" b="1" dirty="0"/>
              <a:t>FDI position as a share in GDP in 2021: </a:t>
            </a:r>
          </a:p>
          <a:p>
            <a:pPr marL="0" lvl="0" indent="0" algn="l" rtl="0">
              <a:spcBef>
                <a:spcPts val="0"/>
              </a:spcBef>
              <a:spcAft>
                <a:spcPts val="0"/>
              </a:spcAft>
              <a:buNone/>
            </a:pPr>
            <a:r>
              <a:rPr lang="en-US" dirty="0"/>
              <a:t>Sold ISD/PIB</a:t>
            </a:r>
            <a:r>
              <a:rPr lang="en-US" baseline="0" dirty="0"/>
              <a:t> = 41.8%</a:t>
            </a:r>
          </a:p>
          <a:p>
            <a:pPr marL="0" lvl="0" indent="0" algn="l" rtl="0">
              <a:spcBef>
                <a:spcPts val="0"/>
              </a:spcBef>
              <a:spcAft>
                <a:spcPts val="0"/>
              </a:spcAft>
              <a:buNone/>
            </a:pPr>
            <a:endParaRPr lang="en-US" baseline="0" dirty="0"/>
          </a:p>
          <a:p>
            <a:pPr marL="0" lvl="0" indent="0" algn="l" rtl="0">
              <a:spcBef>
                <a:spcPts val="0"/>
              </a:spcBef>
              <a:spcAft>
                <a:spcPts val="0"/>
              </a:spcAft>
              <a:buNone/>
            </a:pPr>
            <a:r>
              <a:rPr lang="en-US" baseline="0" dirty="0"/>
              <a:t>FDI flows/GDP = 3.7%</a:t>
            </a:r>
          </a:p>
          <a:p>
            <a:pPr marL="0" lvl="0" indent="0" algn="l" rtl="0">
              <a:spcBef>
                <a:spcPts val="0"/>
              </a:spcBef>
              <a:spcAft>
                <a:spcPts val="0"/>
              </a:spcAft>
              <a:buNone/>
            </a:pPr>
            <a:endParaRPr lang="en-US" baseline="0" dirty="0"/>
          </a:p>
          <a:p>
            <a:pPr marL="0" lvl="0" indent="0" algn="l" rtl="0">
              <a:spcBef>
                <a:spcPts val="0"/>
              </a:spcBef>
              <a:spcAft>
                <a:spcPts val="0"/>
              </a:spcAft>
              <a:buNone/>
            </a:pPr>
            <a:r>
              <a:rPr lang="en-US" b="1" dirty="0"/>
              <a:t>Breakdown of FDI enterprises in manufacturing by technological intensity in 2021</a:t>
            </a:r>
          </a:p>
          <a:p>
            <a:pPr marL="0" lvl="0" indent="0" algn="l" rtl="0">
              <a:spcBef>
                <a:spcPts val="0"/>
              </a:spcBef>
              <a:spcAft>
                <a:spcPts val="0"/>
              </a:spcAft>
              <a:buNone/>
            </a:pPr>
            <a:r>
              <a:rPr lang="en-US" dirty="0"/>
              <a:t>High-technology industries: 5.6%</a:t>
            </a:r>
          </a:p>
          <a:p>
            <a:pPr marL="0" lvl="0" indent="0" algn="l" rtl="0">
              <a:spcBef>
                <a:spcPts val="0"/>
              </a:spcBef>
              <a:spcAft>
                <a:spcPts val="0"/>
              </a:spcAft>
              <a:buNone/>
            </a:pPr>
            <a:r>
              <a:rPr lang="en-US" dirty="0"/>
              <a:t>	– Manufacture of basic pharmaceutical products and pharmaceutical preparations </a:t>
            </a:r>
          </a:p>
          <a:p>
            <a:pPr marL="0" lvl="0" indent="0" algn="l" rtl="0">
              <a:spcBef>
                <a:spcPts val="0"/>
              </a:spcBef>
              <a:spcAft>
                <a:spcPts val="0"/>
              </a:spcAft>
              <a:buNone/>
            </a:pPr>
            <a:r>
              <a:rPr lang="en-US" dirty="0"/>
              <a:t>	– Manufacture of computer, electronic and optical products</a:t>
            </a:r>
            <a:endParaRPr lang="en-US" b="1" dirty="0"/>
          </a:p>
          <a:p>
            <a:pPr marL="0" lvl="0" indent="0" algn="l" rtl="0">
              <a:spcBef>
                <a:spcPts val="0"/>
              </a:spcBef>
              <a:spcAft>
                <a:spcPts val="0"/>
              </a:spcAft>
              <a:buNone/>
            </a:pPr>
            <a:endParaRPr lang="en-US" b="1" dirty="0"/>
          </a:p>
          <a:p>
            <a:pPr marL="0" lvl="0" indent="0" algn="l" rtl="0">
              <a:spcBef>
                <a:spcPts val="0"/>
              </a:spcBef>
              <a:spcAft>
                <a:spcPts val="0"/>
              </a:spcAft>
              <a:buNone/>
            </a:pPr>
            <a:r>
              <a:rPr lang="en-US" dirty="0"/>
              <a:t>Medium-high-technology industries: 44.3%</a:t>
            </a:r>
          </a:p>
          <a:p>
            <a:pPr marL="0" lvl="0" indent="0" algn="l" rtl="0">
              <a:spcBef>
                <a:spcPts val="0"/>
              </a:spcBef>
              <a:spcAft>
                <a:spcPts val="0"/>
              </a:spcAft>
              <a:buNone/>
            </a:pPr>
            <a:r>
              <a:rPr lang="en-US" dirty="0"/>
              <a:t>	– Manufacture of chemicals and chemical products </a:t>
            </a:r>
          </a:p>
          <a:p>
            <a:pPr marL="0" lvl="0" indent="0" algn="l" rtl="0">
              <a:spcBef>
                <a:spcPts val="0"/>
              </a:spcBef>
              <a:spcAft>
                <a:spcPts val="0"/>
              </a:spcAft>
              <a:buNone/>
            </a:pPr>
            <a:r>
              <a:rPr lang="en-US" dirty="0"/>
              <a:t>	– Manufacture of electrical equipment </a:t>
            </a:r>
          </a:p>
          <a:p>
            <a:pPr marL="0" lvl="0" indent="0" algn="l" rtl="0">
              <a:spcBef>
                <a:spcPts val="0"/>
              </a:spcBef>
              <a:spcAft>
                <a:spcPts val="0"/>
              </a:spcAft>
              <a:buNone/>
            </a:pPr>
            <a:r>
              <a:rPr lang="en-US" dirty="0"/>
              <a:t>	– Manufacture of machinery and equipment </a:t>
            </a:r>
            <a:r>
              <a:rPr lang="en-US" dirty="0" err="1"/>
              <a:t>n.e.c</a:t>
            </a:r>
            <a:r>
              <a:rPr lang="en-US" dirty="0"/>
              <a:t>. </a:t>
            </a:r>
          </a:p>
          <a:p>
            <a:pPr marL="0" lvl="0" indent="0" algn="l" rtl="0">
              <a:spcBef>
                <a:spcPts val="0"/>
              </a:spcBef>
              <a:spcAft>
                <a:spcPts val="0"/>
              </a:spcAft>
              <a:buNone/>
            </a:pPr>
            <a:r>
              <a:rPr lang="en-US" dirty="0"/>
              <a:t>	– Manufacture of motor vehicles, trailers and semi-trailers </a:t>
            </a:r>
          </a:p>
          <a:p>
            <a:pPr marL="0" lvl="0" indent="0" algn="l" rtl="0">
              <a:spcBef>
                <a:spcPts val="0"/>
              </a:spcBef>
              <a:spcAft>
                <a:spcPts val="0"/>
              </a:spcAft>
              <a:buNone/>
            </a:pPr>
            <a:r>
              <a:rPr lang="en-US" dirty="0"/>
              <a:t>	– Manufacture of other transport equipment</a:t>
            </a:r>
            <a:endParaRPr lang="en-US" b="1" dirty="0"/>
          </a:p>
          <a:p>
            <a:pPr marL="0" lvl="0" indent="0" algn="l" rtl="0">
              <a:spcBef>
                <a:spcPts val="0"/>
              </a:spcBef>
              <a:spcAft>
                <a:spcPts val="0"/>
              </a:spcAft>
              <a:buNone/>
            </a:pPr>
            <a:r>
              <a:rPr lang="en-US" dirty="0"/>
              <a:t>Medium-low-technology industries: 27.9%</a:t>
            </a:r>
          </a:p>
          <a:p>
            <a:pPr marL="0" lvl="0" indent="0" algn="l" rtl="0">
              <a:spcBef>
                <a:spcPts val="0"/>
              </a:spcBef>
              <a:spcAft>
                <a:spcPts val="0"/>
              </a:spcAft>
              <a:buNone/>
            </a:pPr>
            <a:r>
              <a:rPr lang="en-US" dirty="0"/>
              <a:t>	– Manufacture of coke and refined petroleum products </a:t>
            </a:r>
          </a:p>
          <a:p>
            <a:pPr marL="0" lvl="0" indent="0" algn="l" rtl="0">
              <a:spcBef>
                <a:spcPts val="0"/>
              </a:spcBef>
              <a:spcAft>
                <a:spcPts val="0"/>
              </a:spcAft>
              <a:buNone/>
            </a:pPr>
            <a:r>
              <a:rPr lang="en-US" dirty="0"/>
              <a:t>	– Manufacture of rubber and plastic products 	</a:t>
            </a:r>
          </a:p>
          <a:p>
            <a:pPr marL="0" lvl="0" indent="0" algn="l" rtl="0">
              <a:spcBef>
                <a:spcPts val="0"/>
              </a:spcBef>
              <a:spcAft>
                <a:spcPts val="0"/>
              </a:spcAft>
              <a:buNone/>
            </a:pPr>
            <a:r>
              <a:rPr lang="en-US" dirty="0"/>
              <a:t>	– Manufacture of other non-metallic mineral products </a:t>
            </a:r>
          </a:p>
          <a:p>
            <a:pPr marL="0" lvl="0" indent="0" algn="l" rtl="0">
              <a:spcBef>
                <a:spcPts val="0"/>
              </a:spcBef>
              <a:spcAft>
                <a:spcPts val="0"/>
              </a:spcAft>
              <a:buNone/>
            </a:pPr>
            <a:r>
              <a:rPr lang="en-US" dirty="0"/>
              <a:t>	– Manufacture of basic metals </a:t>
            </a:r>
          </a:p>
          <a:p>
            <a:pPr marL="0" lvl="0" indent="0" algn="l" rtl="0">
              <a:spcBef>
                <a:spcPts val="0"/>
              </a:spcBef>
              <a:spcAft>
                <a:spcPts val="0"/>
              </a:spcAft>
              <a:buNone/>
            </a:pPr>
            <a:r>
              <a:rPr lang="en-US" dirty="0"/>
              <a:t>	– Manufacture of fabricated metal products, except machinery and equipment </a:t>
            </a:r>
          </a:p>
          <a:p>
            <a:pPr marL="0" lvl="0" indent="0" algn="l" rtl="0">
              <a:spcBef>
                <a:spcPts val="0"/>
              </a:spcBef>
              <a:spcAft>
                <a:spcPts val="0"/>
              </a:spcAft>
              <a:buNone/>
            </a:pPr>
            <a:r>
              <a:rPr lang="en-US" dirty="0"/>
              <a:t>	– Repair and installation of machinery and equipment</a:t>
            </a:r>
            <a:endParaRPr lang="en-US" b="1" dirty="0"/>
          </a:p>
          <a:p>
            <a:pPr marL="0" lvl="0" indent="0" algn="l" rtl="0">
              <a:spcBef>
                <a:spcPts val="0"/>
              </a:spcBef>
              <a:spcAft>
                <a:spcPts val="0"/>
              </a:spcAft>
              <a:buNone/>
            </a:pPr>
            <a:r>
              <a:rPr lang="en-US" dirty="0"/>
              <a:t>Low-technology industries: 22.2%</a:t>
            </a:r>
          </a:p>
          <a:p>
            <a:pPr marL="0" lvl="0" indent="0" algn="l" rtl="0">
              <a:spcBef>
                <a:spcPts val="0"/>
              </a:spcBef>
              <a:spcAft>
                <a:spcPts val="0"/>
              </a:spcAft>
              <a:buNone/>
            </a:pPr>
            <a:r>
              <a:rPr lang="en-US" dirty="0"/>
              <a:t>	– Manufacture of food products </a:t>
            </a:r>
          </a:p>
          <a:p>
            <a:pPr marL="0" lvl="0" indent="0" algn="l" rtl="0">
              <a:spcBef>
                <a:spcPts val="0"/>
              </a:spcBef>
              <a:spcAft>
                <a:spcPts val="0"/>
              </a:spcAft>
              <a:buNone/>
            </a:pPr>
            <a:r>
              <a:rPr lang="en-US" dirty="0"/>
              <a:t>	– Manufacture of beverages </a:t>
            </a:r>
          </a:p>
          <a:p>
            <a:pPr marL="0" lvl="0" indent="0" algn="l" rtl="0">
              <a:spcBef>
                <a:spcPts val="0"/>
              </a:spcBef>
              <a:spcAft>
                <a:spcPts val="0"/>
              </a:spcAft>
              <a:buNone/>
            </a:pPr>
            <a:r>
              <a:rPr lang="en-US" dirty="0"/>
              <a:t>	– Manufacture of tobacco products </a:t>
            </a:r>
          </a:p>
          <a:p>
            <a:pPr marL="0" lvl="0" indent="0" algn="l" rtl="0">
              <a:spcBef>
                <a:spcPts val="0"/>
              </a:spcBef>
              <a:spcAft>
                <a:spcPts val="0"/>
              </a:spcAft>
              <a:buNone/>
            </a:pPr>
            <a:r>
              <a:rPr lang="en-US" dirty="0"/>
              <a:t>	– Manufacture of textiles </a:t>
            </a:r>
          </a:p>
          <a:p>
            <a:pPr marL="0" lvl="0" indent="0" algn="l" rtl="0">
              <a:spcBef>
                <a:spcPts val="0"/>
              </a:spcBef>
              <a:spcAft>
                <a:spcPts val="0"/>
              </a:spcAft>
              <a:buNone/>
            </a:pPr>
            <a:r>
              <a:rPr lang="en-US" dirty="0"/>
              <a:t>	– Manufacture of wearing apparel </a:t>
            </a:r>
          </a:p>
          <a:p>
            <a:pPr marL="0" lvl="0" indent="0" algn="l" rtl="0">
              <a:spcBef>
                <a:spcPts val="0"/>
              </a:spcBef>
              <a:spcAft>
                <a:spcPts val="0"/>
              </a:spcAft>
              <a:buNone/>
            </a:pPr>
            <a:r>
              <a:rPr lang="en-US" dirty="0"/>
              <a:t>	– Manufacture of leather and related products </a:t>
            </a:r>
          </a:p>
          <a:p>
            <a:pPr marL="0" lvl="0" indent="0" algn="l" rtl="0">
              <a:spcBef>
                <a:spcPts val="0"/>
              </a:spcBef>
              <a:spcAft>
                <a:spcPts val="0"/>
              </a:spcAft>
              <a:buNone/>
            </a:pPr>
            <a:r>
              <a:rPr lang="en-US" dirty="0"/>
              <a:t>	– Manufacture of wood and of products of wood and cork, except furniture; manufacture of articles of straw and plaiting materials </a:t>
            </a:r>
          </a:p>
          <a:p>
            <a:pPr marL="0" lvl="0" indent="0" algn="l" rtl="0">
              <a:spcBef>
                <a:spcPts val="0"/>
              </a:spcBef>
              <a:spcAft>
                <a:spcPts val="0"/>
              </a:spcAft>
              <a:buNone/>
            </a:pPr>
            <a:r>
              <a:rPr lang="en-US" dirty="0"/>
              <a:t>	– Manufacture of paper and paper products </a:t>
            </a:r>
          </a:p>
          <a:p>
            <a:pPr marL="0" lvl="0" indent="0" algn="l" rtl="0">
              <a:spcBef>
                <a:spcPts val="0"/>
              </a:spcBef>
              <a:spcAft>
                <a:spcPts val="0"/>
              </a:spcAft>
              <a:buNone/>
            </a:pPr>
            <a:r>
              <a:rPr lang="en-US" dirty="0"/>
              <a:t>	– Printing and reproduction of recorded media </a:t>
            </a:r>
          </a:p>
          <a:p>
            <a:pPr marL="0" lvl="0" indent="0" algn="l" rtl="0">
              <a:spcBef>
                <a:spcPts val="0"/>
              </a:spcBef>
              <a:spcAft>
                <a:spcPts val="0"/>
              </a:spcAft>
              <a:buNone/>
            </a:pPr>
            <a:r>
              <a:rPr lang="en-US" dirty="0"/>
              <a:t>	– Manufacture of furniture </a:t>
            </a:r>
          </a:p>
          <a:p>
            <a:pPr marL="0" lvl="0" indent="0" algn="l" rtl="0">
              <a:spcBef>
                <a:spcPts val="0"/>
              </a:spcBef>
              <a:spcAft>
                <a:spcPts val="0"/>
              </a:spcAft>
              <a:buNone/>
            </a:pPr>
            <a:r>
              <a:rPr lang="en-US" dirty="0"/>
              <a:t>	– Other manufacturing</a:t>
            </a:r>
            <a:endParaRPr lang="en-US" b="1" dirty="0"/>
          </a:p>
          <a:p>
            <a:pPr marL="0" lvl="0" indent="0" algn="l" rtl="0">
              <a:spcBef>
                <a:spcPts val="0"/>
              </a:spcBef>
              <a:spcAft>
                <a:spcPts val="0"/>
              </a:spcAft>
              <a:buNone/>
            </a:pPr>
            <a:r>
              <a:rPr lang="en-US" dirty="0"/>
              <a:t>At end-2021, medium-high-technology industries held the largest share in the closing FDI position in manufacturing (44.3%, EUR 13,311 million), up by 3.9% points as against 2020 and by 4.9% points compared to 2019</a:t>
            </a:r>
          </a:p>
          <a:p>
            <a:pPr marL="0" lvl="0" indent="0" algn="l" rtl="0">
              <a:spcBef>
                <a:spcPts val="0"/>
              </a:spcBef>
              <a:spcAft>
                <a:spcPts val="0"/>
              </a:spcAft>
              <a:buNone/>
            </a:pPr>
            <a:r>
              <a:rPr lang="en-US" dirty="0"/>
              <a:t>At-end 2021, foreign direct investment in above-average technology-intensive industries accounted for 49.9% of the closing FDI position in manufacturing, up by 3.4% points as against 2020 and by 4.5% points compared to 2019.</a:t>
            </a:r>
          </a:p>
          <a:p>
            <a:pPr marL="0" lvl="0" indent="0" algn="l" rtl="0">
              <a:spcBef>
                <a:spcPts val="0"/>
              </a:spcBef>
              <a:spcAft>
                <a:spcPts val="0"/>
              </a:spcAft>
              <a:buNone/>
            </a:pPr>
            <a:r>
              <a:rPr lang="en-US" dirty="0"/>
              <a:t>As for below-average technology-intensive industries, the share of medium-low technology industries in the closing FDI position in manufacturing stood at 27.9% (EUR 8,382 million), down from 29.9% in 2020, while that of low-technology industries ran at 23.2% (EUR 6,683 million), down from 23.6% in 2020. FDI enterprises classified in the aforementioned four categories were also </a:t>
            </a:r>
            <a:r>
              <a:rPr lang="en-US" dirty="0" err="1"/>
              <a:t>analysed</a:t>
            </a:r>
            <a:r>
              <a:rPr lang="en-US" dirty="0"/>
              <a:t> based on Eurostat’s definition of high-growth enterprises (growth by 10% or more).</a:t>
            </a:r>
          </a:p>
          <a:p>
            <a:pPr marL="0" lvl="0" indent="0" algn="l" rtl="0">
              <a:spcBef>
                <a:spcPts val="0"/>
              </a:spcBef>
              <a:spcAft>
                <a:spcPts val="0"/>
              </a:spcAft>
              <a:buNone/>
            </a:pP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echnological intensity is defined as the level of knowledge incorporated in companies’ products in every industrial sector, and this indicator is measured by dividing the average research and development spending by the firm’s revenue</a:t>
            </a:r>
            <a:endParaRPr dirty="0"/>
          </a:p>
        </p:txBody>
      </p:sp>
    </p:spTree>
    <p:extLst>
      <p:ext uri="{BB962C8B-B14F-4D97-AF65-F5344CB8AC3E}">
        <p14:creationId xmlns:p14="http://schemas.microsoft.com/office/powerpoint/2010/main" val="720143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g35f391192_029:notes"/>
          <p:cNvSpPr>
            <a:spLocks noGrp="1" noRot="1" noChangeAspect="1"/>
          </p:cNvSpPr>
          <p:nvPr>
            <p:ph type="sldImg" idx="2"/>
          </p:nvPr>
        </p:nvSpPr>
        <p:spPr>
          <a:xfrm>
            <a:off x="87313"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2" name="Google Shape;212;g35f391192_029:notes"/>
          <p:cNvSpPr txBox="1">
            <a:spLocks noGrp="1"/>
          </p:cNvSpPr>
          <p:nvPr>
            <p:ph type="body" idx="1"/>
          </p:nvPr>
        </p:nvSpPr>
        <p:spPr>
          <a:xfrm>
            <a:off x="679450" y="4717415"/>
            <a:ext cx="5435600" cy="446913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b="1" dirty="0"/>
              <a:t>INS </a:t>
            </a:r>
            <a:r>
              <a:rPr lang="ro-RO" b="1" dirty="0"/>
              <a:t>Tempo </a:t>
            </a:r>
            <a:r>
              <a:rPr lang="en-US" b="1" dirty="0"/>
              <a:t>last update, 17.07.2024</a:t>
            </a:r>
            <a:r>
              <a:rPr lang="ro-RO" b="1" dirty="0"/>
              <a:t> (graduate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ro-RO" b="1" dirty="0"/>
              <a:t>INS Tempo last update 30.08.2024 (nr. Universitati)</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ro-RO" b="1" dirty="0"/>
              <a:t>INS Tempo last update 19.09.2024 (enrolled)</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ro-RO" b="1"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ro-RO" b="1" dirty="0"/>
              <a:t>Actualizare in Tempo INS la 14.01.2025 – au aparut si datele pe anul 2023 doar pt nr de universitati</a:t>
            </a:r>
            <a:r>
              <a:rPr lang="ro-RO" b="1" baseline="0" dirty="0"/>
              <a:t> si nr de studenti inscrisi. Pt nr de absolventi nu au aparut date pe anul 2023</a:t>
            </a:r>
            <a:endParaRPr lang="ro-RO" b="1"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ro-RO" b="1"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966796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5391536" y="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3;p2"/>
          <p:cNvGrpSpPr/>
          <p:nvPr/>
        </p:nvGrpSpPr>
        <p:grpSpPr>
          <a:xfrm>
            <a:off x="4940486"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 name="Google Shape;16;p2"/>
          <p:cNvGrpSpPr/>
          <p:nvPr/>
        </p:nvGrpSpPr>
        <p:grpSpPr>
          <a:xfrm>
            <a:off x="3878963" y="-650"/>
            <a:ext cx="2838667"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9" name="Google Shape;19;p2"/>
          <p:cNvGrpSpPr/>
          <p:nvPr/>
        </p:nvGrpSpPr>
        <p:grpSpPr>
          <a:xfrm>
            <a:off x="-6575" y="-6575"/>
            <a:ext cx="6246130" cy="5153775"/>
            <a:chOff x="-3886187" y="-6575"/>
            <a:chExt cx="6246130" cy="5153775"/>
          </a:xfrm>
          <a:gradFill>
            <a:gsLst>
              <a:gs pos="0">
                <a:srgbClr val="0837CE"/>
              </a:gs>
              <a:gs pos="74000">
                <a:schemeClr val="accent1">
                  <a:lumMod val="45000"/>
                  <a:lumOff val="55000"/>
                </a:schemeClr>
              </a:gs>
              <a:gs pos="83000">
                <a:schemeClr val="bg1"/>
              </a:gs>
              <a:gs pos="100000">
                <a:schemeClr val="accent1">
                  <a:lumMod val="30000"/>
                  <a:lumOff val="70000"/>
                </a:schemeClr>
              </a:gs>
            </a:gsLst>
            <a:lin ang="5400000" scaled="1"/>
          </a:gradFill>
        </p:grpSpPr>
        <p:sp>
          <p:nvSpPr>
            <p:cNvPr id="20" name="Google Shape;20;p2"/>
            <p:cNvSpPr/>
            <p:nvPr/>
          </p:nvSpPr>
          <p:spPr>
            <a:xfrm>
              <a:off x="256342" y="0"/>
              <a:ext cx="2103600" cy="5143500"/>
            </a:xfrm>
            <a:prstGeom prst="parallelogram">
              <a:avLst>
                <a:gd name="adj" fmla="val 75274"/>
              </a:avLst>
            </a:prstGeom>
            <a:gradFill>
              <a:gsLst>
                <a:gs pos="0">
                  <a:srgbClr val="0837CE"/>
                </a:gs>
                <a:gs pos="74000">
                  <a:schemeClr val="accent1">
                    <a:lumMod val="45000"/>
                    <a:lumOff val="55000"/>
                  </a:schemeClr>
                </a:gs>
                <a:gs pos="83000">
                  <a:schemeClr val="bg1"/>
                </a:gs>
                <a:gs pos="100000">
                  <a:schemeClr val="accent1">
                    <a:lumMod val="30000"/>
                    <a:lumOff val="70000"/>
                  </a:schemeClr>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2"/>
            <p:cNvSpPr/>
            <p:nvPr/>
          </p:nvSpPr>
          <p:spPr>
            <a:xfrm>
              <a:off x="-3886187" y="-6575"/>
              <a:ext cx="5936050" cy="5153775"/>
            </a:xfrm>
            <a:custGeom>
              <a:avLst/>
              <a:gdLst/>
              <a:ahLst/>
              <a:cxnLst/>
              <a:rect l="l" t="t" r="r" b="b"/>
              <a:pathLst>
                <a:path w="237442" h="206151" extrusionOk="0">
                  <a:moveTo>
                    <a:pt x="0" y="206151"/>
                  </a:moveTo>
                  <a:lnTo>
                    <a:pt x="0" y="0"/>
                  </a:lnTo>
                  <a:lnTo>
                    <a:pt x="237442" y="0"/>
                  </a:lnTo>
                  <a:lnTo>
                    <a:pt x="198081" y="206089"/>
                  </a:lnTo>
                  <a:close/>
                </a:path>
              </a:pathLst>
            </a:custGeom>
            <a:gradFill>
              <a:gsLst>
                <a:gs pos="0">
                  <a:srgbClr val="0837CE"/>
                </a:gs>
                <a:gs pos="44000">
                  <a:srgbClr val="0837CE"/>
                </a:gs>
                <a:gs pos="95000">
                  <a:schemeClr val="bg1"/>
                </a:gs>
                <a:gs pos="100000">
                  <a:schemeClr val="bg1"/>
                </a:gs>
              </a:gsLst>
              <a:lin ang="5400000" scaled="1"/>
            </a:gradFill>
            <a:ln>
              <a:noFill/>
            </a:ln>
            <a:effectLst>
              <a:outerShdw blurRad="314325" algn="bl" rotWithShape="0">
                <a:schemeClr val="accent6">
                  <a:alpha val="50000"/>
                </a:schemeClr>
              </a:outerShdw>
            </a:effectLst>
          </p:spPr>
        </p: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41405" y="105021"/>
            <a:ext cx="1828800" cy="40963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477124" y="-1776"/>
            <a:ext cx="1666875"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Tree>
    <p:extLst>
      <p:ext uri="{BB962C8B-B14F-4D97-AF65-F5344CB8AC3E}">
        <p14:creationId xmlns:p14="http://schemas.microsoft.com/office/powerpoint/2010/main" val="3186777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477124" y="-1776"/>
            <a:ext cx="1666875" cy="5145275"/>
            <a:chOff x="227500" y="0"/>
            <a:chExt cx="2132442" cy="5145275"/>
          </a:xfrm>
          <a:gradFill flip="none" rotWithShape="1">
            <a:gsLst>
              <a:gs pos="0">
                <a:srgbClr val="FFC000"/>
              </a:gs>
              <a:gs pos="41000">
                <a:srgbClr val="CABC80"/>
              </a:gs>
              <a:gs pos="92000">
                <a:schemeClr val="lt2"/>
              </a:gs>
              <a:gs pos="72000">
                <a:srgbClr val="7B93DF"/>
              </a:gs>
            </a:gsLst>
            <a:lin ang="5400000" scaled="1"/>
            <a:tileRect/>
          </a:gradFill>
        </p:grpSpPr>
        <p:sp>
          <p:nvSpPr>
            <p:cNvPr id="93" name="Google Shape;93;p7"/>
            <p:cNvSpPr/>
            <p:nvPr/>
          </p:nvSpPr>
          <p:spPr>
            <a:xfrm>
              <a:off x="256342"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Tree>
    <p:extLst>
      <p:ext uri="{BB962C8B-B14F-4D97-AF65-F5344CB8AC3E}">
        <p14:creationId xmlns:p14="http://schemas.microsoft.com/office/powerpoint/2010/main" val="916480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779223" y="-1777"/>
            <a:ext cx="1364775"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Tree>
    <p:extLst>
      <p:ext uri="{BB962C8B-B14F-4D97-AF65-F5344CB8AC3E}">
        <p14:creationId xmlns:p14="http://schemas.microsoft.com/office/powerpoint/2010/main" val="34131151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477124" y="-1776"/>
            <a:ext cx="1666875"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8" name="Google Shape;98;p7"/>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l" rtl="0">
              <a:spcBef>
                <a:spcPts val="0"/>
              </a:spcBef>
              <a:spcAft>
                <a:spcPts val="0"/>
              </a:spcAft>
              <a:buNone/>
            </a:pPr>
            <a:fld id="{00000000-1234-1234-1234-123412341234}" type="slidenum">
              <a:rPr lang="en"/>
              <a:t>‹#›</a:t>
            </a:fld>
            <a:endParaRPr/>
          </a:p>
        </p:txBody>
      </p:sp>
      <p:grpSp>
        <p:nvGrpSpPr>
          <p:cNvPr id="18" name="Google Shape;92;p7"/>
          <p:cNvGrpSpPr/>
          <p:nvPr userDrawn="1"/>
        </p:nvGrpSpPr>
        <p:grpSpPr>
          <a:xfrm>
            <a:off x="0" y="0"/>
            <a:ext cx="213244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19"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200396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 3 columns">
  <p:cSld name="TITLE_AND_TWO_COLUMNS_1">
    <p:spTree>
      <p:nvGrpSpPr>
        <p:cNvPr id="1" name="Shape 99"/>
        <p:cNvGrpSpPr/>
        <p:nvPr/>
      </p:nvGrpSpPr>
      <p:grpSpPr>
        <a:xfrm>
          <a:off x="0" y="0"/>
          <a:ext cx="0" cy="0"/>
          <a:chOff x="0" y="0"/>
          <a:chExt cx="0" cy="0"/>
        </a:xfrm>
      </p:grpSpPr>
      <p:grpSp>
        <p:nvGrpSpPr>
          <p:cNvPr id="100" name="Google Shape;100;p8"/>
          <p:cNvGrpSpPr/>
          <p:nvPr/>
        </p:nvGrpSpPr>
        <p:grpSpPr>
          <a:xfrm>
            <a:off x="598623" y="0"/>
            <a:ext cx="2486310" cy="5143500"/>
            <a:chOff x="1511923" y="0"/>
            <a:chExt cx="2486310" cy="5143500"/>
          </a:xfrm>
        </p:grpSpPr>
        <p:sp>
          <p:nvSpPr>
            <p:cNvPr id="101" name="Google Shape;101;p8"/>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8"/>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 name="Google Shape;103;p8"/>
          <p:cNvGrpSpPr/>
          <p:nvPr/>
        </p:nvGrpSpPr>
        <p:grpSpPr>
          <a:xfrm>
            <a:off x="376173" y="0"/>
            <a:ext cx="2326044" cy="5143500"/>
            <a:chOff x="1060873" y="0"/>
            <a:chExt cx="2326044" cy="5143500"/>
          </a:xfrm>
        </p:grpSpPr>
        <p:sp>
          <p:nvSpPr>
            <p:cNvPr id="104" name="Google Shape;104;p8"/>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8"/>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 name="Google Shape;106;p8"/>
          <p:cNvGrpSpPr/>
          <p:nvPr/>
        </p:nvGrpSpPr>
        <p:grpSpPr>
          <a:xfrm>
            <a:off x="0" y="0"/>
            <a:ext cx="2305717" cy="5144925"/>
            <a:chOff x="456100" y="0"/>
            <a:chExt cx="2305717" cy="5144925"/>
          </a:xfrm>
        </p:grpSpPr>
        <p:sp>
          <p:nvSpPr>
            <p:cNvPr id="107" name="Google Shape;107;p8"/>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8"/>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09" name="Google Shape;109;p8"/>
          <p:cNvGrpSpPr/>
          <p:nvPr/>
        </p:nvGrpSpPr>
        <p:grpSpPr>
          <a:xfrm>
            <a:off x="0" y="0"/>
            <a:ext cx="2132442" cy="5145275"/>
            <a:chOff x="227500" y="0"/>
            <a:chExt cx="2132442" cy="5145275"/>
          </a:xfrm>
        </p:grpSpPr>
        <p:sp>
          <p:nvSpPr>
            <p:cNvPr id="110" name="Google Shape;110;p8"/>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8"/>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112" name="Google Shape;112;p8"/>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13" name="Google Shape;113;p8"/>
          <p:cNvSpPr txBox="1">
            <a:spLocks noGrp="1"/>
          </p:cNvSpPr>
          <p:nvPr>
            <p:ph type="body" idx="1"/>
          </p:nvPr>
        </p:nvSpPr>
        <p:spPr>
          <a:xfrm>
            <a:off x="2976900" y="1506350"/>
            <a:ext cx="1702200" cy="2917800"/>
          </a:xfrm>
          <a:prstGeom prst="rect">
            <a:avLst/>
          </a:prstGeom>
        </p:spPr>
        <p:txBody>
          <a:bodyPr spcFirstLastPara="1" wrap="square" lIns="0" tIns="0" rIns="0" bIns="0" anchor="t" anchorCtr="0">
            <a:noAutofit/>
          </a:bodyPr>
          <a:lstStyle>
            <a:lvl1pPr marL="457200" lvl="0" indent="-336550" rtl="0">
              <a:spcBef>
                <a:spcPts val="0"/>
              </a:spcBef>
              <a:spcAft>
                <a:spcPts val="0"/>
              </a:spcAft>
              <a:buSzPts val="1700"/>
              <a:buChar char="▸"/>
              <a:defRPr sz="1700"/>
            </a:lvl1pPr>
            <a:lvl2pPr marL="914400" lvl="1" indent="-336550" rtl="0">
              <a:spcBef>
                <a:spcPts val="600"/>
              </a:spcBef>
              <a:spcAft>
                <a:spcPts val="0"/>
              </a:spcAft>
              <a:buSzPts val="1700"/>
              <a:buChar char="▹"/>
              <a:defRPr sz="1700"/>
            </a:lvl2pPr>
            <a:lvl3pPr marL="1371600" lvl="2" indent="-336550" rtl="0">
              <a:spcBef>
                <a:spcPts val="600"/>
              </a:spcBef>
              <a:spcAft>
                <a:spcPts val="0"/>
              </a:spcAft>
              <a:buSzPts val="1700"/>
              <a:buChar char="■"/>
              <a:defRPr sz="1700"/>
            </a:lvl3pPr>
            <a:lvl4pPr marL="1828800" lvl="3" indent="-336550" rtl="0">
              <a:spcBef>
                <a:spcPts val="600"/>
              </a:spcBef>
              <a:spcAft>
                <a:spcPts val="0"/>
              </a:spcAft>
              <a:buSzPts val="1700"/>
              <a:buChar char="●"/>
              <a:defRPr sz="1700"/>
            </a:lvl4pPr>
            <a:lvl5pPr marL="2286000" lvl="4" indent="-336550" rtl="0">
              <a:spcBef>
                <a:spcPts val="600"/>
              </a:spcBef>
              <a:spcAft>
                <a:spcPts val="0"/>
              </a:spcAft>
              <a:buSzPts val="1700"/>
              <a:buChar char="○"/>
              <a:defRPr sz="1700"/>
            </a:lvl5pPr>
            <a:lvl6pPr marL="2743200" lvl="5" indent="-336550" rtl="0">
              <a:spcBef>
                <a:spcPts val="600"/>
              </a:spcBef>
              <a:spcAft>
                <a:spcPts val="0"/>
              </a:spcAft>
              <a:buSzPts val="1700"/>
              <a:buChar char="■"/>
              <a:defRPr sz="1700"/>
            </a:lvl6pPr>
            <a:lvl7pPr marL="3200400" lvl="6" indent="-336550" rtl="0">
              <a:spcBef>
                <a:spcPts val="600"/>
              </a:spcBef>
              <a:spcAft>
                <a:spcPts val="0"/>
              </a:spcAft>
              <a:buSzPts val="1700"/>
              <a:buChar char="●"/>
              <a:defRPr sz="1700"/>
            </a:lvl7pPr>
            <a:lvl8pPr marL="3657600" lvl="7" indent="-336550" rtl="0">
              <a:spcBef>
                <a:spcPts val="600"/>
              </a:spcBef>
              <a:spcAft>
                <a:spcPts val="0"/>
              </a:spcAft>
              <a:buSzPts val="1700"/>
              <a:buChar char="○"/>
              <a:defRPr sz="1700"/>
            </a:lvl8pPr>
            <a:lvl9pPr marL="4114800" lvl="8" indent="-336550" rtl="0">
              <a:spcBef>
                <a:spcPts val="600"/>
              </a:spcBef>
              <a:spcAft>
                <a:spcPts val="600"/>
              </a:spcAft>
              <a:buSzPts val="1700"/>
              <a:buChar char="■"/>
              <a:defRPr sz="1700"/>
            </a:lvl9pPr>
          </a:lstStyle>
          <a:p>
            <a:endParaRPr/>
          </a:p>
        </p:txBody>
      </p:sp>
      <p:sp>
        <p:nvSpPr>
          <p:cNvPr id="114" name="Google Shape;114;p8"/>
          <p:cNvSpPr txBox="1">
            <a:spLocks noGrp="1"/>
          </p:cNvSpPr>
          <p:nvPr>
            <p:ph type="body" idx="2"/>
          </p:nvPr>
        </p:nvSpPr>
        <p:spPr>
          <a:xfrm>
            <a:off x="4857876" y="1506350"/>
            <a:ext cx="1702200" cy="2917800"/>
          </a:xfrm>
          <a:prstGeom prst="rect">
            <a:avLst/>
          </a:prstGeom>
        </p:spPr>
        <p:txBody>
          <a:bodyPr spcFirstLastPara="1" wrap="square" lIns="0" tIns="0" rIns="0" bIns="0" anchor="t" anchorCtr="0">
            <a:noAutofit/>
          </a:bodyPr>
          <a:lstStyle>
            <a:lvl1pPr marL="457200" lvl="0" indent="-336550" rtl="0">
              <a:spcBef>
                <a:spcPts val="0"/>
              </a:spcBef>
              <a:spcAft>
                <a:spcPts val="0"/>
              </a:spcAft>
              <a:buSzPts val="1700"/>
              <a:buChar char="▸"/>
              <a:defRPr sz="1700"/>
            </a:lvl1pPr>
            <a:lvl2pPr marL="914400" lvl="1" indent="-336550" rtl="0">
              <a:spcBef>
                <a:spcPts val="600"/>
              </a:spcBef>
              <a:spcAft>
                <a:spcPts val="0"/>
              </a:spcAft>
              <a:buSzPts val="1700"/>
              <a:buChar char="▹"/>
              <a:defRPr sz="1700"/>
            </a:lvl2pPr>
            <a:lvl3pPr marL="1371600" lvl="2" indent="-336550" rtl="0">
              <a:spcBef>
                <a:spcPts val="600"/>
              </a:spcBef>
              <a:spcAft>
                <a:spcPts val="0"/>
              </a:spcAft>
              <a:buSzPts val="1700"/>
              <a:buChar char="■"/>
              <a:defRPr sz="1700"/>
            </a:lvl3pPr>
            <a:lvl4pPr marL="1828800" lvl="3" indent="-336550" rtl="0">
              <a:spcBef>
                <a:spcPts val="600"/>
              </a:spcBef>
              <a:spcAft>
                <a:spcPts val="0"/>
              </a:spcAft>
              <a:buSzPts val="1700"/>
              <a:buChar char="●"/>
              <a:defRPr sz="1700"/>
            </a:lvl4pPr>
            <a:lvl5pPr marL="2286000" lvl="4" indent="-336550" rtl="0">
              <a:spcBef>
                <a:spcPts val="600"/>
              </a:spcBef>
              <a:spcAft>
                <a:spcPts val="0"/>
              </a:spcAft>
              <a:buSzPts val="1700"/>
              <a:buChar char="○"/>
              <a:defRPr sz="1700"/>
            </a:lvl5pPr>
            <a:lvl6pPr marL="2743200" lvl="5" indent="-336550" rtl="0">
              <a:spcBef>
                <a:spcPts val="600"/>
              </a:spcBef>
              <a:spcAft>
                <a:spcPts val="0"/>
              </a:spcAft>
              <a:buSzPts val="1700"/>
              <a:buChar char="■"/>
              <a:defRPr sz="1700"/>
            </a:lvl6pPr>
            <a:lvl7pPr marL="3200400" lvl="6" indent="-336550" rtl="0">
              <a:spcBef>
                <a:spcPts val="600"/>
              </a:spcBef>
              <a:spcAft>
                <a:spcPts val="0"/>
              </a:spcAft>
              <a:buSzPts val="1700"/>
              <a:buChar char="●"/>
              <a:defRPr sz="1700"/>
            </a:lvl7pPr>
            <a:lvl8pPr marL="3657600" lvl="7" indent="-336550" rtl="0">
              <a:spcBef>
                <a:spcPts val="600"/>
              </a:spcBef>
              <a:spcAft>
                <a:spcPts val="0"/>
              </a:spcAft>
              <a:buSzPts val="1700"/>
              <a:buChar char="○"/>
              <a:defRPr sz="1700"/>
            </a:lvl8pPr>
            <a:lvl9pPr marL="4114800" lvl="8" indent="-336550" rtl="0">
              <a:spcBef>
                <a:spcPts val="600"/>
              </a:spcBef>
              <a:spcAft>
                <a:spcPts val="600"/>
              </a:spcAft>
              <a:buSzPts val="1700"/>
              <a:buChar char="■"/>
              <a:defRPr sz="1700"/>
            </a:lvl9pPr>
          </a:lstStyle>
          <a:p>
            <a:endParaRPr/>
          </a:p>
        </p:txBody>
      </p:sp>
      <p:sp>
        <p:nvSpPr>
          <p:cNvPr id="115" name="Google Shape;115;p8"/>
          <p:cNvSpPr txBox="1">
            <a:spLocks noGrp="1"/>
          </p:cNvSpPr>
          <p:nvPr>
            <p:ph type="body" idx="3"/>
          </p:nvPr>
        </p:nvSpPr>
        <p:spPr>
          <a:xfrm>
            <a:off x="6738851" y="1506350"/>
            <a:ext cx="1702200" cy="2917800"/>
          </a:xfrm>
          <a:prstGeom prst="rect">
            <a:avLst/>
          </a:prstGeom>
        </p:spPr>
        <p:txBody>
          <a:bodyPr spcFirstLastPara="1" wrap="square" lIns="0" tIns="0" rIns="0" bIns="0" anchor="t" anchorCtr="0">
            <a:noAutofit/>
          </a:bodyPr>
          <a:lstStyle>
            <a:lvl1pPr marL="457200" lvl="0" indent="-336550" rtl="0">
              <a:spcBef>
                <a:spcPts val="0"/>
              </a:spcBef>
              <a:spcAft>
                <a:spcPts val="0"/>
              </a:spcAft>
              <a:buSzPts val="1700"/>
              <a:buChar char="▸"/>
              <a:defRPr sz="1700"/>
            </a:lvl1pPr>
            <a:lvl2pPr marL="914400" lvl="1" indent="-336550" rtl="0">
              <a:spcBef>
                <a:spcPts val="600"/>
              </a:spcBef>
              <a:spcAft>
                <a:spcPts val="0"/>
              </a:spcAft>
              <a:buSzPts val="1700"/>
              <a:buChar char="▹"/>
              <a:defRPr sz="1700"/>
            </a:lvl2pPr>
            <a:lvl3pPr marL="1371600" lvl="2" indent="-336550" rtl="0">
              <a:spcBef>
                <a:spcPts val="600"/>
              </a:spcBef>
              <a:spcAft>
                <a:spcPts val="0"/>
              </a:spcAft>
              <a:buSzPts val="1700"/>
              <a:buChar char="■"/>
              <a:defRPr sz="1700"/>
            </a:lvl3pPr>
            <a:lvl4pPr marL="1828800" lvl="3" indent="-336550" rtl="0">
              <a:spcBef>
                <a:spcPts val="600"/>
              </a:spcBef>
              <a:spcAft>
                <a:spcPts val="0"/>
              </a:spcAft>
              <a:buSzPts val="1700"/>
              <a:buChar char="●"/>
              <a:defRPr sz="1700"/>
            </a:lvl4pPr>
            <a:lvl5pPr marL="2286000" lvl="4" indent="-336550" rtl="0">
              <a:spcBef>
                <a:spcPts val="600"/>
              </a:spcBef>
              <a:spcAft>
                <a:spcPts val="0"/>
              </a:spcAft>
              <a:buSzPts val="1700"/>
              <a:buChar char="○"/>
              <a:defRPr sz="1700"/>
            </a:lvl5pPr>
            <a:lvl6pPr marL="2743200" lvl="5" indent="-336550" rtl="0">
              <a:spcBef>
                <a:spcPts val="600"/>
              </a:spcBef>
              <a:spcAft>
                <a:spcPts val="0"/>
              </a:spcAft>
              <a:buSzPts val="1700"/>
              <a:buChar char="■"/>
              <a:defRPr sz="1700"/>
            </a:lvl6pPr>
            <a:lvl7pPr marL="3200400" lvl="6" indent="-336550" rtl="0">
              <a:spcBef>
                <a:spcPts val="600"/>
              </a:spcBef>
              <a:spcAft>
                <a:spcPts val="0"/>
              </a:spcAft>
              <a:buSzPts val="1700"/>
              <a:buChar char="●"/>
              <a:defRPr sz="1700"/>
            </a:lvl7pPr>
            <a:lvl8pPr marL="3657600" lvl="7" indent="-336550" rtl="0">
              <a:spcBef>
                <a:spcPts val="600"/>
              </a:spcBef>
              <a:spcAft>
                <a:spcPts val="0"/>
              </a:spcAft>
              <a:buSzPts val="1700"/>
              <a:buChar char="○"/>
              <a:defRPr sz="1700"/>
            </a:lvl8pPr>
            <a:lvl9pPr marL="4114800" lvl="8" indent="-336550" rtl="0">
              <a:spcBef>
                <a:spcPts val="600"/>
              </a:spcBef>
              <a:spcAft>
                <a:spcPts val="600"/>
              </a:spcAft>
              <a:buSzPts val="1700"/>
              <a:buChar char="■"/>
              <a:defRPr sz="1700"/>
            </a:lvl9pPr>
          </a:lstStyle>
          <a:p>
            <a:endParaRPr/>
          </a:p>
        </p:txBody>
      </p:sp>
      <p:sp>
        <p:nvSpPr>
          <p:cNvPr id="116" name="Google Shape;116;p8"/>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l"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7"/>
        <p:cNvGrpSpPr/>
        <p:nvPr/>
      </p:nvGrpSpPr>
      <p:grpSpPr>
        <a:xfrm>
          <a:off x="0" y="0"/>
          <a:ext cx="0" cy="0"/>
          <a:chOff x="0" y="0"/>
          <a:chExt cx="0" cy="0"/>
        </a:xfrm>
      </p:grpSpPr>
      <p:grpSp>
        <p:nvGrpSpPr>
          <p:cNvPr id="118" name="Google Shape;118;p9"/>
          <p:cNvGrpSpPr/>
          <p:nvPr/>
        </p:nvGrpSpPr>
        <p:grpSpPr>
          <a:xfrm>
            <a:off x="598623" y="0"/>
            <a:ext cx="2486310" cy="5143500"/>
            <a:chOff x="1511923" y="0"/>
            <a:chExt cx="2486310" cy="5143500"/>
          </a:xfrm>
        </p:grpSpPr>
        <p:sp>
          <p:nvSpPr>
            <p:cNvPr id="119" name="Google Shape;119;p9"/>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9"/>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1" name="Google Shape;121;p9"/>
          <p:cNvGrpSpPr/>
          <p:nvPr/>
        </p:nvGrpSpPr>
        <p:grpSpPr>
          <a:xfrm>
            <a:off x="376173" y="0"/>
            <a:ext cx="2326044" cy="5143500"/>
            <a:chOff x="1060873" y="0"/>
            <a:chExt cx="2326044" cy="5143500"/>
          </a:xfrm>
        </p:grpSpPr>
        <p:sp>
          <p:nvSpPr>
            <p:cNvPr id="122" name="Google Shape;122;p9"/>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9"/>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4" name="Google Shape;124;p9"/>
          <p:cNvGrpSpPr/>
          <p:nvPr/>
        </p:nvGrpSpPr>
        <p:grpSpPr>
          <a:xfrm>
            <a:off x="0" y="0"/>
            <a:ext cx="2305717" cy="5144925"/>
            <a:chOff x="456100" y="0"/>
            <a:chExt cx="2305717" cy="5144925"/>
          </a:xfrm>
        </p:grpSpPr>
        <p:sp>
          <p:nvSpPr>
            <p:cNvPr id="125" name="Google Shape;125;p9"/>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9"/>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27" name="Google Shape;127;p9"/>
          <p:cNvGrpSpPr/>
          <p:nvPr/>
        </p:nvGrpSpPr>
        <p:grpSpPr>
          <a:xfrm>
            <a:off x="0" y="0"/>
            <a:ext cx="2132442" cy="5145275"/>
            <a:chOff x="227500" y="0"/>
            <a:chExt cx="2132442" cy="5145275"/>
          </a:xfrm>
        </p:grpSpPr>
        <p:sp>
          <p:nvSpPr>
            <p:cNvPr id="128" name="Google Shape;128;p9"/>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9"/>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130" name="Google Shape;130;p9"/>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31" name="Google Shape;131;p9"/>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l"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32"/>
        <p:cNvGrpSpPr/>
        <p:nvPr/>
      </p:nvGrpSpPr>
      <p:grpSpPr>
        <a:xfrm>
          <a:off x="0" y="0"/>
          <a:ext cx="0" cy="0"/>
          <a:chOff x="0" y="0"/>
          <a:chExt cx="0" cy="0"/>
        </a:xfrm>
      </p:grpSpPr>
      <p:grpSp>
        <p:nvGrpSpPr>
          <p:cNvPr id="133" name="Google Shape;133;p10"/>
          <p:cNvGrpSpPr/>
          <p:nvPr/>
        </p:nvGrpSpPr>
        <p:grpSpPr>
          <a:xfrm>
            <a:off x="598623" y="0"/>
            <a:ext cx="2486310" cy="5143500"/>
            <a:chOff x="1511923" y="0"/>
            <a:chExt cx="2486310" cy="5143500"/>
          </a:xfrm>
        </p:grpSpPr>
        <p:sp>
          <p:nvSpPr>
            <p:cNvPr id="134" name="Google Shape;134;p10"/>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10"/>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6" name="Google Shape;136;p10"/>
          <p:cNvGrpSpPr/>
          <p:nvPr/>
        </p:nvGrpSpPr>
        <p:grpSpPr>
          <a:xfrm>
            <a:off x="376173" y="0"/>
            <a:ext cx="2326044" cy="5143500"/>
            <a:chOff x="1060873" y="0"/>
            <a:chExt cx="2326044" cy="5143500"/>
          </a:xfrm>
        </p:grpSpPr>
        <p:sp>
          <p:nvSpPr>
            <p:cNvPr id="137" name="Google Shape;137;p10"/>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10"/>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9" name="Google Shape;139;p10"/>
          <p:cNvGrpSpPr/>
          <p:nvPr/>
        </p:nvGrpSpPr>
        <p:grpSpPr>
          <a:xfrm>
            <a:off x="0" y="0"/>
            <a:ext cx="2305717" cy="5144925"/>
            <a:chOff x="456100" y="0"/>
            <a:chExt cx="2305717" cy="5144925"/>
          </a:xfrm>
        </p:grpSpPr>
        <p:sp>
          <p:nvSpPr>
            <p:cNvPr id="140" name="Google Shape;140;p10"/>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10"/>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42" name="Google Shape;142;p10"/>
          <p:cNvGrpSpPr/>
          <p:nvPr/>
        </p:nvGrpSpPr>
        <p:grpSpPr>
          <a:xfrm>
            <a:off x="0" y="0"/>
            <a:ext cx="2132442" cy="5145275"/>
            <a:chOff x="227500" y="0"/>
            <a:chExt cx="2132442" cy="5145275"/>
          </a:xfrm>
        </p:grpSpPr>
        <p:sp>
          <p:nvSpPr>
            <p:cNvPr id="143" name="Google Shape;143;p10"/>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10"/>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145" name="Google Shape;145;p10"/>
          <p:cNvSpPr txBox="1">
            <a:spLocks noGrp="1"/>
          </p:cNvSpPr>
          <p:nvPr>
            <p:ph type="body" idx="1"/>
          </p:nvPr>
        </p:nvSpPr>
        <p:spPr>
          <a:xfrm>
            <a:off x="2976900" y="4406300"/>
            <a:ext cx="5709900" cy="519600"/>
          </a:xfrm>
          <a:prstGeom prst="rect">
            <a:avLst/>
          </a:prstGeom>
        </p:spPr>
        <p:txBody>
          <a:bodyPr spcFirstLastPara="1" wrap="square" lIns="0" tIns="0" rIns="0" bIns="0" anchor="t" anchorCtr="0">
            <a:noAutofit/>
          </a:bodyPr>
          <a:lstStyle>
            <a:lvl1pPr marL="457200" lvl="0" indent="-228600" rtl="0">
              <a:spcBef>
                <a:spcPts val="360"/>
              </a:spcBef>
              <a:spcAft>
                <a:spcPts val="600"/>
              </a:spcAft>
              <a:buSzPts val="1800"/>
              <a:buNone/>
              <a:defRPr sz="1800"/>
            </a:lvl1pPr>
          </a:lstStyle>
          <a:p>
            <a:endParaRPr/>
          </a:p>
        </p:txBody>
      </p:sp>
      <p:sp>
        <p:nvSpPr>
          <p:cNvPr id="146" name="Google Shape;146;p10"/>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l"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7"/>
        <p:cNvGrpSpPr/>
        <p:nvPr/>
      </p:nvGrpSpPr>
      <p:grpSpPr>
        <a:xfrm>
          <a:off x="0" y="0"/>
          <a:ext cx="0" cy="0"/>
          <a:chOff x="0" y="0"/>
          <a:chExt cx="0" cy="0"/>
        </a:xfrm>
      </p:grpSpPr>
      <p:grpSp>
        <p:nvGrpSpPr>
          <p:cNvPr id="148" name="Google Shape;148;p11"/>
          <p:cNvGrpSpPr/>
          <p:nvPr/>
        </p:nvGrpSpPr>
        <p:grpSpPr>
          <a:xfrm>
            <a:off x="598623" y="0"/>
            <a:ext cx="2486310" cy="5143500"/>
            <a:chOff x="1511923" y="0"/>
            <a:chExt cx="2486310" cy="5143500"/>
          </a:xfrm>
        </p:grpSpPr>
        <p:sp>
          <p:nvSpPr>
            <p:cNvPr id="149" name="Google Shape;149;p11"/>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11"/>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1" name="Google Shape;151;p11"/>
          <p:cNvGrpSpPr/>
          <p:nvPr/>
        </p:nvGrpSpPr>
        <p:grpSpPr>
          <a:xfrm>
            <a:off x="376173" y="0"/>
            <a:ext cx="2326044" cy="5143500"/>
            <a:chOff x="1060873" y="0"/>
            <a:chExt cx="2326044" cy="5143500"/>
          </a:xfrm>
        </p:grpSpPr>
        <p:sp>
          <p:nvSpPr>
            <p:cNvPr id="152" name="Google Shape;152;p11"/>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153;p11"/>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154;p11"/>
          <p:cNvGrpSpPr/>
          <p:nvPr/>
        </p:nvGrpSpPr>
        <p:grpSpPr>
          <a:xfrm>
            <a:off x="0" y="0"/>
            <a:ext cx="2305717" cy="5144925"/>
            <a:chOff x="456100" y="0"/>
            <a:chExt cx="2305717" cy="5144925"/>
          </a:xfrm>
        </p:grpSpPr>
        <p:sp>
          <p:nvSpPr>
            <p:cNvPr id="155" name="Google Shape;155;p11"/>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11"/>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57" name="Google Shape;157;p11"/>
          <p:cNvGrpSpPr/>
          <p:nvPr/>
        </p:nvGrpSpPr>
        <p:grpSpPr>
          <a:xfrm>
            <a:off x="0" y="0"/>
            <a:ext cx="2132442" cy="5145275"/>
            <a:chOff x="227500" y="0"/>
            <a:chExt cx="2132442" cy="5145275"/>
          </a:xfrm>
        </p:grpSpPr>
        <p:sp>
          <p:nvSpPr>
            <p:cNvPr id="158" name="Google Shape;158;p11"/>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11"/>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half">
  <p:cSld name="BLANK_2">
    <p:spTree>
      <p:nvGrpSpPr>
        <p:cNvPr id="1" name="Shape 161"/>
        <p:cNvGrpSpPr/>
        <p:nvPr/>
      </p:nvGrpSpPr>
      <p:grpSpPr>
        <a:xfrm>
          <a:off x="0" y="0"/>
          <a:ext cx="0" cy="0"/>
          <a:chOff x="0" y="0"/>
          <a:chExt cx="0" cy="0"/>
        </a:xfrm>
      </p:grpSpPr>
      <p:grpSp>
        <p:nvGrpSpPr>
          <p:cNvPr id="162" name="Google Shape;162;p12"/>
          <p:cNvGrpSpPr/>
          <p:nvPr/>
        </p:nvGrpSpPr>
        <p:grpSpPr>
          <a:xfrm>
            <a:off x="4098548" y="0"/>
            <a:ext cx="2486310"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 name="Google Shape;165;p12"/>
          <p:cNvGrpSpPr/>
          <p:nvPr/>
        </p:nvGrpSpPr>
        <p:grpSpPr>
          <a:xfrm>
            <a:off x="3647498" y="0"/>
            <a:ext cx="2326044"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 name="Google Shape;168;p12"/>
          <p:cNvGrpSpPr/>
          <p:nvPr/>
        </p:nvGrpSpPr>
        <p:grpSpPr>
          <a:xfrm>
            <a:off x="2585975" y="-650"/>
            <a:ext cx="2838667" cy="5145500"/>
            <a:chOff x="-650" y="-650"/>
            <a:chExt cx="2838667"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1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0" y="-10275"/>
            <a:ext cx="4946567"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12"/>
            <p:cNvSpPr/>
            <p:nvPr/>
          </p:nvSpPr>
          <p:spPr>
            <a:xfrm>
              <a:off x="-2586625" y="-6575"/>
              <a:ext cx="4640050"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Blank half" preserve="1">
  <p:cSld name="1_Blank half">
    <p:bg>
      <p:bgRef idx="1001">
        <a:schemeClr val="bg2"/>
      </p:bgRef>
    </p:bg>
    <p:spTree>
      <p:nvGrpSpPr>
        <p:cNvPr id="1" name="Shape 161"/>
        <p:cNvGrpSpPr/>
        <p:nvPr/>
      </p:nvGrpSpPr>
      <p:grpSpPr>
        <a:xfrm>
          <a:off x="0" y="0"/>
          <a:ext cx="0" cy="0"/>
          <a:chOff x="0" y="0"/>
          <a:chExt cx="0" cy="0"/>
        </a:xfrm>
      </p:grpSpPr>
      <p:grpSp>
        <p:nvGrpSpPr>
          <p:cNvPr id="162" name="Google Shape;162;p12"/>
          <p:cNvGrpSpPr/>
          <p:nvPr/>
        </p:nvGrpSpPr>
        <p:grpSpPr>
          <a:xfrm>
            <a:off x="699945" y="-19250"/>
            <a:ext cx="2486310"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 name="Google Shape;165;p12"/>
          <p:cNvGrpSpPr/>
          <p:nvPr/>
        </p:nvGrpSpPr>
        <p:grpSpPr>
          <a:xfrm>
            <a:off x="288008" y="-19250"/>
            <a:ext cx="2326044"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 name="Google Shape;168;p12"/>
          <p:cNvGrpSpPr/>
          <p:nvPr/>
        </p:nvGrpSpPr>
        <p:grpSpPr>
          <a:xfrm>
            <a:off x="28405" y="-10275"/>
            <a:ext cx="2363204" cy="5153775"/>
            <a:chOff x="-650" y="-650"/>
            <a:chExt cx="2838667"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1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1" y="-10275"/>
            <a:ext cx="1943099"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12"/>
            <p:cNvSpPr/>
            <p:nvPr/>
          </p:nvSpPr>
          <p:spPr>
            <a:xfrm>
              <a:off x="-2586625" y="-6575"/>
              <a:ext cx="1466364"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99094142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preserve="1" userDrawn="1">
  <p:cSld name="1_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017908" y="-100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3;p2"/>
          <p:cNvGrpSpPr/>
          <p:nvPr/>
        </p:nvGrpSpPr>
        <p:grpSpPr>
          <a:xfrm>
            <a:off x="7017908"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 name="Google Shape;16;p2"/>
          <p:cNvGrpSpPr/>
          <p:nvPr/>
        </p:nvGrpSpPr>
        <p:grpSpPr>
          <a:xfrm>
            <a:off x="1" y="-1000"/>
            <a:ext cx="1847850"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sp>
        <p:nvSpPr>
          <p:cNvPr id="27" name="Title 1"/>
          <p:cNvSpPr txBox="1">
            <a:spLocks/>
          </p:cNvSpPr>
          <p:nvPr userDrawn="1"/>
        </p:nvSpPr>
        <p:spPr>
          <a:xfrm>
            <a:off x="7836372" y="4724399"/>
            <a:ext cx="1260003" cy="326323"/>
          </a:xfrm>
          <a:prstGeom prst="rect">
            <a:avLst/>
          </a:prstGeom>
          <a:noFill/>
          <a:ln>
            <a:noFill/>
          </a:ln>
        </p:spPr>
        <p:txBody>
          <a:bodyPr spcFirstLastPara="1" wrap="square" lIns="0" tIns="0" rIns="0" bIns="0" anchor="b"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r>
              <a:rPr lang="en-US" sz="1800" dirty="0">
                <a:solidFill>
                  <a:srgbClr val="545558"/>
                </a:solidFill>
                <a:latin typeface="Cambria" panose="02040503050406030204" pitchFamily="18" charset="0"/>
              </a:rPr>
              <a:t>March </a:t>
            </a:r>
            <a:r>
              <a:rPr lang="fr-FR" sz="1800" dirty="0">
                <a:solidFill>
                  <a:srgbClr val="545558"/>
                </a:solidFill>
                <a:latin typeface="Cambria" panose="02040503050406030204" pitchFamily="18" charset="0"/>
              </a:rPr>
              <a:t>202</a:t>
            </a:r>
            <a:r>
              <a:rPr lang="en-US" sz="1800" dirty="0">
                <a:solidFill>
                  <a:srgbClr val="545558"/>
                </a:solidFill>
                <a:latin typeface="Cambria" panose="02040503050406030204" pitchFamily="18" charset="0"/>
              </a:rPr>
              <a:t>3</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6530" y="105021"/>
            <a:ext cx="1828800" cy="409630"/>
          </a:xfrm>
          <a:prstGeom prst="rect">
            <a:avLst/>
          </a:prstGeom>
        </p:spPr>
      </p:pic>
    </p:spTree>
    <p:extLst>
      <p:ext uri="{BB962C8B-B14F-4D97-AF65-F5344CB8AC3E}">
        <p14:creationId xmlns:p14="http://schemas.microsoft.com/office/powerpoint/2010/main" val="2663570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half" preserve="1">
  <p:cSld name="1_Blank half">
    <p:spTree>
      <p:nvGrpSpPr>
        <p:cNvPr id="1" name="Shape 161"/>
        <p:cNvGrpSpPr/>
        <p:nvPr/>
      </p:nvGrpSpPr>
      <p:grpSpPr>
        <a:xfrm>
          <a:off x="0" y="0"/>
          <a:ext cx="0" cy="0"/>
          <a:chOff x="0" y="0"/>
          <a:chExt cx="0" cy="0"/>
        </a:xfrm>
      </p:grpSpPr>
      <p:grpSp>
        <p:nvGrpSpPr>
          <p:cNvPr id="162" name="Google Shape;162;p12"/>
          <p:cNvGrpSpPr/>
          <p:nvPr/>
        </p:nvGrpSpPr>
        <p:grpSpPr>
          <a:xfrm>
            <a:off x="699945" y="-19250"/>
            <a:ext cx="2486310"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 name="Google Shape;165;p12"/>
          <p:cNvGrpSpPr/>
          <p:nvPr/>
        </p:nvGrpSpPr>
        <p:grpSpPr>
          <a:xfrm>
            <a:off x="288008" y="-19250"/>
            <a:ext cx="2326044"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 name="Google Shape;168;p12"/>
          <p:cNvGrpSpPr/>
          <p:nvPr/>
        </p:nvGrpSpPr>
        <p:grpSpPr>
          <a:xfrm>
            <a:off x="28405" y="-10275"/>
            <a:ext cx="2363204" cy="5153775"/>
            <a:chOff x="-650" y="-650"/>
            <a:chExt cx="2838667"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1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1" y="-10275"/>
            <a:ext cx="1943099"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12"/>
            <p:cNvSpPr/>
            <p:nvPr/>
          </p:nvSpPr>
          <p:spPr>
            <a:xfrm>
              <a:off x="-2586625" y="-6575"/>
              <a:ext cx="1466364"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3248885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lank half" preserve="1">
  <p:cSld name="1_Blank half">
    <p:spTree>
      <p:nvGrpSpPr>
        <p:cNvPr id="1" name="Shape 161"/>
        <p:cNvGrpSpPr/>
        <p:nvPr/>
      </p:nvGrpSpPr>
      <p:grpSpPr>
        <a:xfrm>
          <a:off x="0" y="0"/>
          <a:ext cx="0" cy="0"/>
          <a:chOff x="0" y="0"/>
          <a:chExt cx="0" cy="0"/>
        </a:xfrm>
      </p:grpSpPr>
      <p:grpSp>
        <p:nvGrpSpPr>
          <p:cNvPr id="14" name="Google Shape;165;p12"/>
          <p:cNvGrpSpPr/>
          <p:nvPr userDrawn="1"/>
        </p:nvGrpSpPr>
        <p:grpSpPr>
          <a:xfrm>
            <a:off x="204107" y="-10275"/>
            <a:ext cx="1330189" cy="5143500"/>
            <a:chOff x="1060873" y="0"/>
            <a:chExt cx="2326044" cy="5143500"/>
          </a:xfrm>
        </p:grpSpPr>
        <p:sp>
          <p:nvSpPr>
            <p:cNvPr id="15"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2" name="Google Shape;162;p12"/>
          <p:cNvGrpSpPr/>
          <p:nvPr/>
        </p:nvGrpSpPr>
        <p:grpSpPr>
          <a:xfrm>
            <a:off x="7554035" y="-10275"/>
            <a:ext cx="1957957"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5" name="Google Shape;165;p12"/>
          <p:cNvGrpSpPr/>
          <p:nvPr/>
        </p:nvGrpSpPr>
        <p:grpSpPr>
          <a:xfrm>
            <a:off x="8140889" y="-3700"/>
            <a:ext cx="1330189"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8" name="Google Shape;168;p12"/>
          <p:cNvGrpSpPr/>
          <p:nvPr/>
        </p:nvGrpSpPr>
        <p:grpSpPr>
          <a:xfrm>
            <a:off x="28407" y="-10275"/>
            <a:ext cx="1684388" cy="5153775"/>
            <a:chOff x="-649" y="-650"/>
            <a:chExt cx="2838666"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12"/>
            <p:cNvSpPr/>
            <p:nvPr/>
          </p:nvSpPr>
          <p:spPr>
            <a:xfrm>
              <a:off x="-649" y="-650"/>
              <a:ext cx="1801964"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1" y="-10275"/>
            <a:ext cx="1385247"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12"/>
            <p:cNvSpPr/>
            <p:nvPr/>
          </p:nvSpPr>
          <p:spPr>
            <a:xfrm>
              <a:off x="-2586625" y="-6575"/>
              <a:ext cx="1466364"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1130142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dark">
  <p:cSld name="BLANK_1">
    <p:bg>
      <p:bgPr>
        <a:gradFill>
          <a:gsLst>
            <a:gs pos="0">
              <a:srgbClr val="5A667B"/>
            </a:gs>
            <a:gs pos="100000">
              <a:srgbClr val="26282D"/>
            </a:gs>
          </a:gsLst>
          <a:lin ang="10801400" scaled="0"/>
        </a:gradFill>
        <a:effectLst/>
      </p:bgPr>
    </p:bg>
    <p:spTree>
      <p:nvGrpSpPr>
        <p:cNvPr id="1" name="Shape 175"/>
        <p:cNvGrpSpPr/>
        <p:nvPr/>
      </p:nvGrpSpPr>
      <p:grpSpPr>
        <a:xfrm>
          <a:off x="0" y="0"/>
          <a:ext cx="0" cy="0"/>
          <a:chOff x="0" y="0"/>
          <a:chExt cx="0" cy="0"/>
        </a:xfrm>
      </p:grpSpPr>
      <p:grpSp>
        <p:nvGrpSpPr>
          <p:cNvPr id="176" name="Google Shape;176;p13"/>
          <p:cNvGrpSpPr/>
          <p:nvPr/>
        </p:nvGrpSpPr>
        <p:grpSpPr>
          <a:xfrm>
            <a:off x="598623" y="-887"/>
            <a:ext cx="2410110" cy="5143500"/>
            <a:chOff x="1511923" y="0"/>
            <a:chExt cx="2410110" cy="5143500"/>
          </a:xfrm>
        </p:grpSpPr>
        <p:sp>
          <p:nvSpPr>
            <p:cNvPr id="177" name="Google Shape;177;p13"/>
            <p:cNvSpPr/>
            <p:nvPr/>
          </p:nvSpPr>
          <p:spPr>
            <a:xfrm flipH="1">
              <a:off x="1818434" y="0"/>
              <a:ext cx="2103600" cy="5143500"/>
            </a:xfrm>
            <a:prstGeom prst="parallelogram">
              <a:avLst>
                <a:gd name="adj" fmla="val 75274"/>
              </a:avLst>
            </a:prstGeom>
            <a:gradFill>
              <a:gsLst>
                <a:gs pos="0">
                  <a:srgbClr val="000000"/>
                </a:gs>
                <a:gs pos="13000">
                  <a:srgbClr val="000000"/>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13"/>
            <p:cNvSpPr/>
            <p:nvPr/>
          </p:nvSpPr>
          <p:spPr>
            <a:xfrm flipH="1">
              <a:off x="1511923" y="0"/>
              <a:ext cx="2103600" cy="5143500"/>
            </a:xfrm>
            <a:prstGeom prst="parallelogram">
              <a:avLst>
                <a:gd name="adj" fmla="val 46349"/>
              </a:avLst>
            </a:prstGeom>
            <a:gradFill>
              <a:gsLst>
                <a:gs pos="0">
                  <a:srgbClr val="5A667B"/>
                </a:gs>
                <a:gs pos="33000">
                  <a:srgbClr val="404754"/>
                </a:gs>
                <a:gs pos="100000">
                  <a:srgbClr val="26282D"/>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9" name="Google Shape;179;p13"/>
          <p:cNvGrpSpPr/>
          <p:nvPr/>
        </p:nvGrpSpPr>
        <p:grpSpPr>
          <a:xfrm>
            <a:off x="376173" y="-887"/>
            <a:ext cx="2326044" cy="5143500"/>
            <a:chOff x="1060873" y="0"/>
            <a:chExt cx="2326044" cy="5143500"/>
          </a:xfrm>
        </p:grpSpPr>
        <p:sp>
          <p:nvSpPr>
            <p:cNvPr id="180" name="Google Shape;180;p13"/>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3"/>
            <p:cNvSpPr/>
            <p:nvPr/>
          </p:nvSpPr>
          <p:spPr>
            <a:xfrm>
              <a:off x="1060873" y="0"/>
              <a:ext cx="2103600" cy="5143500"/>
            </a:xfrm>
            <a:prstGeom prst="parallelogram">
              <a:avLst>
                <a:gd name="adj" fmla="val 46349"/>
              </a:avLst>
            </a:prstGeom>
            <a:gradFill>
              <a:gsLst>
                <a:gs pos="0">
                  <a:srgbClr val="5A667B"/>
                </a:gs>
                <a:gs pos="100000">
                  <a:srgbClr val="26282D"/>
                </a:gs>
              </a:gsLst>
              <a:lin ang="5400012" scaled="0"/>
            </a:gradFill>
            <a:ln>
              <a:noFill/>
            </a:ln>
            <a:effectLst>
              <a:outerShdw blurRad="214313" algn="bl" rotWithShape="0">
                <a:srgbClr val="000000">
                  <a:alpha val="63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2" name="Google Shape;182;p13"/>
          <p:cNvGrpSpPr/>
          <p:nvPr/>
        </p:nvGrpSpPr>
        <p:grpSpPr>
          <a:xfrm>
            <a:off x="0" y="-887"/>
            <a:ext cx="2381917" cy="5144925"/>
            <a:chOff x="456100" y="0"/>
            <a:chExt cx="2381917" cy="5144925"/>
          </a:xfrm>
        </p:grpSpPr>
        <p:sp>
          <p:nvSpPr>
            <p:cNvPr id="183" name="Google Shape;183;p13"/>
            <p:cNvSpPr/>
            <p:nvPr/>
          </p:nvSpPr>
          <p:spPr>
            <a:xfrm flipH="1">
              <a:off x="734417" y="0"/>
              <a:ext cx="2103600" cy="5143500"/>
            </a:xfrm>
            <a:prstGeom prst="parallelogram">
              <a:avLst>
                <a:gd name="adj" fmla="val 75274"/>
              </a:avLst>
            </a:prstGeom>
            <a:gradFill>
              <a:gsLst>
                <a:gs pos="0">
                  <a:srgbClr val="000000"/>
                </a:gs>
                <a:gs pos="13000">
                  <a:srgbClr val="000000"/>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13"/>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71000"/>
                </a:schemeClr>
              </a:outerShdw>
            </a:effectLst>
          </p:spPr>
        </p:sp>
      </p:grpSp>
      <p:grpSp>
        <p:nvGrpSpPr>
          <p:cNvPr id="185" name="Google Shape;185;p13"/>
          <p:cNvGrpSpPr/>
          <p:nvPr/>
        </p:nvGrpSpPr>
        <p:grpSpPr>
          <a:xfrm>
            <a:off x="0" y="-887"/>
            <a:ext cx="2132442" cy="5145275"/>
            <a:chOff x="227500" y="0"/>
            <a:chExt cx="2132442" cy="5145275"/>
          </a:xfrm>
        </p:grpSpPr>
        <p:sp>
          <p:nvSpPr>
            <p:cNvPr id="186" name="Google Shape;186;p13"/>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13"/>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Contents slide layout">
    <p:spTree>
      <p:nvGrpSpPr>
        <p:cNvPr id="1" name=""/>
        <p:cNvGrpSpPr/>
        <p:nvPr/>
      </p:nvGrpSpPr>
      <p:grpSpPr>
        <a:xfrm>
          <a:off x="0" y="0"/>
          <a:ext cx="0" cy="0"/>
          <a:chOff x="0" y="0"/>
          <a:chExt cx="0" cy="0"/>
        </a:xfrm>
      </p:grpSpPr>
      <p:grpSp>
        <p:nvGrpSpPr>
          <p:cNvPr id="3" name="Google Shape;92;p7"/>
          <p:cNvGrpSpPr/>
          <p:nvPr userDrawn="1"/>
        </p:nvGrpSpPr>
        <p:grpSpPr>
          <a:xfrm rot="16200000">
            <a:off x="3717725" y="-165463"/>
            <a:ext cx="1644330" cy="9208225"/>
            <a:chOff x="77418"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9707951">
              <a:off x="77418" y="-36139"/>
              <a:ext cx="2103598"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5627718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Contents slide layout">
    <p:spTree>
      <p:nvGrpSpPr>
        <p:cNvPr id="1" name=""/>
        <p:cNvGrpSpPr/>
        <p:nvPr/>
      </p:nvGrpSpPr>
      <p:grpSpPr>
        <a:xfrm>
          <a:off x="0" y="0"/>
          <a:ext cx="0" cy="0"/>
          <a:chOff x="0" y="0"/>
          <a:chExt cx="0" cy="0"/>
        </a:xfrm>
      </p:grpSpPr>
      <p:grpSp>
        <p:nvGrpSpPr>
          <p:cNvPr id="3" name="Google Shape;92;p7"/>
          <p:cNvGrpSpPr/>
          <p:nvPr userDrawn="1"/>
        </p:nvGrpSpPr>
        <p:grpSpPr>
          <a:xfrm rot="16200000">
            <a:off x="3717725" y="-165462"/>
            <a:ext cx="1644330" cy="9208225"/>
            <a:chOff x="77417"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174873">
              <a:off x="77417" y="-36139"/>
              <a:ext cx="2103598"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3117062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ontents slide layout">
    <p:spTree>
      <p:nvGrpSpPr>
        <p:cNvPr id="1" name=""/>
        <p:cNvGrpSpPr/>
        <p:nvPr/>
      </p:nvGrpSpPr>
      <p:grpSpPr>
        <a:xfrm>
          <a:off x="0" y="0"/>
          <a:ext cx="0" cy="0"/>
          <a:chOff x="0" y="0"/>
          <a:chExt cx="0" cy="0"/>
        </a:xfrm>
      </p:grpSpPr>
      <p:grpSp>
        <p:nvGrpSpPr>
          <p:cNvPr id="3" name="Google Shape;92;p7"/>
          <p:cNvGrpSpPr/>
          <p:nvPr userDrawn="1"/>
        </p:nvGrpSpPr>
        <p:grpSpPr>
          <a:xfrm rot="16200000">
            <a:off x="3745517" y="-99072"/>
            <a:ext cx="1588602" cy="9208365"/>
            <a:chOff x="28041" y="-36218"/>
            <a:chExt cx="2032305" cy="5181493"/>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279421">
              <a:off x="28041" y="-36218"/>
              <a:ext cx="2032305"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16602716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Contents slide layout">
    <p:spTree>
      <p:nvGrpSpPr>
        <p:cNvPr id="1" name=""/>
        <p:cNvGrpSpPr/>
        <p:nvPr/>
      </p:nvGrpSpPr>
      <p:grpSpPr>
        <a:xfrm>
          <a:off x="0" y="0"/>
          <a:ext cx="0" cy="0"/>
          <a:chOff x="0" y="0"/>
          <a:chExt cx="0" cy="0"/>
        </a:xfrm>
      </p:grpSpPr>
      <p:grpSp>
        <p:nvGrpSpPr>
          <p:cNvPr id="3" name="Google Shape;92;p7"/>
          <p:cNvGrpSpPr/>
          <p:nvPr userDrawn="1"/>
        </p:nvGrpSpPr>
        <p:grpSpPr>
          <a:xfrm rot="5400000">
            <a:off x="3788367" y="-3922281"/>
            <a:ext cx="1645920" cy="9236800"/>
            <a:chOff x="77417"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324491">
              <a:off x="77417" y="-36139"/>
              <a:ext cx="2103598" cy="5143500"/>
            </a:xfrm>
            <a:prstGeom prst="parallelogram">
              <a:avLst>
                <a:gd name="adj" fmla="val 75274"/>
              </a:avLst>
            </a:prstGeom>
            <a:gradFill>
              <a:gsLst>
                <a:gs pos="0">
                  <a:srgbClr val="0837CE"/>
                </a:gs>
                <a:gs pos="23000">
                  <a:srgbClr val="FFDF8C"/>
                </a:gs>
                <a:gs pos="53000">
                  <a:schemeClr val="bg1"/>
                </a:gs>
                <a:gs pos="87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adFill flip="none" rotWithShape="1">
              <a:gsLst>
                <a:gs pos="0">
                  <a:srgbClr val="284DC5"/>
                </a:gs>
                <a:gs pos="5000">
                  <a:srgbClr val="284DC5"/>
                </a:gs>
                <a:gs pos="48000">
                  <a:schemeClr val="lt2"/>
                </a:gs>
                <a:gs pos="65000">
                  <a:schemeClr val="lt2"/>
                </a:gs>
              </a:gsLst>
              <a:lin ang="0" scaled="1"/>
              <a:tileRect/>
            </a:grad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8887323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Contents slide layout">
    <p:spTree>
      <p:nvGrpSpPr>
        <p:cNvPr id="1" name=""/>
        <p:cNvGrpSpPr/>
        <p:nvPr/>
      </p:nvGrpSpPr>
      <p:grpSpPr>
        <a:xfrm>
          <a:off x="0" y="0"/>
          <a:ext cx="0" cy="0"/>
          <a:chOff x="0" y="0"/>
          <a:chExt cx="0" cy="0"/>
        </a:xfrm>
      </p:grpSpPr>
      <p:grpSp>
        <p:nvGrpSpPr>
          <p:cNvPr id="9" name="Google Shape;165;p12"/>
          <p:cNvGrpSpPr/>
          <p:nvPr userDrawn="1"/>
        </p:nvGrpSpPr>
        <p:grpSpPr>
          <a:xfrm rot="16200000">
            <a:off x="3902322" y="-3920901"/>
            <a:ext cx="1330189" cy="9153169"/>
            <a:chOff x="1060873" y="0"/>
            <a:chExt cx="2326044" cy="5143500"/>
          </a:xfrm>
        </p:grpSpPr>
        <p:sp>
          <p:nvSpPr>
            <p:cNvPr id="10"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 name="Google Shape;92;p7"/>
          <p:cNvGrpSpPr/>
          <p:nvPr userDrawn="1"/>
        </p:nvGrpSpPr>
        <p:grpSpPr>
          <a:xfrm rot="5400000">
            <a:off x="3734324" y="-3750813"/>
            <a:ext cx="1668278" cy="9151074"/>
            <a:chOff x="227502" y="-71146"/>
            <a:chExt cx="2132172" cy="5216422"/>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324491">
              <a:off x="256076" y="-36270"/>
              <a:ext cx="2103598" cy="5170814"/>
            </a:xfrm>
            <a:prstGeom prst="parallelogram">
              <a:avLst>
                <a:gd name="adj" fmla="val 75274"/>
              </a:avLst>
            </a:prstGeom>
            <a:gradFill>
              <a:gsLst>
                <a:gs pos="0">
                  <a:srgbClr val="0837CE"/>
                </a:gs>
                <a:gs pos="23000">
                  <a:srgbClr val="FFDF8C"/>
                </a:gs>
                <a:gs pos="53000">
                  <a:schemeClr val="bg1"/>
                </a:gs>
                <a:gs pos="87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94;p7"/>
            <p:cNvSpPr/>
            <p:nvPr/>
          </p:nvSpPr>
          <p:spPr>
            <a:xfrm>
              <a:off x="227502" y="-71146"/>
              <a:ext cx="901718" cy="5216422"/>
            </a:xfrm>
            <a:custGeom>
              <a:avLst/>
              <a:gdLst/>
              <a:ahLst/>
              <a:cxnLst/>
              <a:rect l="l" t="t" r="r" b="b"/>
              <a:pathLst>
                <a:path w="73037" h="205811" extrusionOk="0">
                  <a:moveTo>
                    <a:pt x="0" y="205797"/>
                  </a:moveTo>
                  <a:lnTo>
                    <a:pt x="44" y="0"/>
                  </a:lnTo>
                  <a:lnTo>
                    <a:pt x="73037" y="0"/>
                  </a:lnTo>
                  <a:lnTo>
                    <a:pt x="33572" y="205811"/>
                  </a:lnTo>
                  <a:close/>
                </a:path>
              </a:pathLst>
            </a:custGeom>
            <a:gradFill flip="none" rotWithShape="1">
              <a:gsLst>
                <a:gs pos="0">
                  <a:srgbClr val="284DC5"/>
                </a:gs>
                <a:gs pos="5000">
                  <a:srgbClr val="284DC5"/>
                </a:gs>
                <a:gs pos="48000">
                  <a:schemeClr val="lt2"/>
                </a:gs>
                <a:gs pos="65000">
                  <a:schemeClr val="lt2"/>
                </a:gs>
              </a:gsLst>
              <a:lin ang="0" scaled="1"/>
              <a:tileRect/>
            </a:grad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13522902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grpSp>
        <p:nvGrpSpPr>
          <p:cNvPr id="3" name="Google Shape;92;p7"/>
          <p:cNvGrpSpPr/>
          <p:nvPr userDrawn="1"/>
        </p:nvGrpSpPr>
        <p:grpSpPr>
          <a:xfrm rot="5400000">
            <a:off x="3788367" y="-3922280"/>
            <a:ext cx="1645920" cy="9236800"/>
            <a:chOff x="77418"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9707951">
              <a:off x="77418" y="-36139"/>
              <a:ext cx="2103598"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9313900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9_Content Page - Small Hea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911100461"/>
      </p:ext>
    </p:extLst>
  </p:cSld>
  <p:clrMapOvr>
    <a:overrideClrMapping bg1="lt1" tx1="dk1" bg2="lt2" tx2="dk2" accent1="accent1" accent2="accent2" accent3="accent3" accent4="accent4" accent5="accent5" accent6="accent6" hlink="hlink" folHlink="folHlink"/>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preserve="1" userDrawn="1">
  <p:cSld name="1_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017908" y="-100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3;p2"/>
          <p:cNvGrpSpPr/>
          <p:nvPr/>
        </p:nvGrpSpPr>
        <p:grpSpPr>
          <a:xfrm>
            <a:off x="7017908"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 name="Google Shape;16;p2"/>
          <p:cNvGrpSpPr/>
          <p:nvPr/>
        </p:nvGrpSpPr>
        <p:grpSpPr>
          <a:xfrm>
            <a:off x="1" y="-1000"/>
            <a:ext cx="2486024"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sp>
        <p:nvSpPr>
          <p:cNvPr id="27" name="Title 1"/>
          <p:cNvSpPr txBox="1">
            <a:spLocks/>
          </p:cNvSpPr>
          <p:nvPr userDrawn="1"/>
        </p:nvSpPr>
        <p:spPr>
          <a:xfrm>
            <a:off x="7836372" y="4724399"/>
            <a:ext cx="1260003" cy="326323"/>
          </a:xfrm>
          <a:prstGeom prst="rect">
            <a:avLst/>
          </a:prstGeom>
          <a:noFill/>
          <a:ln>
            <a:noFill/>
          </a:ln>
        </p:spPr>
        <p:txBody>
          <a:bodyPr spcFirstLastPara="1" wrap="square" lIns="0" tIns="0" rIns="0" bIns="0" anchor="b"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r>
              <a:rPr lang="en-US" sz="1800" dirty="0">
                <a:solidFill>
                  <a:srgbClr val="545558"/>
                </a:solidFill>
                <a:latin typeface="Cambria" panose="02040503050406030204" pitchFamily="18" charset="0"/>
              </a:rPr>
              <a:t>March </a:t>
            </a:r>
            <a:r>
              <a:rPr lang="fr-FR" sz="1800" dirty="0">
                <a:solidFill>
                  <a:srgbClr val="545558"/>
                </a:solidFill>
                <a:latin typeface="Cambria" panose="02040503050406030204" pitchFamily="18" charset="0"/>
              </a:rPr>
              <a:t>202</a:t>
            </a:r>
            <a:r>
              <a:rPr lang="en-US" sz="1800" dirty="0">
                <a:solidFill>
                  <a:srgbClr val="545558"/>
                </a:solidFill>
                <a:latin typeface="Cambria" panose="02040503050406030204" pitchFamily="18" charset="0"/>
              </a:rPr>
              <a:t>3</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6530" y="105021"/>
            <a:ext cx="1828800" cy="409630"/>
          </a:xfrm>
          <a:prstGeom prst="rect">
            <a:avLst/>
          </a:prstGeom>
        </p:spPr>
      </p:pic>
    </p:spTree>
    <p:extLst>
      <p:ext uri="{BB962C8B-B14F-4D97-AF65-F5344CB8AC3E}">
        <p14:creationId xmlns:p14="http://schemas.microsoft.com/office/powerpoint/2010/main" val="1544295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Content with image backgroun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1728" y="4800601"/>
            <a:ext cx="1178794" cy="264033"/>
          </a:xfrm>
          <a:prstGeom prst="rect">
            <a:avLst/>
          </a:prstGeom>
        </p:spPr>
      </p:pic>
    </p:spTree>
    <p:extLst>
      <p:ext uri="{BB962C8B-B14F-4D97-AF65-F5344CB8AC3E}">
        <p14:creationId xmlns:p14="http://schemas.microsoft.com/office/powerpoint/2010/main" val="2820109455"/>
      </p:ext>
    </p:extLst>
  </p:cSld>
  <p:clrMapOvr>
    <a:overrideClrMapping bg1="lt1" tx1="dk1" bg2="lt2" tx2="dk2" accent1="accent1" accent2="accent2" accent3="accent3" accent4="accent4" accent5="accent5" accent6="accent6" hlink="hlink" folHlink="folHlink"/>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userDrawn="1">
  <p:cSld name="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5391536" y="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3" name="Google Shape;13;p2"/>
          <p:cNvGrpSpPr/>
          <p:nvPr/>
        </p:nvGrpSpPr>
        <p:grpSpPr>
          <a:xfrm>
            <a:off x="4940486"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 name="Google Shape;16;p2"/>
          <p:cNvGrpSpPr/>
          <p:nvPr/>
        </p:nvGrpSpPr>
        <p:grpSpPr>
          <a:xfrm>
            <a:off x="3878963" y="-650"/>
            <a:ext cx="2838667"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9" name="Google Shape;19;p2"/>
          <p:cNvGrpSpPr/>
          <p:nvPr/>
        </p:nvGrpSpPr>
        <p:grpSpPr>
          <a:xfrm>
            <a:off x="-6575" y="-6575"/>
            <a:ext cx="6246130" cy="5153775"/>
            <a:chOff x="-3886187" y="-6575"/>
            <a:chExt cx="6246130" cy="5153775"/>
          </a:xfrm>
          <a:gradFill>
            <a:gsLst>
              <a:gs pos="0">
                <a:srgbClr val="0837CE"/>
              </a:gs>
              <a:gs pos="74000">
                <a:schemeClr val="accent1">
                  <a:lumMod val="45000"/>
                  <a:lumOff val="55000"/>
                </a:schemeClr>
              </a:gs>
              <a:gs pos="83000">
                <a:schemeClr val="bg1"/>
              </a:gs>
              <a:gs pos="100000">
                <a:schemeClr val="accent1">
                  <a:lumMod val="30000"/>
                  <a:lumOff val="70000"/>
                </a:schemeClr>
              </a:gs>
            </a:gsLst>
            <a:lin ang="5400000" scaled="1"/>
          </a:gradFill>
        </p:grpSpPr>
        <p:sp>
          <p:nvSpPr>
            <p:cNvPr id="20" name="Google Shape;20;p2"/>
            <p:cNvSpPr/>
            <p:nvPr/>
          </p:nvSpPr>
          <p:spPr>
            <a:xfrm>
              <a:off x="256342" y="0"/>
              <a:ext cx="2103600" cy="5143500"/>
            </a:xfrm>
            <a:prstGeom prst="parallelogram">
              <a:avLst>
                <a:gd name="adj" fmla="val 75274"/>
              </a:avLst>
            </a:prstGeom>
            <a:gradFill>
              <a:gsLst>
                <a:gs pos="0">
                  <a:srgbClr val="0837CE"/>
                </a:gs>
                <a:gs pos="74000">
                  <a:schemeClr val="accent1">
                    <a:lumMod val="45000"/>
                    <a:lumOff val="55000"/>
                  </a:schemeClr>
                </a:gs>
                <a:gs pos="83000">
                  <a:schemeClr val="bg1"/>
                </a:gs>
                <a:gs pos="100000">
                  <a:schemeClr val="accent1">
                    <a:lumMod val="30000"/>
                    <a:lumOff val="70000"/>
                  </a:schemeClr>
                </a:gs>
              </a:gsLst>
              <a:lin ang="5400000" scaled="1"/>
            </a:gradFill>
            <a:ln>
              <a:noFill/>
            </a:ln>
          </p:spPr>
          <p:txBody>
            <a:bodyPr spcFirstLastPara="1" wrap="square" lIns="91425" tIns="91425" rIns="91425" bIns="91425" anchor="ctr" anchorCtr="0">
              <a:noAutofit/>
            </a:bodyPr>
            <a:lstStyle/>
            <a:p>
              <a:endParaRPr/>
            </a:p>
          </p:txBody>
        </p:sp>
        <p:sp>
          <p:nvSpPr>
            <p:cNvPr id="21" name="Google Shape;21;p2"/>
            <p:cNvSpPr/>
            <p:nvPr/>
          </p:nvSpPr>
          <p:spPr>
            <a:xfrm>
              <a:off x="-3886187" y="-6575"/>
              <a:ext cx="5936050" cy="5153775"/>
            </a:xfrm>
            <a:custGeom>
              <a:avLst/>
              <a:gdLst/>
              <a:ahLst/>
              <a:cxnLst/>
              <a:rect l="l" t="t" r="r" b="b"/>
              <a:pathLst>
                <a:path w="237442" h="206151" extrusionOk="0">
                  <a:moveTo>
                    <a:pt x="0" y="206151"/>
                  </a:moveTo>
                  <a:lnTo>
                    <a:pt x="0" y="0"/>
                  </a:lnTo>
                  <a:lnTo>
                    <a:pt x="237442" y="0"/>
                  </a:lnTo>
                  <a:lnTo>
                    <a:pt x="198081" y="206089"/>
                  </a:lnTo>
                  <a:close/>
                </a:path>
              </a:pathLst>
            </a:custGeom>
            <a:gradFill>
              <a:gsLst>
                <a:gs pos="0">
                  <a:srgbClr val="0837CE"/>
                </a:gs>
                <a:gs pos="44000">
                  <a:srgbClr val="0837CE"/>
                </a:gs>
                <a:gs pos="95000">
                  <a:schemeClr val="bg1"/>
                </a:gs>
                <a:gs pos="100000">
                  <a:schemeClr val="bg1"/>
                </a:gs>
              </a:gsLst>
              <a:lin ang="5400000" scaled="1"/>
            </a:gradFill>
            <a:ln>
              <a:noFill/>
            </a:ln>
            <a:effectLst>
              <a:outerShdw blurRad="314325" algn="bl" rotWithShape="0">
                <a:schemeClr val="accent6">
                  <a:alpha val="50000"/>
                </a:schemeClr>
              </a:outerShdw>
            </a:effectLst>
          </p:spPr>
        </p: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41405" y="105021"/>
            <a:ext cx="1828800" cy="409630"/>
          </a:xfrm>
          <a:prstGeom prst="rect">
            <a:avLst/>
          </a:prstGeom>
        </p:spPr>
      </p:pic>
    </p:spTree>
    <p:extLst>
      <p:ext uri="{BB962C8B-B14F-4D97-AF65-F5344CB8AC3E}">
        <p14:creationId xmlns:p14="http://schemas.microsoft.com/office/powerpoint/2010/main" val="10076785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preserve="1" userDrawn="1">
  <p:cSld name="1_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017908" y="-100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3" name="Google Shape;13;p2"/>
          <p:cNvGrpSpPr/>
          <p:nvPr/>
        </p:nvGrpSpPr>
        <p:grpSpPr>
          <a:xfrm>
            <a:off x="7017908"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 name="Google Shape;16;p2"/>
          <p:cNvGrpSpPr/>
          <p:nvPr/>
        </p:nvGrpSpPr>
        <p:grpSpPr>
          <a:xfrm>
            <a:off x="1" y="-1000"/>
            <a:ext cx="1847850"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sp>
        <p:nvSpPr>
          <p:cNvPr id="27" name="Title 1"/>
          <p:cNvSpPr txBox="1">
            <a:spLocks/>
          </p:cNvSpPr>
          <p:nvPr userDrawn="1"/>
        </p:nvSpPr>
        <p:spPr>
          <a:xfrm>
            <a:off x="7836372" y="4724399"/>
            <a:ext cx="1260003" cy="326323"/>
          </a:xfrm>
          <a:prstGeom prst="rect">
            <a:avLst/>
          </a:prstGeom>
          <a:noFill/>
          <a:ln>
            <a:noFill/>
          </a:ln>
        </p:spPr>
        <p:txBody>
          <a:bodyPr spcFirstLastPara="1" wrap="square" lIns="0" tIns="0" rIns="0" bIns="0" anchor="b"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pPr>
              <a:buClr>
                <a:srgbClr val="3E4655"/>
              </a:buClr>
            </a:pPr>
            <a:r>
              <a:rPr lang="en-US" sz="1800" dirty="0">
                <a:solidFill>
                  <a:srgbClr val="545558"/>
                </a:solidFill>
                <a:latin typeface="Cambria" panose="02040503050406030204" pitchFamily="18" charset="0"/>
              </a:rPr>
              <a:t>March </a:t>
            </a:r>
            <a:r>
              <a:rPr lang="fr-FR" sz="1800" dirty="0">
                <a:solidFill>
                  <a:srgbClr val="545558"/>
                </a:solidFill>
                <a:latin typeface="Cambria" panose="02040503050406030204" pitchFamily="18" charset="0"/>
              </a:rPr>
              <a:t>202</a:t>
            </a:r>
            <a:r>
              <a:rPr lang="en-US" sz="1800" dirty="0">
                <a:solidFill>
                  <a:srgbClr val="545558"/>
                </a:solidFill>
                <a:latin typeface="Cambria" panose="02040503050406030204" pitchFamily="18" charset="0"/>
              </a:rPr>
              <a:t>3</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6530" y="105021"/>
            <a:ext cx="1828800" cy="409630"/>
          </a:xfrm>
          <a:prstGeom prst="rect">
            <a:avLst/>
          </a:prstGeom>
        </p:spPr>
      </p:pic>
    </p:spTree>
    <p:extLst>
      <p:ext uri="{BB962C8B-B14F-4D97-AF65-F5344CB8AC3E}">
        <p14:creationId xmlns:p14="http://schemas.microsoft.com/office/powerpoint/2010/main" val="525231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preserve="1" userDrawn="1">
  <p:cSld name="1_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017908" y="-100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3" name="Google Shape;13;p2"/>
          <p:cNvGrpSpPr/>
          <p:nvPr/>
        </p:nvGrpSpPr>
        <p:grpSpPr>
          <a:xfrm>
            <a:off x="7017908"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 name="Google Shape;16;p2"/>
          <p:cNvGrpSpPr/>
          <p:nvPr/>
        </p:nvGrpSpPr>
        <p:grpSpPr>
          <a:xfrm>
            <a:off x="1" y="-1000"/>
            <a:ext cx="2486024"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sp>
        <p:nvSpPr>
          <p:cNvPr id="27" name="Title 1"/>
          <p:cNvSpPr txBox="1">
            <a:spLocks/>
          </p:cNvSpPr>
          <p:nvPr userDrawn="1"/>
        </p:nvSpPr>
        <p:spPr>
          <a:xfrm>
            <a:off x="7836372" y="4724399"/>
            <a:ext cx="1260003" cy="326323"/>
          </a:xfrm>
          <a:prstGeom prst="rect">
            <a:avLst/>
          </a:prstGeom>
          <a:noFill/>
          <a:ln>
            <a:noFill/>
          </a:ln>
        </p:spPr>
        <p:txBody>
          <a:bodyPr spcFirstLastPara="1" wrap="square" lIns="0" tIns="0" rIns="0" bIns="0" anchor="b"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pPr>
              <a:buClr>
                <a:srgbClr val="3E4655"/>
              </a:buClr>
            </a:pPr>
            <a:r>
              <a:rPr lang="en-US" sz="1800" dirty="0">
                <a:solidFill>
                  <a:srgbClr val="545558"/>
                </a:solidFill>
                <a:latin typeface="Cambria" panose="02040503050406030204" pitchFamily="18" charset="0"/>
              </a:rPr>
              <a:t>March </a:t>
            </a:r>
            <a:r>
              <a:rPr lang="fr-FR" sz="1800" dirty="0">
                <a:solidFill>
                  <a:srgbClr val="545558"/>
                </a:solidFill>
                <a:latin typeface="Cambria" panose="02040503050406030204" pitchFamily="18" charset="0"/>
              </a:rPr>
              <a:t>202</a:t>
            </a:r>
            <a:r>
              <a:rPr lang="en-US" sz="1800" dirty="0">
                <a:solidFill>
                  <a:srgbClr val="545558"/>
                </a:solidFill>
                <a:latin typeface="Cambria" panose="02040503050406030204" pitchFamily="18" charset="0"/>
              </a:rPr>
              <a:t>3</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6530" y="105021"/>
            <a:ext cx="1828800" cy="409630"/>
          </a:xfrm>
          <a:prstGeom prst="rect">
            <a:avLst/>
          </a:prstGeom>
        </p:spPr>
      </p:pic>
    </p:spTree>
    <p:extLst>
      <p:ext uri="{BB962C8B-B14F-4D97-AF65-F5344CB8AC3E}">
        <p14:creationId xmlns:p14="http://schemas.microsoft.com/office/powerpoint/2010/main" val="2339503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preserve="1" userDrawn="1">
  <p:cSld name="1_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017908" y="-100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3" name="Google Shape;13;p2"/>
          <p:cNvGrpSpPr/>
          <p:nvPr/>
        </p:nvGrpSpPr>
        <p:grpSpPr>
          <a:xfrm>
            <a:off x="7017908"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 name="Google Shape;16;p2"/>
          <p:cNvGrpSpPr/>
          <p:nvPr/>
        </p:nvGrpSpPr>
        <p:grpSpPr>
          <a:xfrm>
            <a:off x="1" y="-1000"/>
            <a:ext cx="1847850"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sp>
        <p:nvSpPr>
          <p:cNvPr id="27" name="Title 1"/>
          <p:cNvSpPr txBox="1">
            <a:spLocks/>
          </p:cNvSpPr>
          <p:nvPr userDrawn="1"/>
        </p:nvSpPr>
        <p:spPr>
          <a:xfrm>
            <a:off x="7836372" y="4724399"/>
            <a:ext cx="1260003" cy="326323"/>
          </a:xfrm>
          <a:prstGeom prst="rect">
            <a:avLst/>
          </a:prstGeom>
          <a:noFill/>
          <a:ln>
            <a:noFill/>
          </a:ln>
        </p:spPr>
        <p:txBody>
          <a:bodyPr spcFirstLastPara="1" wrap="square" lIns="0" tIns="0" rIns="0" bIns="0" anchor="b"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pPr>
              <a:buClr>
                <a:srgbClr val="3E4655"/>
              </a:buClr>
            </a:pPr>
            <a:r>
              <a:rPr lang="en-US" sz="1800" dirty="0">
                <a:solidFill>
                  <a:srgbClr val="545558"/>
                </a:solidFill>
                <a:latin typeface="Cambria" panose="02040503050406030204" pitchFamily="18" charset="0"/>
              </a:rPr>
              <a:t>March </a:t>
            </a:r>
            <a:r>
              <a:rPr lang="fr-FR" sz="1800" dirty="0">
                <a:solidFill>
                  <a:srgbClr val="545558"/>
                </a:solidFill>
                <a:latin typeface="Cambria" panose="02040503050406030204" pitchFamily="18" charset="0"/>
              </a:rPr>
              <a:t>202</a:t>
            </a:r>
            <a:r>
              <a:rPr lang="en-US" sz="1800" dirty="0">
                <a:solidFill>
                  <a:srgbClr val="545558"/>
                </a:solidFill>
                <a:latin typeface="Cambria" panose="02040503050406030204" pitchFamily="18" charset="0"/>
              </a:rPr>
              <a:t>3</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6530" y="105021"/>
            <a:ext cx="1828800" cy="409630"/>
          </a:xfrm>
          <a:prstGeom prst="rect">
            <a:avLst/>
          </a:prstGeom>
        </p:spPr>
      </p:pic>
    </p:spTree>
    <p:extLst>
      <p:ext uri="{BB962C8B-B14F-4D97-AF65-F5344CB8AC3E}">
        <p14:creationId xmlns:p14="http://schemas.microsoft.com/office/powerpoint/2010/main" val="21492065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Quote">
  <p:cSld name="Quote">
    <p:bg>
      <p:bgPr>
        <a:gradFill>
          <a:gsLst>
            <a:gs pos="0">
              <a:schemeClr val="lt1"/>
            </a:gs>
            <a:gs pos="19000">
              <a:schemeClr val="lt2"/>
            </a:gs>
            <a:gs pos="100000">
              <a:schemeClr val="lt2"/>
            </a:gs>
          </a:gsLst>
          <a:lin ang="10800025" scaled="0"/>
        </a:gradFill>
        <a:effectLst/>
      </p:bgPr>
    </p:bg>
    <p:spTree>
      <p:nvGrpSpPr>
        <p:cNvPr id="1" name="Shape 38"/>
        <p:cNvGrpSpPr/>
        <p:nvPr/>
      </p:nvGrpSpPr>
      <p:grpSpPr>
        <a:xfrm>
          <a:off x="0" y="0"/>
          <a:ext cx="0" cy="0"/>
          <a:chOff x="0" y="0"/>
          <a:chExt cx="0" cy="0"/>
        </a:xfrm>
      </p:grpSpPr>
      <p:grpSp>
        <p:nvGrpSpPr>
          <p:cNvPr id="39" name="Google Shape;39;p4"/>
          <p:cNvGrpSpPr/>
          <p:nvPr/>
        </p:nvGrpSpPr>
        <p:grpSpPr>
          <a:xfrm>
            <a:off x="5391536" y="0"/>
            <a:ext cx="2486310" cy="5143500"/>
            <a:chOff x="1511923" y="0"/>
            <a:chExt cx="2486310" cy="5143500"/>
          </a:xfrm>
        </p:grpSpPr>
        <p:sp>
          <p:nvSpPr>
            <p:cNvPr id="40" name="Google Shape;40;p4"/>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41" name="Google Shape;41;p4"/>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42" name="Google Shape;42;p4"/>
          <p:cNvGrpSpPr/>
          <p:nvPr/>
        </p:nvGrpSpPr>
        <p:grpSpPr>
          <a:xfrm>
            <a:off x="4940486" y="0"/>
            <a:ext cx="2326044" cy="5143500"/>
            <a:chOff x="1060873" y="0"/>
            <a:chExt cx="2326044" cy="5143500"/>
          </a:xfrm>
        </p:grpSpPr>
        <p:sp>
          <p:nvSpPr>
            <p:cNvPr id="43" name="Google Shape;43;p4"/>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44" name="Google Shape;44;p4"/>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45" name="Google Shape;45;p4"/>
          <p:cNvGrpSpPr/>
          <p:nvPr/>
        </p:nvGrpSpPr>
        <p:grpSpPr>
          <a:xfrm>
            <a:off x="3878963" y="-650"/>
            <a:ext cx="2838667" cy="5145500"/>
            <a:chOff x="-650" y="-650"/>
            <a:chExt cx="2838667" cy="5145500"/>
          </a:xfrm>
        </p:grpSpPr>
        <p:sp>
          <p:nvSpPr>
            <p:cNvPr id="46" name="Google Shape;46;p4"/>
            <p:cNvSpPr/>
            <p:nvPr/>
          </p:nvSpPr>
          <p:spPr>
            <a:xfrm flipH="1">
              <a:off x="7344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47" name="Google Shape;47;p4"/>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48" name="Google Shape;48;p4"/>
          <p:cNvGrpSpPr/>
          <p:nvPr/>
        </p:nvGrpSpPr>
        <p:grpSpPr>
          <a:xfrm>
            <a:off x="-6575" y="-6575"/>
            <a:ext cx="6246130" cy="5153775"/>
            <a:chOff x="-3886187" y="-6575"/>
            <a:chExt cx="6246130" cy="5153775"/>
          </a:xfrm>
        </p:grpSpPr>
        <p:sp>
          <p:nvSpPr>
            <p:cNvPr id="49" name="Google Shape;49;p4"/>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50" name="Google Shape;50;p4"/>
            <p:cNvSpPr/>
            <p:nvPr/>
          </p:nvSpPr>
          <p:spPr>
            <a:xfrm>
              <a:off x="-3886187" y="-6575"/>
              <a:ext cx="5936050" cy="5153775"/>
            </a:xfrm>
            <a:custGeom>
              <a:avLst/>
              <a:gdLst/>
              <a:ahLst/>
              <a:cxnLst/>
              <a:rect l="l" t="t" r="r" b="b"/>
              <a:pathLst>
                <a:path w="237442" h="206151" extrusionOk="0">
                  <a:moveTo>
                    <a:pt x="0" y="206151"/>
                  </a:moveTo>
                  <a:lnTo>
                    <a:pt x="0" y="0"/>
                  </a:lnTo>
                  <a:lnTo>
                    <a:pt x="237442" y="0"/>
                  </a:lnTo>
                  <a:lnTo>
                    <a:pt x="198081" y="206089"/>
                  </a:lnTo>
                  <a:close/>
                </a:path>
              </a:pathLst>
            </a:custGeom>
            <a:gradFill>
              <a:gsLst>
                <a:gs pos="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51" name="Google Shape;51;p4"/>
          <p:cNvSpPr txBox="1">
            <a:spLocks noGrp="1"/>
          </p:cNvSpPr>
          <p:nvPr>
            <p:ph type="body" idx="1"/>
          </p:nvPr>
        </p:nvSpPr>
        <p:spPr>
          <a:xfrm>
            <a:off x="911750" y="643275"/>
            <a:ext cx="4130400" cy="3853200"/>
          </a:xfrm>
          <a:prstGeom prst="rect">
            <a:avLst/>
          </a:prstGeom>
        </p:spPr>
        <p:txBody>
          <a:bodyPr spcFirstLastPara="1" wrap="square" lIns="0" tIns="0" rIns="0" bIns="0" anchor="t" anchorCtr="0">
            <a:noAutofit/>
          </a:bodyPr>
          <a:lstStyle>
            <a:lvl1pPr marL="457200" lvl="0" indent="-431800" rtl="0">
              <a:spcBef>
                <a:spcPts val="0"/>
              </a:spcBef>
              <a:spcAft>
                <a:spcPts val="0"/>
              </a:spcAft>
              <a:buSzPts val="3200"/>
              <a:buFont typeface="IBM Plex Serif"/>
              <a:buChar char="▸"/>
              <a:defRPr sz="3200" b="1" i="1">
                <a:latin typeface="IBM Plex Serif"/>
                <a:ea typeface="IBM Plex Serif"/>
                <a:cs typeface="IBM Plex Serif"/>
                <a:sym typeface="IBM Plex Serif"/>
              </a:defRPr>
            </a:lvl1pPr>
            <a:lvl2pPr marL="914400" lvl="1"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2pPr>
            <a:lvl3pPr marL="1371600" lvl="2"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3pPr>
            <a:lvl4pPr marL="1828800" lvl="3"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4pPr>
            <a:lvl5pPr marL="2286000" lvl="4"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5pPr>
            <a:lvl6pPr marL="2743200" lvl="5"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6pPr>
            <a:lvl7pPr marL="3200400" lvl="6"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7pPr>
            <a:lvl8pPr marL="3657600" lvl="7"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8pPr>
            <a:lvl9pPr marL="4114800" lvl="8" indent="-431800" rtl="0">
              <a:spcBef>
                <a:spcPts val="600"/>
              </a:spcBef>
              <a:spcAft>
                <a:spcPts val="600"/>
              </a:spcAft>
              <a:buSzPts val="3200"/>
              <a:buFont typeface="IBM Plex Serif"/>
              <a:buChar char="■"/>
              <a:defRPr sz="3200" b="1" i="1">
                <a:latin typeface="IBM Plex Serif"/>
                <a:ea typeface="IBM Plex Serif"/>
                <a:cs typeface="IBM Plex Serif"/>
                <a:sym typeface="IBM Plex Serif"/>
              </a:defRPr>
            </a:lvl9pPr>
          </a:lstStyle>
          <a:p>
            <a:endParaRPr/>
          </a:p>
        </p:txBody>
      </p:sp>
      <p:sp>
        <p:nvSpPr>
          <p:cNvPr id="52" name="Google Shape;52;p4"/>
          <p:cNvSpPr txBox="1"/>
          <p:nvPr/>
        </p:nvSpPr>
        <p:spPr>
          <a:xfrm>
            <a:off x="297010" y="335022"/>
            <a:ext cx="674700" cy="653700"/>
          </a:xfrm>
          <a:prstGeom prst="rect">
            <a:avLst/>
          </a:prstGeom>
          <a:noFill/>
          <a:ln>
            <a:noFill/>
          </a:ln>
          <a:effectLst>
            <a:outerShdw blurRad="100013" dist="38100" dir="5400000" algn="bl" rotWithShape="0">
              <a:schemeClr val="accent6">
                <a:alpha val="50000"/>
              </a:schemeClr>
            </a:outerShdw>
          </a:effectLst>
        </p:spPr>
        <p:txBody>
          <a:bodyPr spcFirstLastPara="1" wrap="square" lIns="0" tIns="0" rIns="0" bIns="0" anchor="t" anchorCtr="0">
            <a:noAutofit/>
          </a:bodyPr>
          <a:lstStyle/>
          <a:p>
            <a:pPr algn="ctr"/>
            <a:r>
              <a:rPr lang="en" sz="7200">
                <a:solidFill>
                  <a:srgbClr val="FFFFFF"/>
                </a:solidFill>
                <a:latin typeface="IBM Plex Serif"/>
                <a:ea typeface="IBM Plex Serif"/>
                <a:cs typeface="IBM Plex Serif"/>
                <a:sym typeface="IBM Plex Serif"/>
              </a:rPr>
              <a:t>“</a:t>
            </a:r>
            <a:endParaRPr sz="7200">
              <a:solidFill>
                <a:srgbClr val="FFFFFF"/>
              </a:solidFill>
              <a:latin typeface="IBM Plex Serif"/>
              <a:ea typeface="IBM Plex Serif"/>
              <a:cs typeface="IBM Plex Serif"/>
              <a:sym typeface="IBM Plex Serif"/>
            </a:endParaRPr>
          </a:p>
        </p:txBody>
      </p:sp>
      <p:sp>
        <p:nvSpPr>
          <p:cNvPr id="53" name="Google Shape;53;p4"/>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pPr/>
              <a:t>‹#›</a:t>
            </a:fld>
            <a:endParaRPr/>
          </a:p>
        </p:txBody>
      </p:sp>
      <p:sp>
        <p:nvSpPr>
          <p:cNvPr id="17" name="Google Shape;34;p5"/>
          <p:cNvSpPr/>
          <p:nvPr userDrawn="1"/>
        </p:nvSpPr>
        <p:spPr>
          <a:xfrm>
            <a:off x="3043438" y="5060349"/>
            <a:ext cx="3044952" cy="91440"/>
          </a:xfrm>
          <a:prstGeom prst="rect">
            <a:avLst/>
          </a:prstGeom>
          <a:solidFill>
            <a:srgbClr val="E1E619"/>
          </a:solidFill>
          <a:ln>
            <a:noFill/>
          </a:ln>
        </p:spPr>
        <p:txBody>
          <a:bodyPr spcFirstLastPara="1" wrap="square" lIns="91425" tIns="91425" rIns="91425" bIns="91425" anchor="ctr" anchorCtr="0">
            <a:noAutofit/>
          </a:bodyPr>
          <a:lstStyle/>
          <a:p>
            <a:endParaRPr/>
          </a:p>
        </p:txBody>
      </p:sp>
      <p:sp>
        <p:nvSpPr>
          <p:cNvPr id="18" name="Google Shape;35;p5"/>
          <p:cNvSpPr/>
          <p:nvPr userDrawn="1"/>
        </p:nvSpPr>
        <p:spPr>
          <a:xfrm>
            <a:off x="6091193" y="5058981"/>
            <a:ext cx="3044952" cy="91440"/>
          </a:xfrm>
          <a:prstGeom prst="rect">
            <a:avLst/>
          </a:prstGeom>
          <a:solidFill>
            <a:srgbClr val="FF0000"/>
          </a:solidFill>
          <a:ln>
            <a:solidFill>
              <a:srgbClr val="FF0000"/>
            </a:solidFill>
          </a:ln>
        </p:spPr>
        <p:txBody>
          <a:bodyPr spcFirstLastPara="1" wrap="square" lIns="91425" tIns="91425" rIns="91425" bIns="91425" anchor="ctr" anchorCtr="0">
            <a:noAutofit/>
          </a:bodyPr>
          <a:lstStyle/>
          <a:p>
            <a:endParaRPr/>
          </a:p>
        </p:txBody>
      </p:sp>
      <p:sp>
        <p:nvSpPr>
          <p:cNvPr id="19" name="Google Shape;37;p5"/>
          <p:cNvSpPr/>
          <p:nvPr userDrawn="1"/>
        </p:nvSpPr>
        <p:spPr>
          <a:xfrm>
            <a:off x="0" y="5058045"/>
            <a:ext cx="3044952" cy="91440"/>
          </a:xfrm>
          <a:prstGeom prst="rect">
            <a:avLst/>
          </a:prstGeom>
          <a:solidFill>
            <a:srgbClr val="2140BD"/>
          </a:solidFill>
          <a:ln>
            <a:noFill/>
          </a:ln>
        </p:spPr>
        <p:txBody>
          <a:bodyPr spcFirstLastPara="1" wrap="square" lIns="91425" tIns="91425" rIns="91425" bIns="91425" anchor="ctr" anchorCtr="0">
            <a:noAutofit/>
          </a:bodyPr>
          <a:lstStyle/>
          <a:p>
            <a:endParaRPr/>
          </a:p>
        </p:txBody>
      </p:sp>
    </p:spTree>
    <p:extLst>
      <p:ext uri="{BB962C8B-B14F-4D97-AF65-F5344CB8AC3E}">
        <p14:creationId xmlns:p14="http://schemas.microsoft.com/office/powerpoint/2010/main" val="42715889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54"/>
        <p:cNvGrpSpPr/>
        <p:nvPr/>
      </p:nvGrpSpPr>
      <p:grpSpPr>
        <a:xfrm>
          <a:off x="0" y="0"/>
          <a:ext cx="0" cy="0"/>
          <a:chOff x="0" y="0"/>
          <a:chExt cx="0" cy="0"/>
        </a:xfrm>
      </p:grpSpPr>
      <p:grpSp>
        <p:nvGrpSpPr>
          <p:cNvPr id="55" name="Google Shape;55;p5"/>
          <p:cNvGrpSpPr/>
          <p:nvPr/>
        </p:nvGrpSpPr>
        <p:grpSpPr>
          <a:xfrm>
            <a:off x="598623" y="0"/>
            <a:ext cx="2486310" cy="5143500"/>
            <a:chOff x="1511923" y="0"/>
            <a:chExt cx="2486310" cy="5143500"/>
          </a:xfrm>
        </p:grpSpPr>
        <p:sp>
          <p:nvSpPr>
            <p:cNvPr id="56" name="Google Shape;56;p5"/>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57" name="Google Shape;57;p5"/>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58" name="Google Shape;58;p5"/>
          <p:cNvGrpSpPr/>
          <p:nvPr/>
        </p:nvGrpSpPr>
        <p:grpSpPr>
          <a:xfrm>
            <a:off x="376173" y="0"/>
            <a:ext cx="2326044" cy="5143500"/>
            <a:chOff x="1060873" y="0"/>
            <a:chExt cx="2326044" cy="5143500"/>
          </a:xfrm>
        </p:grpSpPr>
        <p:sp>
          <p:nvSpPr>
            <p:cNvPr id="59" name="Google Shape;59;p5"/>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60" name="Google Shape;60;p5"/>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61" name="Google Shape;61;p5"/>
          <p:cNvGrpSpPr/>
          <p:nvPr/>
        </p:nvGrpSpPr>
        <p:grpSpPr>
          <a:xfrm>
            <a:off x="0" y="0"/>
            <a:ext cx="2305717" cy="5144925"/>
            <a:chOff x="456100" y="0"/>
            <a:chExt cx="2305717" cy="5144925"/>
          </a:xfrm>
        </p:grpSpPr>
        <p:sp>
          <p:nvSpPr>
            <p:cNvPr id="62" name="Google Shape;62;p5"/>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63" name="Google Shape;63;p5"/>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flip="none" rotWithShape="1">
              <a:gsLst>
                <a:gs pos="0">
                  <a:schemeClr val="accent5">
                    <a:lumMod val="0"/>
                    <a:lumOff val="100000"/>
                  </a:schemeClr>
                </a:gs>
                <a:gs pos="83000">
                  <a:srgbClr val="7292FA"/>
                </a:gs>
                <a:gs pos="100000">
                  <a:srgbClr val="041E70"/>
                </a:gs>
              </a:gsLst>
              <a:path path="circle">
                <a:fillToRect l="50000" t="-80000" r="50000" b="180000"/>
              </a:path>
              <a:tileRect/>
            </a:gradFill>
            <a:ln>
              <a:noFill/>
            </a:ln>
            <a:effectLst>
              <a:outerShdw blurRad="314325" algn="bl" rotWithShape="0">
                <a:schemeClr val="dk1">
                  <a:alpha val="50000"/>
                </a:schemeClr>
              </a:outerShdw>
            </a:effectLst>
          </p:spPr>
        </p:sp>
      </p:grpSp>
      <p:grpSp>
        <p:nvGrpSpPr>
          <p:cNvPr id="64" name="Google Shape;64;p5"/>
          <p:cNvGrpSpPr/>
          <p:nvPr/>
        </p:nvGrpSpPr>
        <p:grpSpPr>
          <a:xfrm>
            <a:off x="0" y="0"/>
            <a:ext cx="2132442" cy="5145275"/>
            <a:chOff x="227500" y="0"/>
            <a:chExt cx="2132442" cy="5145275"/>
          </a:xfrm>
        </p:grpSpPr>
        <p:sp>
          <p:nvSpPr>
            <p:cNvPr id="65" name="Google Shape;65;p5"/>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66" name="Google Shape;66;p5"/>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356720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 1 column over color" userDrawn="1">
  <p:cSld name="Title + 1 column over color">
    <p:bg>
      <p:bgPr>
        <a:gradFill>
          <a:gsLst>
            <a:gs pos="0">
              <a:schemeClr val="lt1"/>
            </a:gs>
            <a:gs pos="18000">
              <a:schemeClr val="lt1"/>
            </a:gs>
            <a:gs pos="39000">
              <a:schemeClr val="lt2"/>
            </a:gs>
            <a:gs pos="100000">
              <a:schemeClr val="lt2"/>
            </a:gs>
          </a:gsLst>
          <a:lin ang="10800025" scaled="0"/>
        </a:gradFill>
        <a:effectLst/>
      </p:bgPr>
    </p:bg>
    <p:spTree>
      <p:nvGrpSpPr>
        <p:cNvPr id="1" name="Shape 70"/>
        <p:cNvGrpSpPr/>
        <p:nvPr/>
      </p:nvGrpSpPr>
      <p:grpSpPr>
        <a:xfrm>
          <a:off x="0" y="0"/>
          <a:ext cx="0" cy="0"/>
          <a:chOff x="0" y="0"/>
          <a:chExt cx="0" cy="0"/>
        </a:xfrm>
      </p:grpSpPr>
      <p:sp>
        <p:nvSpPr>
          <p:cNvPr id="72" name="Google Shape;72;p6"/>
          <p:cNvSpPr/>
          <p:nvPr/>
        </p:nvSpPr>
        <p:spPr>
          <a:xfrm>
            <a:off x="1171389" y="6575"/>
            <a:ext cx="2103600" cy="5143500"/>
          </a:xfrm>
          <a:prstGeom prst="parallelogram">
            <a:avLst>
              <a:gd name="adj" fmla="val 46349"/>
            </a:avLst>
          </a:prstGeom>
          <a:gradFill>
            <a:gsLst>
              <a:gs pos="0">
                <a:schemeClr val="lt1"/>
              </a:gs>
              <a:gs pos="100000">
                <a:srgbClr val="FFFFFF">
                  <a:alpha val="0"/>
                </a:srgbClr>
              </a:gs>
            </a:gsLst>
            <a:lin ang="5400700" scaled="0"/>
          </a:gradFill>
          <a:ln>
            <a:noFill/>
          </a:ln>
        </p:spPr>
        <p:txBody>
          <a:bodyPr spcFirstLastPara="1" wrap="square" lIns="91425" tIns="91425" rIns="91425" bIns="91425" anchor="ctr" anchorCtr="0">
            <a:noAutofit/>
          </a:bodyPr>
          <a:lstStyle/>
          <a:p>
            <a:endParaRPr/>
          </a:p>
        </p:txBody>
      </p:sp>
      <p:grpSp>
        <p:nvGrpSpPr>
          <p:cNvPr id="73" name="Google Shape;73;p6"/>
          <p:cNvGrpSpPr/>
          <p:nvPr/>
        </p:nvGrpSpPr>
        <p:grpSpPr>
          <a:xfrm>
            <a:off x="1173086" y="0"/>
            <a:ext cx="2191087" cy="5145500"/>
            <a:chOff x="-650" y="-650"/>
            <a:chExt cx="2838667" cy="5145500"/>
          </a:xfrm>
        </p:grpSpPr>
        <p:sp>
          <p:nvSpPr>
            <p:cNvPr id="74" name="Google Shape;74;p6"/>
            <p:cNvSpPr/>
            <p:nvPr/>
          </p:nvSpPr>
          <p:spPr>
            <a:xfrm flipH="1">
              <a:off x="7344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75" name="Google Shape;75;p6"/>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solidFill>
              <a:srgbClr val="041E70"/>
            </a:solidFill>
            <a:ln>
              <a:noFill/>
            </a:ln>
            <a:effectLst>
              <a:outerShdw blurRad="314325" algn="bl" rotWithShape="0">
                <a:schemeClr val="dk1">
                  <a:alpha val="50000"/>
                </a:schemeClr>
              </a:outerShdw>
            </a:effectLst>
          </p:spPr>
        </p:sp>
      </p:grpSp>
      <p:grpSp>
        <p:nvGrpSpPr>
          <p:cNvPr id="76" name="Google Shape;76;p6"/>
          <p:cNvGrpSpPr/>
          <p:nvPr/>
        </p:nvGrpSpPr>
        <p:grpSpPr>
          <a:xfrm>
            <a:off x="1" y="-6575"/>
            <a:ext cx="2497539" cy="5153775"/>
            <a:chOff x="-2586625" y="-6575"/>
            <a:chExt cx="4946567" cy="5153775"/>
          </a:xfrm>
          <a:gradFill flip="none" rotWithShape="1">
            <a:gsLst>
              <a:gs pos="0">
                <a:srgbClr val="0837CE"/>
              </a:gs>
              <a:gs pos="59000">
                <a:srgbClr val="0837CE"/>
              </a:gs>
              <a:gs pos="98000">
                <a:schemeClr val="bg1"/>
              </a:gs>
              <a:gs pos="100000">
                <a:schemeClr val="bg1"/>
              </a:gs>
            </a:gsLst>
            <a:lin ang="5400000" scaled="1"/>
            <a:tileRect/>
          </a:gradFill>
        </p:grpSpPr>
        <p:sp>
          <p:nvSpPr>
            <p:cNvPr id="77" name="Google Shape;77;p6"/>
            <p:cNvSpPr/>
            <p:nvPr/>
          </p:nvSpPr>
          <p:spPr>
            <a:xfrm>
              <a:off x="256342" y="0"/>
              <a:ext cx="2103600" cy="5143500"/>
            </a:xfrm>
            <a:prstGeom prst="parallelogram">
              <a:avLst>
                <a:gd name="adj" fmla="val 75274"/>
              </a:avLst>
            </a:prstGeom>
            <a:gradFill>
              <a:gsLst>
                <a:gs pos="0">
                  <a:srgbClr val="0837CE"/>
                </a:gs>
                <a:gs pos="70000">
                  <a:srgbClr val="FFDF8C"/>
                </a:gs>
                <a:gs pos="85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78" name="Google Shape;78;p6"/>
            <p:cNvSpPr/>
            <p:nvPr/>
          </p:nvSpPr>
          <p:spPr>
            <a:xfrm>
              <a:off x="-2586625" y="-6575"/>
              <a:ext cx="4640050"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
        <p:nvSpPr>
          <p:cNvPr id="71" name="Google Shape;71;p6"/>
          <p:cNvSpPr/>
          <p:nvPr/>
        </p:nvSpPr>
        <p:spPr>
          <a:xfrm flipH="1">
            <a:off x="-171252" y="-6575"/>
            <a:ext cx="1638386" cy="5143500"/>
          </a:xfrm>
          <a:prstGeom prst="parallelogram">
            <a:avLst>
              <a:gd name="adj" fmla="val 46349"/>
            </a:avLst>
          </a:prstGeom>
          <a:gradFill>
            <a:gsLst>
              <a:gs pos="0">
                <a:schemeClr val="lt1"/>
              </a:gs>
              <a:gs pos="92000">
                <a:srgbClr val="FFFFFF">
                  <a:alpha val="0"/>
                </a:srgbClr>
              </a:gs>
              <a:gs pos="100000">
                <a:srgbClr val="FFFFFF">
                  <a:alpha val="0"/>
                </a:srgbClr>
              </a:gs>
            </a:gsLst>
            <a:lin ang="16198662" scaled="0"/>
          </a:gradFill>
          <a:ln>
            <a:noFill/>
          </a:ln>
        </p:spPr>
        <p:txBody>
          <a:bodyPr spcFirstLastPara="1" wrap="square" lIns="91425" tIns="91425" rIns="91425" bIns="91425" anchor="ctr" anchorCtr="0">
            <a:noAutofit/>
          </a:bodyPr>
          <a:lstStyle/>
          <a:p>
            <a:endParaRPr/>
          </a:p>
        </p:txBody>
      </p:sp>
    </p:spTree>
    <p:extLst>
      <p:ext uri="{BB962C8B-B14F-4D97-AF65-F5344CB8AC3E}">
        <p14:creationId xmlns:p14="http://schemas.microsoft.com/office/powerpoint/2010/main" val="23509064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2486310"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86" name="Google Shape;86;p7"/>
          <p:cNvGrpSpPr/>
          <p:nvPr/>
        </p:nvGrpSpPr>
        <p:grpSpPr>
          <a:xfrm>
            <a:off x="376173" y="0"/>
            <a:ext cx="232604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89" name="Google Shape;89;p7"/>
          <p:cNvGrpSpPr/>
          <p:nvPr/>
        </p:nvGrpSpPr>
        <p:grpSpPr>
          <a:xfrm>
            <a:off x="0" y="0"/>
            <a:ext cx="2305717" cy="5144925"/>
            <a:chOff x="456100" y="0"/>
            <a:chExt cx="2305717"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91" name="Google Shape;91;p7"/>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a:off x="0" y="0"/>
            <a:ext cx="213244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Tree>
    <p:extLst>
      <p:ext uri="{BB962C8B-B14F-4D97-AF65-F5344CB8AC3E}">
        <p14:creationId xmlns:p14="http://schemas.microsoft.com/office/powerpoint/2010/main" val="22699606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2486310"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86" name="Google Shape;86;p7"/>
          <p:cNvGrpSpPr/>
          <p:nvPr/>
        </p:nvGrpSpPr>
        <p:grpSpPr>
          <a:xfrm>
            <a:off x="376173" y="0"/>
            <a:ext cx="232604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89" name="Google Shape;89;p7"/>
          <p:cNvGrpSpPr/>
          <p:nvPr/>
        </p:nvGrpSpPr>
        <p:grpSpPr>
          <a:xfrm>
            <a:off x="0" y="0"/>
            <a:ext cx="2305717" cy="5144925"/>
            <a:chOff x="456100" y="0"/>
            <a:chExt cx="2305717"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91" name="Google Shape;91;p7"/>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011558" y="-1775"/>
            <a:ext cx="213244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Tree>
    <p:extLst>
      <p:ext uri="{BB962C8B-B14F-4D97-AF65-F5344CB8AC3E}">
        <p14:creationId xmlns:p14="http://schemas.microsoft.com/office/powerpoint/2010/main" val="4197715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preserve="1" userDrawn="1">
  <p:cSld name="1_Title">
    <p:bg>
      <p:bgPr>
        <a:gradFill>
          <a:gsLst>
            <a:gs pos="0">
              <a:schemeClr val="lt1"/>
            </a:gs>
            <a:gs pos="19000">
              <a:schemeClr val="lt2"/>
            </a:gs>
            <a:gs pos="100000">
              <a:schemeClr val="lt2"/>
            </a:gs>
          </a:gsLst>
          <a:lin ang="10800025" scaled="0"/>
        </a:gra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7017908" y="-1000"/>
            <a:ext cx="2486310" cy="5143500"/>
            <a:chOff x="1511923" y="0"/>
            <a:chExt cx="2486310" cy="5143500"/>
          </a:xfrm>
        </p:grpSpPr>
        <p:sp>
          <p:nvSpPr>
            <p:cNvPr id="11" name="Google Shape;11;p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2;p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 name="Google Shape;13;p2"/>
          <p:cNvGrpSpPr/>
          <p:nvPr/>
        </p:nvGrpSpPr>
        <p:grpSpPr>
          <a:xfrm>
            <a:off x="7017908" y="0"/>
            <a:ext cx="2326044" cy="5143500"/>
            <a:chOff x="1060873" y="0"/>
            <a:chExt cx="2326044" cy="5143500"/>
          </a:xfrm>
        </p:grpSpPr>
        <p:sp>
          <p:nvSpPr>
            <p:cNvPr id="14" name="Google Shape;14;p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6" name="Google Shape;16;p2"/>
          <p:cNvGrpSpPr/>
          <p:nvPr/>
        </p:nvGrpSpPr>
        <p:grpSpPr>
          <a:xfrm>
            <a:off x="1" y="-1000"/>
            <a:ext cx="1847850" cy="5145500"/>
            <a:chOff x="-650" y="-650"/>
            <a:chExt cx="2838667" cy="5145500"/>
          </a:xfrm>
          <a:solidFill>
            <a:srgbClr val="041E70"/>
          </a:solidFill>
        </p:grpSpPr>
        <p:sp>
          <p:nvSpPr>
            <p:cNvPr id="17" name="Google Shape;17;p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sp>
        <p:nvSpPr>
          <p:cNvPr id="27" name="Title 1"/>
          <p:cNvSpPr txBox="1">
            <a:spLocks/>
          </p:cNvSpPr>
          <p:nvPr userDrawn="1"/>
        </p:nvSpPr>
        <p:spPr>
          <a:xfrm>
            <a:off x="7836372" y="4724399"/>
            <a:ext cx="1260003" cy="326323"/>
          </a:xfrm>
          <a:prstGeom prst="rect">
            <a:avLst/>
          </a:prstGeom>
          <a:noFill/>
          <a:ln>
            <a:noFill/>
          </a:ln>
        </p:spPr>
        <p:txBody>
          <a:bodyPr spcFirstLastPara="1" wrap="square" lIns="0" tIns="0" rIns="0" bIns="0" anchor="b"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r>
              <a:rPr lang="en-US" sz="1800" dirty="0">
                <a:solidFill>
                  <a:srgbClr val="545558"/>
                </a:solidFill>
                <a:latin typeface="Cambria" panose="02040503050406030204" pitchFamily="18" charset="0"/>
              </a:rPr>
              <a:t>March </a:t>
            </a:r>
            <a:r>
              <a:rPr lang="fr-FR" sz="1800" dirty="0">
                <a:solidFill>
                  <a:srgbClr val="545558"/>
                </a:solidFill>
                <a:latin typeface="Cambria" panose="02040503050406030204" pitchFamily="18" charset="0"/>
              </a:rPr>
              <a:t>202</a:t>
            </a:r>
            <a:r>
              <a:rPr lang="en-US" sz="1800" dirty="0">
                <a:solidFill>
                  <a:srgbClr val="545558"/>
                </a:solidFill>
                <a:latin typeface="Cambria" panose="02040503050406030204" pitchFamily="18" charset="0"/>
              </a:rPr>
              <a:t>3</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66530" y="105021"/>
            <a:ext cx="1828800" cy="409630"/>
          </a:xfrm>
          <a:prstGeom prst="rect">
            <a:avLst/>
          </a:prstGeom>
        </p:spPr>
      </p:pic>
    </p:spTree>
    <p:extLst>
      <p:ext uri="{BB962C8B-B14F-4D97-AF65-F5344CB8AC3E}">
        <p14:creationId xmlns:p14="http://schemas.microsoft.com/office/powerpoint/2010/main" val="3339363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477124" y="-1776"/>
            <a:ext cx="1666875"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Tree>
    <p:extLst>
      <p:ext uri="{BB962C8B-B14F-4D97-AF65-F5344CB8AC3E}">
        <p14:creationId xmlns:p14="http://schemas.microsoft.com/office/powerpoint/2010/main" val="38691378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477124" y="-1776"/>
            <a:ext cx="1666875" cy="5145275"/>
            <a:chOff x="227500" y="0"/>
            <a:chExt cx="2132442" cy="5145275"/>
          </a:xfrm>
          <a:gradFill flip="none" rotWithShape="1">
            <a:gsLst>
              <a:gs pos="0">
                <a:srgbClr val="FFC000"/>
              </a:gs>
              <a:gs pos="41000">
                <a:srgbClr val="CABC80"/>
              </a:gs>
              <a:gs pos="92000">
                <a:schemeClr val="lt2"/>
              </a:gs>
              <a:gs pos="72000">
                <a:srgbClr val="7B93DF"/>
              </a:gs>
            </a:gsLst>
            <a:lin ang="5400000" scaled="1"/>
            <a:tileRect/>
          </a:gradFill>
        </p:grpSpPr>
        <p:sp>
          <p:nvSpPr>
            <p:cNvPr id="93" name="Google Shape;93;p7"/>
            <p:cNvSpPr/>
            <p:nvPr/>
          </p:nvSpPr>
          <p:spPr>
            <a:xfrm>
              <a:off x="256342"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Tree>
    <p:extLst>
      <p:ext uri="{BB962C8B-B14F-4D97-AF65-F5344CB8AC3E}">
        <p14:creationId xmlns:p14="http://schemas.microsoft.com/office/powerpoint/2010/main" val="25482533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779223" y="-1777"/>
            <a:ext cx="1364775"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Tree>
    <p:extLst>
      <p:ext uri="{BB962C8B-B14F-4D97-AF65-F5344CB8AC3E}">
        <p14:creationId xmlns:p14="http://schemas.microsoft.com/office/powerpoint/2010/main" val="21848891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1216833"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86" name="Google Shape;86;p7"/>
          <p:cNvGrpSpPr/>
          <p:nvPr/>
        </p:nvGrpSpPr>
        <p:grpSpPr>
          <a:xfrm>
            <a:off x="7289821" y="0"/>
            <a:ext cx="126856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89" name="Google Shape;89;p7"/>
          <p:cNvGrpSpPr/>
          <p:nvPr/>
        </p:nvGrpSpPr>
        <p:grpSpPr>
          <a:xfrm>
            <a:off x="1" y="0"/>
            <a:ext cx="1457324" cy="5144925"/>
            <a:chOff x="456101" y="0"/>
            <a:chExt cx="2305716"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91" name="Google Shape;91;p7"/>
            <p:cNvSpPr/>
            <p:nvPr/>
          </p:nvSpPr>
          <p:spPr>
            <a:xfrm>
              <a:off x="456101" y="0"/>
              <a:ext cx="75889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477124" y="-1776"/>
            <a:ext cx="1666875"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dirty="0"/>
          </a:p>
        </p:txBody>
      </p:sp>
      <p:sp>
        <p:nvSpPr>
          <p:cNvPr id="98" name="Google Shape;98;p7"/>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pPr/>
              <a:t>‹#›</a:t>
            </a:fld>
            <a:endParaRPr/>
          </a:p>
        </p:txBody>
      </p:sp>
      <p:grpSp>
        <p:nvGrpSpPr>
          <p:cNvPr id="18" name="Google Shape;92;p7"/>
          <p:cNvGrpSpPr/>
          <p:nvPr userDrawn="1"/>
        </p:nvGrpSpPr>
        <p:grpSpPr>
          <a:xfrm>
            <a:off x="0" y="0"/>
            <a:ext cx="213244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19"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20"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650230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99"/>
        <p:cNvGrpSpPr/>
        <p:nvPr/>
      </p:nvGrpSpPr>
      <p:grpSpPr>
        <a:xfrm>
          <a:off x="0" y="0"/>
          <a:ext cx="0" cy="0"/>
          <a:chOff x="0" y="0"/>
          <a:chExt cx="0" cy="0"/>
        </a:xfrm>
      </p:grpSpPr>
      <p:grpSp>
        <p:nvGrpSpPr>
          <p:cNvPr id="100" name="Google Shape;100;p8"/>
          <p:cNvGrpSpPr/>
          <p:nvPr/>
        </p:nvGrpSpPr>
        <p:grpSpPr>
          <a:xfrm>
            <a:off x="598623" y="0"/>
            <a:ext cx="2486310" cy="5143500"/>
            <a:chOff x="1511923" y="0"/>
            <a:chExt cx="2486310" cy="5143500"/>
          </a:xfrm>
        </p:grpSpPr>
        <p:sp>
          <p:nvSpPr>
            <p:cNvPr id="101" name="Google Shape;101;p8"/>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02" name="Google Shape;102;p8"/>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103" name="Google Shape;103;p8"/>
          <p:cNvGrpSpPr/>
          <p:nvPr/>
        </p:nvGrpSpPr>
        <p:grpSpPr>
          <a:xfrm>
            <a:off x="376173" y="0"/>
            <a:ext cx="2326044" cy="5143500"/>
            <a:chOff x="1060873" y="0"/>
            <a:chExt cx="2326044" cy="5143500"/>
          </a:xfrm>
        </p:grpSpPr>
        <p:sp>
          <p:nvSpPr>
            <p:cNvPr id="104" name="Google Shape;104;p8"/>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05" name="Google Shape;105;p8"/>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06" name="Google Shape;106;p8"/>
          <p:cNvGrpSpPr/>
          <p:nvPr/>
        </p:nvGrpSpPr>
        <p:grpSpPr>
          <a:xfrm>
            <a:off x="0" y="0"/>
            <a:ext cx="2305717" cy="5144925"/>
            <a:chOff x="456100" y="0"/>
            <a:chExt cx="2305717" cy="5144925"/>
          </a:xfrm>
        </p:grpSpPr>
        <p:sp>
          <p:nvSpPr>
            <p:cNvPr id="107" name="Google Shape;107;p8"/>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08" name="Google Shape;108;p8"/>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09" name="Google Shape;109;p8"/>
          <p:cNvGrpSpPr/>
          <p:nvPr/>
        </p:nvGrpSpPr>
        <p:grpSpPr>
          <a:xfrm>
            <a:off x="0" y="0"/>
            <a:ext cx="2132442" cy="5145275"/>
            <a:chOff x="227500" y="0"/>
            <a:chExt cx="2132442" cy="5145275"/>
          </a:xfrm>
        </p:grpSpPr>
        <p:sp>
          <p:nvSpPr>
            <p:cNvPr id="110" name="Google Shape;110;p8"/>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11" name="Google Shape;111;p8"/>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112" name="Google Shape;112;p8"/>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13" name="Google Shape;113;p8"/>
          <p:cNvSpPr txBox="1">
            <a:spLocks noGrp="1"/>
          </p:cNvSpPr>
          <p:nvPr>
            <p:ph type="body" idx="1"/>
          </p:nvPr>
        </p:nvSpPr>
        <p:spPr>
          <a:xfrm>
            <a:off x="2976900" y="1506350"/>
            <a:ext cx="1702200" cy="2917800"/>
          </a:xfrm>
          <a:prstGeom prst="rect">
            <a:avLst/>
          </a:prstGeom>
        </p:spPr>
        <p:txBody>
          <a:bodyPr spcFirstLastPara="1" wrap="square" lIns="0" tIns="0" rIns="0" bIns="0" anchor="t" anchorCtr="0">
            <a:noAutofit/>
          </a:bodyPr>
          <a:lstStyle>
            <a:lvl1pPr marL="457200" lvl="0" indent="-336550" rtl="0">
              <a:spcBef>
                <a:spcPts val="0"/>
              </a:spcBef>
              <a:spcAft>
                <a:spcPts val="0"/>
              </a:spcAft>
              <a:buSzPts val="1700"/>
              <a:buChar char="▸"/>
              <a:defRPr sz="1700"/>
            </a:lvl1pPr>
            <a:lvl2pPr marL="914400" lvl="1" indent="-336550" rtl="0">
              <a:spcBef>
                <a:spcPts val="600"/>
              </a:spcBef>
              <a:spcAft>
                <a:spcPts val="0"/>
              </a:spcAft>
              <a:buSzPts val="1700"/>
              <a:buChar char="▹"/>
              <a:defRPr sz="1700"/>
            </a:lvl2pPr>
            <a:lvl3pPr marL="1371600" lvl="2" indent="-336550" rtl="0">
              <a:spcBef>
                <a:spcPts val="600"/>
              </a:spcBef>
              <a:spcAft>
                <a:spcPts val="0"/>
              </a:spcAft>
              <a:buSzPts val="1700"/>
              <a:buChar char="■"/>
              <a:defRPr sz="1700"/>
            </a:lvl3pPr>
            <a:lvl4pPr marL="1828800" lvl="3" indent="-336550" rtl="0">
              <a:spcBef>
                <a:spcPts val="600"/>
              </a:spcBef>
              <a:spcAft>
                <a:spcPts val="0"/>
              </a:spcAft>
              <a:buSzPts val="1700"/>
              <a:buChar char="●"/>
              <a:defRPr sz="1700"/>
            </a:lvl4pPr>
            <a:lvl5pPr marL="2286000" lvl="4" indent="-336550" rtl="0">
              <a:spcBef>
                <a:spcPts val="600"/>
              </a:spcBef>
              <a:spcAft>
                <a:spcPts val="0"/>
              </a:spcAft>
              <a:buSzPts val="1700"/>
              <a:buChar char="○"/>
              <a:defRPr sz="1700"/>
            </a:lvl5pPr>
            <a:lvl6pPr marL="2743200" lvl="5" indent="-336550" rtl="0">
              <a:spcBef>
                <a:spcPts val="600"/>
              </a:spcBef>
              <a:spcAft>
                <a:spcPts val="0"/>
              </a:spcAft>
              <a:buSzPts val="1700"/>
              <a:buChar char="■"/>
              <a:defRPr sz="1700"/>
            </a:lvl6pPr>
            <a:lvl7pPr marL="3200400" lvl="6" indent="-336550" rtl="0">
              <a:spcBef>
                <a:spcPts val="600"/>
              </a:spcBef>
              <a:spcAft>
                <a:spcPts val="0"/>
              </a:spcAft>
              <a:buSzPts val="1700"/>
              <a:buChar char="●"/>
              <a:defRPr sz="1700"/>
            </a:lvl7pPr>
            <a:lvl8pPr marL="3657600" lvl="7" indent="-336550" rtl="0">
              <a:spcBef>
                <a:spcPts val="600"/>
              </a:spcBef>
              <a:spcAft>
                <a:spcPts val="0"/>
              </a:spcAft>
              <a:buSzPts val="1700"/>
              <a:buChar char="○"/>
              <a:defRPr sz="1700"/>
            </a:lvl8pPr>
            <a:lvl9pPr marL="4114800" lvl="8" indent="-336550" rtl="0">
              <a:spcBef>
                <a:spcPts val="600"/>
              </a:spcBef>
              <a:spcAft>
                <a:spcPts val="600"/>
              </a:spcAft>
              <a:buSzPts val="1700"/>
              <a:buChar char="■"/>
              <a:defRPr sz="1700"/>
            </a:lvl9pPr>
          </a:lstStyle>
          <a:p>
            <a:endParaRPr/>
          </a:p>
        </p:txBody>
      </p:sp>
      <p:sp>
        <p:nvSpPr>
          <p:cNvPr id="114" name="Google Shape;114;p8"/>
          <p:cNvSpPr txBox="1">
            <a:spLocks noGrp="1"/>
          </p:cNvSpPr>
          <p:nvPr>
            <p:ph type="body" idx="2"/>
          </p:nvPr>
        </p:nvSpPr>
        <p:spPr>
          <a:xfrm>
            <a:off x="4857876" y="1506350"/>
            <a:ext cx="1702200" cy="2917800"/>
          </a:xfrm>
          <a:prstGeom prst="rect">
            <a:avLst/>
          </a:prstGeom>
        </p:spPr>
        <p:txBody>
          <a:bodyPr spcFirstLastPara="1" wrap="square" lIns="0" tIns="0" rIns="0" bIns="0" anchor="t" anchorCtr="0">
            <a:noAutofit/>
          </a:bodyPr>
          <a:lstStyle>
            <a:lvl1pPr marL="457200" lvl="0" indent="-336550" rtl="0">
              <a:spcBef>
                <a:spcPts val="0"/>
              </a:spcBef>
              <a:spcAft>
                <a:spcPts val="0"/>
              </a:spcAft>
              <a:buSzPts val="1700"/>
              <a:buChar char="▸"/>
              <a:defRPr sz="1700"/>
            </a:lvl1pPr>
            <a:lvl2pPr marL="914400" lvl="1" indent="-336550" rtl="0">
              <a:spcBef>
                <a:spcPts val="600"/>
              </a:spcBef>
              <a:spcAft>
                <a:spcPts val="0"/>
              </a:spcAft>
              <a:buSzPts val="1700"/>
              <a:buChar char="▹"/>
              <a:defRPr sz="1700"/>
            </a:lvl2pPr>
            <a:lvl3pPr marL="1371600" lvl="2" indent="-336550" rtl="0">
              <a:spcBef>
                <a:spcPts val="600"/>
              </a:spcBef>
              <a:spcAft>
                <a:spcPts val="0"/>
              </a:spcAft>
              <a:buSzPts val="1700"/>
              <a:buChar char="■"/>
              <a:defRPr sz="1700"/>
            </a:lvl3pPr>
            <a:lvl4pPr marL="1828800" lvl="3" indent="-336550" rtl="0">
              <a:spcBef>
                <a:spcPts val="600"/>
              </a:spcBef>
              <a:spcAft>
                <a:spcPts val="0"/>
              </a:spcAft>
              <a:buSzPts val="1700"/>
              <a:buChar char="●"/>
              <a:defRPr sz="1700"/>
            </a:lvl4pPr>
            <a:lvl5pPr marL="2286000" lvl="4" indent="-336550" rtl="0">
              <a:spcBef>
                <a:spcPts val="600"/>
              </a:spcBef>
              <a:spcAft>
                <a:spcPts val="0"/>
              </a:spcAft>
              <a:buSzPts val="1700"/>
              <a:buChar char="○"/>
              <a:defRPr sz="1700"/>
            </a:lvl5pPr>
            <a:lvl6pPr marL="2743200" lvl="5" indent="-336550" rtl="0">
              <a:spcBef>
                <a:spcPts val="600"/>
              </a:spcBef>
              <a:spcAft>
                <a:spcPts val="0"/>
              </a:spcAft>
              <a:buSzPts val="1700"/>
              <a:buChar char="■"/>
              <a:defRPr sz="1700"/>
            </a:lvl6pPr>
            <a:lvl7pPr marL="3200400" lvl="6" indent="-336550" rtl="0">
              <a:spcBef>
                <a:spcPts val="600"/>
              </a:spcBef>
              <a:spcAft>
                <a:spcPts val="0"/>
              </a:spcAft>
              <a:buSzPts val="1700"/>
              <a:buChar char="●"/>
              <a:defRPr sz="1700"/>
            </a:lvl7pPr>
            <a:lvl8pPr marL="3657600" lvl="7" indent="-336550" rtl="0">
              <a:spcBef>
                <a:spcPts val="600"/>
              </a:spcBef>
              <a:spcAft>
                <a:spcPts val="0"/>
              </a:spcAft>
              <a:buSzPts val="1700"/>
              <a:buChar char="○"/>
              <a:defRPr sz="1700"/>
            </a:lvl8pPr>
            <a:lvl9pPr marL="4114800" lvl="8" indent="-336550" rtl="0">
              <a:spcBef>
                <a:spcPts val="600"/>
              </a:spcBef>
              <a:spcAft>
                <a:spcPts val="600"/>
              </a:spcAft>
              <a:buSzPts val="1700"/>
              <a:buChar char="■"/>
              <a:defRPr sz="1700"/>
            </a:lvl9pPr>
          </a:lstStyle>
          <a:p>
            <a:endParaRPr/>
          </a:p>
        </p:txBody>
      </p:sp>
      <p:sp>
        <p:nvSpPr>
          <p:cNvPr id="115" name="Google Shape;115;p8"/>
          <p:cNvSpPr txBox="1">
            <a:spLocks noGrp="1"/>
          </p:cNvSpPr>
          <p:nvPr>
            <p:ph type="body" idx="3"/>
          </p:nvPr>
        </p:nvSpPr>
        <p:spPr>
          <a:xfrm>
            <a:off x="6738851" y="1506350"/>
            <a:ext cx="1702200" cy="2917800"/>
          </a:xfrm>
          <a:prstGeom prst="rect">
            <a:avLst/>
          </a:prstGeom>
        </p:spPr>
        <p:txBody>
          <a:bodyPr spcFirstLastPara="1" wrap="square" lIns="0" tIns="0" rIns="0" bIns="0" anchor="t" anchorCtr="0">
            <a:noAutofit/>
          </a:bodyPr>
          <a:lstStyle>
            <a:lvl1pPr marL="457200" lvl="0" indent="-336550" rtl="0">
              <a:spcBef>
                <a:spcPts val="0"/>
              </a:spcBef>
              <a:spcAft>
                <a:spcPts val="0"/>
              </a:spcAft>
              <a:buSzPts val="1700"/>
              <a:buChar char="▸"/>
              <a:defRPr sz="1700"/>
            </a:lvl1pPr>
            <a:lvl2pPr marL="914400" lvl="1" indent="-336550" rtl="0">
              <a:spcBef>
                <a:spcPts val="600"/>
              </a:spcBef>
              <a:spcAft>
                <a:spcPts val="0"/>
              </a:spcAft>
              <a:buSzPts val="1700"/>
              <a:buChar char="▹"/>
              <a:defRPr sz="1700"/>
            </a:lvl2pPr>
            <a:lvl3pPr marL="1371600" lvl="2" indent="-336550" rtl="0">
              <a:spcBef>
                <a:spcPts val="600"/>
              </a:spcBef>
              <a:spcAft>
                <a:spcPts val="0"/>
              </a:spcAft>
              <a:buSzPts val="1700"/>
              <a:buChar char="■"/>
              <a:defRPr sz="1700"/>
            </a:lvl3pPr>
            <a:lvl4pPr marL="1828800" lvl="3" indent="-336550" rtl="0">
              <a:spcBef>
                <a:spcPts val="600"/>
              </a:spcBef>
              <a:spcAft>
                <a:spcPts val="0"/>
              </a:spcAft>
              <a:buSzPts val="1700"/>
              <a:buChar char="●"/>
              <a:defRPr sz="1700"/>
            </a:lvl4pPr>
            <a:lvl5pPr marL="2286000" lvl="4" indent="-336550" rtl="0">
              <a:spcBef>
                <a:spcPts val="600"/>
              </a:spcBef>
              <a:spcAft>
                <a:spcPts val="0"/>
              </a:spcAft>
              <a:buSzPts val="1700"/>
              <a:buChar char="○"/>
              <a:defRPr sz="1700"/>
            </a:lvl5pPr>
            <a:lvl6pPr marL="2743200" lvl="5" indent="-336550" rtl="0">
              <a:spcBef>
                <a:spcPts val="600"/>
              </a:spcBef>
              <a:spcAft>
                <a:spcPts val="0"/>
              </a:spcAft>
              <a:buSzPts val="1700"/>
              <a:buChar char="■"/>
              <a:defRPr sz="1700"/>
            </a:lvl6pPr>
            <a:lvl7pPr marL="3200400" lvl="6" indent="-336550" rtl="0">
              <a:spcBef>
                <a:spcPts val="600"/>
              </a:spcBef>
              <a:spcAft>
                <a:spcPts val="0"/>
              </a:spcAft>
              <a:buSzPts val="1700"/>
              <a:buChar char="●"/>
              <a:defRPr sz="1700"/>
            </a:lvl7pPr>
            <a:lvl8pPr marL="3657600" lvl="7" indent="-336550" rtl="0">
              <a:spcBef>
                <a:spcPts val="600"/>
              </a:spcBef>
              <a:spcAft>
                <a:spcPts val="0"/>
              </a:spcAft>
              <a:buSzPts val="1700"/>
              <a:buChar char="○"/>
              <a:defRPr sz="1700"/>
            </a:lvl8pPr>
            <a:lvl9pPr marL="4114800" lvl="8" indent="-336550" rtl="0">
              <a:spcBef>
                <a:spcPts val="600"/>
              </a:spcBef>
              <a:spcAft>
                <a:spcPts val="600"/>
              </a:spcAft>
              <a:buSzPts val="1700"/>
              <a:buChar char="■"/>
              <a:defRPr sz="1700"/>
            </a:lvl9pPr>
          </a:lstStyle>
          <a:p>
            <a:endParaRPr/>
          </a:p>
        </p:txBody>
      </p:sp>
      <p:sp>
        <p:nvSpPr>
          <p:cNvPr id="116" name="Google Shape;116;p8"/>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pPr/>
              <a:t>‹#›</a:t>
            </a:fld>
            <a:endParaRPr/>
          </a:p>
        </p:txBody>
      </p:sp>
    </p:spTree>
    <p:extLst>
      <p:ext uri="{BB962C8B-B14F-4D97-AF65-F5344CB8AC3E}">
        <p14:creationId xmlns:p14="http://schemas.microsoft.com/office/powerpoint/2010/main" val="11840915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17"/>
        <p:cNvGrpSpPr/>
        <p:nvPr/>
      </p:nvGrpSpPr>
      <p:grpSpPr>
        <a:xfrm>
          <a:off x="0" y="0"/>
          <a:ext cx="0" cy="0"/>
          <a:chOff x="0" y="0"/>
          <a:chExt cx="0" cy="0"/>
        </a:xfrm>
      </p:grpSpPr>
      <p:grpSp>
        <p:nvGrpSpPr>
          <p:cNvPr id="118" name="Google Shape;118;p9"/>
          <p:cNvGrpSpPr/>
          <p:nvPr/>
        </p:nvGrpSpPr>
        <p:grpSpPr>
          <a:xfrm>
            <a:off x="598623" y="0"/>
            <a:ext cx="2486310" cy="5143500"/>
            <a:chOff x="1511923" y="0"/>
            <a:chExt cx="2486310" cy="5143500"/>
          </a:xfrm>
        </p:grpSpPr>
        <p:sp>
          <p:nvSpPr>
            <p:cNvPr id="119" name="Google Shape;119;p9"/>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20" name="Google Shape;120;p9"/>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121" name="Google Shape;121;p9"/>
          <p:cNvGrpSpPr/>
          <p:nvPr/>
        </p:nvGrpSpPr>
        <p:grpSpPr>
          <a:xfrm>
            <a:off x="376173" y="0"/>
            <a:ext cx="2326044" cy="5143500"/>
            <a:chOff x="1060873" y="0"/>
            <a:chExt cx="2326044" cy="5143500"/>
          </a:xfrm>
        </p:grpSpPr>
        <p:sp>
          <p:nvSpPr>
            <p:cNvPr id="122" name="Google Shape;122;p9"/>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23" name="Google Shape;123;p9"/>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24" name="Google Shape;124;p9"/>
          <p:cNvGrpSpPr/>
          <p:nvPr/>
        </p:nvGrpSpPr>
        <p:grpSpPr>
          <a:xfrm>
            <a:off x="0" y="0"/>
            <a:ext cx="2305717" cy="5144925"/>
            <a:chOff x="456100" y="0"/>
            <a:chExt cx="2305717" cy="5144925"/>
          </a:xfrm>
        </p:grpSpPr>
        <p:sp>
          <p:nvSpPr>
            <p:cNvPr id="125" name="Google Shape;125;p9"/>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26" name="Google Shape;126;p9"/>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27" name="Google Shape;127;p9"/>
          <p:cNvGrpSpPr/>
          <p:nvPr/>
        </p:nvGrpSpPr>
        <p:grpSpPr>
          <a:xfrm>
            <a:off x="0" y="0"/>
            <a:ext cx="2132442" cy="5145275"/>
            <a:chOff x="227500" y="0"/>
            <a:chExt cx="2132442" cy="5145275"/>
          </a:xfrm>
        </p:grpSpPr>
        <p:sp>
          <p:nvSpPr>
            <p:cNvPr id="128" name="Google Shape;128;p9"/>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29" name="Google Shape;129;p9"/>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130" name="Google Shape;130;p9"/>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31" name="Google Shape;131;p9"/>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pPr/>
              <a:t>‹#›</a:t>
            </a:fld>
            <a:endParaRPr/>
          </a:p>
        </p:txBody>
      </p:sp>
    </p:spTree>
    <p:extLst>
      <p:ext uri="{BB962C8B-B14F-4D97-AF65-F5344CB8AC3E}">
        <p14:creationId xmlns:p14="http://schemas.microsoft.com/office/powerpoint/2010/main" val="4365963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2"/>
        <p:cNvGrpSpPr/>
        <p:nvPr/>
      </p:nvGrpSpPr>
      <p:grpSpPr>
        <a:xfrm>
          <a:off x="0" y="0"/>
          <a:ext cx="0" cy="0"/>
          <a:chOff x="0" y="0"/>
          <a:chExt cx="0" cy="0"/>
        </a:xfrm>
      </p:grpSpPr>
      <p:grpSp>
        <p:nvGrpSpPr>
          <p:cNvPr id="133" name="Google Shape;133;p10"/>
          <p:cNvGrpSpPr/>
          <p:nvPr/>
        </p:nvGrpSpPr>
        <p:grpSpPr>
          <a:xfrm>
            <a:off x="598623" y="0"/>
            <a:ext cx="2486310" cy="5143500"/>
            <a:chOff x="1511923" y="0"/>
            <a:chExt cx="2486310" cy="5143500"/>
          </a:xfrm>
        </p:grpSpPr>
        <p:sp>
          <p:nvSpPr>
            <p:cNvPr id="134" name="Google Shape;134;p10"/>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35" name="Google Shape;135;p10"/>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endParaRPr/>
            </a:p>
          </p:txBody>
        </p:sp>
      </p:grpSp>
      <p:grpSp>
        <p:nvGrpSpPr>
          <p:cNvPr id="136" name="Google Shape;136;p10"/>
          <p:cNvGrpSpPr/>
          <p:nvPr/>
        </p:nvGrpSpPr>
        <p:grpSpPr>
          <a:xfrm>
            <a:off x="376173" y="0"/>
            <a:ext cx="2326044" cy="5143500"/>
            <a:chOff x="1060873" y="0"/>
            <a:chExt cx="2326044" cy="5143500"/>
          </a:xfrm>
        </p:grpSpPr>
        <p:sp>
          <p:nvSpPr>
            <p:cNvPr id="137" name="Google Shape;137;p10"/>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38" name="Google Shape;138;p10"/>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39" name="Google Shape;139;p10"/>
          <p:cNvGrpSpPr/>
          <p:nvPr/>
        </p:nvGrpSpPr>
        <p:grpSpPr>
          <a:xfrm>
            <a:off x="0" y="0"/>
            <a:ext cx="2305717" cy="5144925"/>
            <a:chOff x="456100" y="0"/>
            <a:chExt cx="2305717" cy="5144925"/>
          </a:xfrm>
        </p:grpSpPr>
        <p:sp>
          <p:nvSpPr>
            <p:cNvPr id="140" name="Google Shape;140;p10"/>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41" name="Google Shape;141;p10"/>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142" name="Google Shape;142;p10"/>
          <p:cNvGrpSpPr/>
          <p:nvPr/>
        </p:nvGrpSpPr>
        <p:grpSpPr>
          <a:xfrm>
            <a:off x="0" y="0"/>
            <a:ext cx="2132442" cy="5145275"/>
            <a:chOff x="227500" y="0"/>
            <a:chExt cx="2132442" cy="5145275"/>
          </a:xfrm>
        </p:grpSpPr>
        <p:sp>
          <p:nvSpPr>
            <p:cNvPr id="143" name="Google Shape;143;p10"/>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44" name="Google Shape;144;p10"/>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145" name="Google Shape;145;p10"/>
          <p:cNvSpPr txBox="1">
            <a:spLocks noGrp="1"/>
          </p:cNvSpPr>
          <p:nvPr>
            <p:ph type="body" idx="1"/>
          </p:nvPr>
        </p:nvSpPr>
        <p:spPr>
          <a:xfrm>
            <a:off x="2976900" y="4406300"/>
            <a:ext cx="5709900" cy="519600"/>
          </a:xfrm>
          <a:prstGeom prst="rect">
            <a:avLst/>
          </a:prstGeom>
        </p:spPr>
        <p:txBody>
          <a:bodyPr spcFirstLastPara="1" wrap="square" lIns="0" tIns="0" rIns="0" bIns="0" anchor="t" anchorCtr="0">
            <a:noAutofit/>
          </a:bodyPr>
          <a:lstStyle>
            <a:lvl1pPr marL="457200" lvl="0" indent="-228600" rtl="0">
              <a:spcBef>
                <a:spcPts val="360"/>
              </a:spcBef>
              <a:spcAft>
                <a:spcPts val="600"/>
              </a:spcAft>
              <a:buSzPts val="1800"/>
              <a:buNone/>
              <a:defRPr sz="1800"/>
            </a:lvl1pPr>
          </a:lstStyle>
          <a:p>
            <a:endParaRPr/>
          </a:p>
        </p:txBody>
      </p:sp>
      <p:sp>
        <p:nvSpPr>
          <p:cNvPr id="146" name="Google Shape;146;p10"/>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a:pPr/>
              <a:t>‹#›</a:t>
            </a:fld>
            <a:endParaRPr/>
          </a:p>
        </p:txBody>
      </p:sp>
    </p:spTree>
    <p:extLst>
      <p:ext uri="{BB962C8B-B14F-4D97-AF65-F5344CB8AC3E}">
        <p14:creationId xmlns:p14="http://schemas.microsoft.com/office/powerpoint/2010/main" val="8899151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Blank half" preserve="1">
  <p:cSld name="1_Blank half">
    <p:bg>
      <p:bgRef idx="1001">
        <a:schemeClr val="bg2"/>
      </p:bgRef>
    </p:bg>
    <p:spTree>
      <p:nvGrpSpPr>
        <p:cNvPr id="1" name="Shape 161"/>
        <p:cNvGrpSpPr/>
        <p:nvPr/>
      </p:nvGrpSpPr>
      <p:grpSpPr>
        <a:xfrm>
          <a:off x="0" y="0"/>
          <a:ext cx="0" cy="0"/>
          <a:chOff x="0" y="0"/>
          <a:chExt cx="0" cy="0"/>
        </a:xfrm>
      </p:grpSpPr>
      <p:grpSp>
        <p:nvGrpSpPr>
          <p:cNvPr id="162" name="Google Shape;162;p12"/>
          <p:cNvGrpSpPr/>
          <p:nvPr/>
        </p:nvGrpSpPr>
        <p:grpSpPr>
          <a:xfrm>
            <a:off x="699945" y="-19250"/>
            <a:ext cx="2486310"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65" name="Google Shape;165;p12"/>
          <p:cNvGrpSpPr/>
          <p:nvPr/>
        </p:nvGrpSpPr>
        <p:grpSpPr>
          <a:xfrm>
            <a:off x="288008" y="-19250"/>
            <a:ext cx="2326044"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8" name="Google Shape;168;p12"/>
          <p:cNvGrpSpPr/>
          <p:nvPr/>
        </p:nvGrpSpPr>
        <p:grpSpPr>
          <a:xfrm>
            <a:off x="28405" y="-10275"/>
            <a:ext cx="2363204" cy="5153775"/>
            <a:chOff x="-650" y="-650"/>
            <a:chExt cx="2838667"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70" name="Google Shape;170;p1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1" y="-10275"/>
            <a:ext cx="1943099"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173" name="Google Shape;173;p12"/>
            <p:cNvSpPr/>
            <p:nvPr/>
          </p:nvSpPr>
          <p:spPr>
            <a:xfrm>
              <a:off x="-2586625" y="-6575"/>
              <a:ext cx="1466364"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49031445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half" preserve="1">
  <p:cSld name="1_Blank half">
    <p:spTree>
      <p:nvGrpSpPr>
        <p:cNvPr id="1" name="Shape 161"/>
        <p:cNvGrpSpPr/>
        <p:nvPr/>
      </p:nvGrpSpPr>
      <p:grpSpPr>
        <a:xfrm>
          <a:off x="0" y="0"/>
          <a:ext cx="0" cy="0"/>
          <a:chOff x="0" y="0"/>
          <a:chExt cx="0" cy="0"/>
        </a:xfrm>
      </p:grpSpPr>
      <p:grpSp>
        <p:nvGrpSpPr>
          <p:cNvPr id="162" name="Google Shape;162;p12"/>
          <p:cNvGrpSpPr/>
          <p:nvPr/>
        </p:nvGrpSpPr>
        <p:grpSpPr>
          <a:xfrm>
            <a:off x="699945" y="-19250"/>
            <a:ext cx="2486310"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65" name="Google Shape;165;p12"/>
          <p:cNvGrpSpPr/>
          <p:nvPr/>
        </p:nvGrpSpPr>
        <p:grpSpPr>
          <a:xfrm>
            <a:off x="288008" y="-19250"/>
            <a:ext cx="2326044"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8" name="Google Shape;168;p12"/>
          <p:cNvGrpSpPr/>
          <p:nvPr/>
        </p:nvGrpSpPr>
        <p:grpSpPr>
          <a:xfrm>
            <a:off x="28405" y="-10275"/>
            <a:ext cx="2363204" cy="5153775"/>
            <a:chOff x="-650" y="-650"/>
            <a:chExt cx="2838667"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70" name="Google Shape;170;p12"/>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1" y="-10275"/>
            <a:ext cx="1943099"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173" name="Google Shape;173;p12"/>
            <p:cNvSpPr/>
            <p:nvPr/>
          </p:nvSpPr>
          <p:spPr>
            <a:xfrm>
              <a:off x="-2586625" y="-6575"/>
              <a:ext cx="1466364"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9819318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lank half" preserve="1">
  <p:cSld name="1_Blank half">
    <p:spTree>
      <p:nvGrpSpPr>
        <p:cNvPr id="1" name="Shape 161"/>
        <p:cNvGrpSpPr/>
        <p:nvPr/>
      </p:nvGrpSpPr>
      <p:grpSpPr>
        <a:xfrm>
          <a:off x="0" y="0"/>
          <a:ext cx="0" cy="0"/>
          <a:chOff x="0" y="0"/>
          <a:chExt cx="0" cy="0"/>
        </a:xfrm>
      </p:grpSpPr>
      <p:grpSp>
        <p:nvGrpSpPr>
          <p:cNvPr id="14" name="Google Shape;165;p12"/>
          <p:cNvGrpSpPr/>
          <p:nvPr userDrawn="1"/>
        </p:nvGrpSpPr>
        <p:grpSpPr>
          <a:xfrm>
            <a:off x="204107" y="-10275"/>
            <a:ext cx="1330189" cy="5143500"/>
            <a:chOff x="1060873" y="0"/>
            <a:chExt cx="2326044" cy="5143500"/>
          </a:xfrm>
        </p:grpSpPr>
        <p:sp>
          <p:nvSpPr>
            <p:cNvPr id="15"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6"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2" name="Google Shape;162;p12"/>
          <p:cNvGrpSpPr/>
          <p:nvPr/>
        </p:nvGrpSpPr>
        <p:grpSpPr>
          <a:xfrm>
            <a:off x="7554035" y="-10275"/>
            <a:ext cx="1957957" cy="5143500"/>
            <a:chOff x="1511923" y="0"/>
            <a:chExt cx="2486310" cy="5143500"/>
          </a:xfrm>
        </p:grpSpPr>
        <p:sp>
          <p:nvSpPr>
            <p:cNvPr id="163" name="Google Shape;163;p12"/>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64" name="Google Shape;164;p12"/>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endParaRPr/>
            </a:p>
          </p:txBody>
        </p:sp>
      </p:grpSp>
      <p:grpSp>
        <p:nvGrpSpPr>
          <p:cNvPr id="165" name="Google Shape;165;p12"/>
          <p:cNvGrpSpPr/>
          <p:nvPr/>
        </p:nvGrpSpPr>
        <p:grpSpPr>
          <a:xfrm>
            <a:off x="8140889" y="-3700"/>
            <a:ext cx="1330189" cy="5143500"/>
            <a:chOff x="1060873" y="0"/>
            <a:chExt cx="2326044" cy="5143500"/>
          </a:xfrm>
        </p:grpSpPr>
        <p:sp>
          <p:nvSpPr>
            <p:cNvPr id="166"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67"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168" name="Google Shape;168;p12"/>
          <p:cNvGrpSpPr/>
          <p:nvPr/>
        </p:nvGrpSpPr>
        <p:grpSpPr>
          <a:xfrm>
            <a:off x="28407" y="-10275"/>
            <a:ext cx="1684388" cy="5153775"/>
            <a:chOff x="-649" y="-650"/>
            <a:chExt cx="2838666" cy="5145500"/>
          </a:xfrm>
          <a:solidFill>
            <a:srgbClr val="041E70"/>
          </a:solidFill>
        </p:grpSpPr>
        <p:sp>
          <p:nvSpPr>
            <p:cNvPr id="169" name="Google Shape;169;p12"/>
            <p:cNvSpPr/>
            <p:nvPr/>
          </p:nvSpPr>
          <p:spPr>
            <a:xfrm flipH="1">
              <a:off x="734417" y="0"/>
              <a:ext cx="2103600" cy="5143500"/>
            </a:xfrm>
            <a:prstGeom prst="parallelogram">
              <a:avLst>
                <a:gd name="adj" fmla="val 75274"/>
              </a:avLst>
            </a:prstGeom>
            <a:grpFill/>
            <a:ln>
              <a:noFill/>
            </a:ln>
          </p:spPr>
          <p:txBody>
            <a:bodyPr spcFirstLastPara="1" wrap="square" lIns="91425" tIns="91425" rIns="91425" bIns="91425" anchor="ctr" anchorCtr="0">
              <a:noAutofit/>
            </a:bodyPr>
            <a:lstStyle/>
            <a:p>
              <a:endParaRPr/>
            </a:p>
          </p:txBody>
        </p:sp>
        <p:sp>
          <p:nvSpPr>
            <p:cNvPr id="170" name="Google Shape;170;p12"/>
            <p:cNvSpPr/>
            <p:nvPr/>
          </p:nvSpPr>
          <p:spPr>
            <a:xfrm>
              <a:off x="-649" y="-650"/>
              <a:ext cx="1801964" cy="5145500"/>
            </a:xfrm>
            <a:custGeom>
              <a:avLst/>
              <a:gdLst/>
              <a:ahLst/>
              <a:cxnLst/>
              <a:rect l="l" t="t" r="r" b="b"/>
              <a:pathLst>
                <a:path w="99694" h="205820" extrusionOk="0">
                  <a:moveTo>
                    <a:pt x="0" y="0"/>
                  </a:moveTo>
                  <a:lnTo>
                    <a:pt x="0" y="205820"/>
                  </a:lnTo>
                  <a:lnTo>
                    <a:pt x="99694" y="205820"/>
                  </a:lnTo>
                  <a:lnTo>
                    <a:pt x="60199" y="26"/>
                  </a:lnTo>
                  <a:close/>
                </a:path>
              </a:pathLst>
            </a:custGeom>
            <a:grpFill/>
            <a:ln>
              <a:noFill/>
            </a:ln>
            <a:effectLst>
              <a:outerShdw blurRad="314325" algn="bl" rotWithShape="0">
                <a:schemeClr val="dk1">
                  <a:alpha val="50000"/>
                </a:schemeClr>
              </a:outerShdw>
            </a:effectLst>
          </p:spPr>
        </p:sp>
      </p:grpSp>
      <p:grpSp>
        <p:nvGrpSpPr>
          <p:cNvPr id="171" name="Google Shape;171;p12"/>
          <p:cNvGrpSpPr/>
          <p:nvPr userDrawn="1"/>
        </p:nvGrpSpPr>
        <p:grpSpPr>
          <a:xfrm>
            <a:off x="1" y="-10275"/>
            <a:ext cx="1385247" cy="5153775"/>
            <a:chOff x="-2586625" y="-6575"/>
            <a:chExt cx="4946567" cy="5153775"/>
          </a:xfrm>
          <a:gradFill flip="none" rotWithShape="1">
            <a:gsLst>
              <a:gs pos="0">
                <a:srgbClr val="0837CE"/>
              </a:gs>
              <a:gs pos="56000">
                <a:srgbClr val="0837CE"/>
              </a:gs>
              <a:gs pos="92000">
                <a:schemeClr val="lt2"/>
              </a:gs>
              <a:gs pos="100000">
                <a:schemeClr val="bg1"/>
              </a:gs>
            </a:gsLst>
            <a:lin ang="5400000" scaled="1"/>
            <a:tileRect/>
          </a:gradFill>
        </p:grpSpPr>
        <p:sp>
          <p:nvSpPr>
            <p:cNvPr id="172" name="Google Shape;172;p12"/>
            <p:cNvSpPr/>
            <p:nvPr/>
          </p:nvSpPr>
          <p:spPr>
            <a:xfrm>
              <a:off x="256342" y="0"/>
              <a:ext cx="2103600" cy="5143500"/>
            </a:xfrm>
            <a:prstGeom prst="parallelogram">
              <a:avLst>
                <a:gd name="adj" fmla="val 75274"/>
              </a:avLst>
            </a:prstGeom>
            <a:gradFill>
              <a:gsLst>
                <a:gs pos="0">
                  <a:srgbClr val="0837CE"/>
                </a:gs>
                <a:gs pos="56000">
                  <a:srgbClr val="FFDF8C"/>
                </a:gs>
                <a:gs pos="92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173" name="Google Shape;173;p12"/>
            <p:cNvSpPr/>
            <p:nvPr/>
          </p:nvSpPr>
          <p:spPr>
            <a:xfrm>
              <a:off x="-2586625" y="-6575"/>
              <a:ext cx="1466364"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992863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Quote">
  <p:cSld name="TITLE_1_1">
    <p:bg>
      <p:bgPr>
        <a:gradFill>
          <a:gsLst>
            <a:gs pos="0">
              <a:schemeClr val="lt1"/>
            </a:gs>
            <a:gs pos="19000">
              <a:schemeClr val="lt2"/>
            </a:gs>
            <a:gs pos="100000">
              <a:schemeClr val="lt2"/>
            </a:gs>
          </a:gsLst>
          <a:lin ang="10800025" scaled="0"/>
        </a:gradFill>
        <a:effectLst/>
      </p:bgPr>
    </p:bg>
    <p:spTree>
      <p:nvGrpSpPr>
        <p:cNvPr id="1" name="Shape 38"/>
        <p:cNvGrpSpPr/>
        <p:nvPr/>
      </p:nvGrpSpPr>
      <p:grpSpPr>
        <a:xfrm>
          <a:off x="0" y="0"/>
          <a:ext cx="0" cy="0"/>
          <a:chOff x="0" y="0"/>
          <a:chExt cx="0" cy="0"/>
        </a:xfrm>
      </p:grpSpPr>
      <p:grpSp>
        <p:nvGrpSpPr>
          <p:cNvPr id="39" name="Google Shape;39;p4"/>
          <p:cNvGrpSpPr/>
          <p:nvPr/>
        </p:nvGrpSpPr>
        <p:grpSpPr>
          <a:xfrm>
            <a:off x="5391536" y="0"/>
            <a:ext cx="2486310" cy="5143500"/>
            <a:chOff x="1511923" y="0"/>
            <a:chExt cx="2486310" cy="5143500"/>
          </a:xfrm>
        </p:grpSpPr>
        <p:sp>
          <p:nvSpPr>
            <p:cNvPr id="40" name="Google Shape;40;p4"/>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4"/>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 name="Google Shape;42;p4"/>
          <p:cNvGrpSpPr/>
          <p:nvPr/>
        </p:nvGrpSpPr>
        <p:grpSpPr>
          <a:xfrm>
            <a:off x="4940486" y="0"/>
            <a:ext cx="2326044" cy="5143500"/>
            <a:chOff x="1060873" y="0"/>
            <a:chExt cx="2326044" cy="5143500"/>
          </a:xfrm>
        </p:grpSpPr>
        <p:sp>
          <p:nvSpPr>
            <p:cNvPr id="43" name="Google Shape;43;p4"/>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4"/>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5" name="Google Shape;45;p4"/>
          <p:cNvGrpSpPr/>
          <p:nvPr/>
        </p:nvGrpSpPr>
        <p:grpSpPr>
          <a:xfrm>
            <a:off x="3878963" y="-650"/>
            <a:ext cx="2838667" cy="5145500"/>
            <a:chOff x="-650" y="-650"/>
            <a:chExt cx="2838667" cy="5145500"/>
          </a:xfrm>
        </p:grpSpPr>
        <p:sp>
          <p:nvSpPr>
            <p:cNvPr id="46" name="Google Shape;46;p4"/>
            <p:cNvSpPr/>
            <p:nvPr/>
          </p:nvSpPr>
          <p:spPr>
            <a:xfrm flipH="1">
              <a:off x="7344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4"/>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50000"/>
                </a:schemeClr>
              </a:outerShdw>
            </a:effectLst>
          </p:spPr>
        </p:sp>
      </p:grpSp>
      <p:grpSp>
        <p:nvGrpSpPr>
          <p:cNvPr id="48" name="Google Shape;48;p4"/>
          <p:cNvGrpSpPr/>
          <p:nvPr/>
        </p:nvGrpSpPr>
        <p:grpSpPr>
          <a:xfrm>
            <a:off x="-6575" y="-6575"/>
            <a:ext cx="6246130" cy="5153775"/>
            <a:chOff x="-3886187" y="-6575"/>
            <a:chExt cx="6246130" cy="5153775"/>
          </a:xfrm>
        </p:grpSpPr>
        <p:sp>
          <p:nvSpPr>
            <p:cNvPr id="49" name="Google Shape;49;p4"/>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50;p4"/>
            <p:cNvSpPr/>
            <p:nvPr/>
          </p:nvSpPr>
          <p:spPr>
            <a:xfrm>
              <a:off x="-3886187" y="-6575"/>
              <a:ext cx="5936050" cy="5153775"/>
            </a:xfrm>
            <a:custGeom>
              <a:avLst/>
              <a:gdLst/>
              <a:ahLst/>
              <a:cxnLst/>
              <a:rect l="l" t="t" r="r" b="b"/>
              <a:pathLst>
                <a:path w="237442" h="206151" extrusionOk="0">
                  <a:moveTo>
                    <a:pt x="0" y="206151"/>
                  </a:moveTo>
                  <a:lnTo>
                    <a:pt x="0" y="0"/>
                  </a:lnTo>
                  <a:lnTo>
                    <a:pt x="237442" y="0"/>
                  </a:lnTo>
                  <a:lnTo>
                    <a:pt x="198081" y="206089"/>
                  </a:lnTo>
                  <a:close/>
                </a:path>
              </a:pathLst>
            </a:custGeom>
            <a:gradFill>
              <a:gsLst>
                <a:gs pos="0">
                  <a:schemeClr val="accent1"/>
                </a:gs>
                <a:gs pos="100000">
                  <a:schemeClr val="accent2"/>
                </a:gs>
              </a:gsLst>
              <a:lin ang="16200038" scaled="0"/>
            </a:gradFill>
            <a:ln>
              <a:noFill/>
            </a:ln>
            <a:effectLst>
              <a:outerShdw blurRad="314325" algn="bl" rotWithShape="0">
                <a:schemeClr val="accent6">
                  <a:alpha val="50000"/>
                </a:schemeClr>
              </a:outerShdw>
            </a:effectLst>
          </p:spPr>
        </p:sp>
      </p:grpSp>
      <p:sp>
        <p:nvSpPr>
          <p:cNvPr id="51" name="Google Shape;51;p4"/>
          <p:cNvSpPr txBox="1">
            <a:spLocks noGrp="1"/>
          </p:cNvSpPr>
          <p:nvPr>
            <p:ph type="body" idx="1"/>
          </p:nvPr>
        </p:nvSpPr>
        <p:spPr>
          <a:xfrm>
            <a:off x="911750" y="643275"/>
            <a:ext cx="4130400" cy="3853200"/>
          </a:xfrm>
          <a:prstGeom prst="rect">
            <a:avLst/>
          </a:prstGeom>
        </p:spPr>
        <p:txBody>
          <a:bodyPr spcFirstLastPara="1" wrap="square" lIns="0" tIns="0" rIns="0" bIns="0" anchor="t" anchorCtr="0">
            <a:noAutofit/>
          </a:bodyPr>
          <a:lstStyle>
            <a:lvl1pPr marL="457200" lvl="0" indent="-431800" rtl="0">
              <a:spcBef>
                <a:spcPts val="0"/>
              </a:spcBef>
              <a:spcAft>
                <a:spcPts val="0"/>
              </a:spcAft>
              <a:buSzPts val="3200"/>
              <a:buFont typeface="IBM Plex Serif"/>
              <a:buChar char="▸"/>
              <a:defRPr sz="3200" b="1" i="1">
                <a:latin typeface="IBM Plex Serif"/>
                <a:ea typeface="IBM Plex Serif"/>
                <a:cs typeface="IBM Plex Serif"/>
                <a:sym typeface="IBM Plex Serif"/>
              </a:defRPr>
            </a:lvl1pPr>
            <a:lvl2pPr marL="914400" lvl="1"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2pPr>
            <a:lvl3pPr marL="1371600" lvl="2"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3pPr>
            <a:lvl4pPr marL="1828800" lvl="3"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4pPr>
            <a:lvl5pPr marL="2286000" lvl="4"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5pPr>
            <a:lvl6pPr marL="2743200" lvl="5"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6pPr>
            <a:lvl7pPr marL="3200400" lvl="6"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7pPr>
            <a:lvl8pPr marL="3657600" lvl="7" indent="-431800" rtl="0">
              <a:spcBef>
                <a:spcPts val="600"/>
              </a:spcBef>
              <a:spcAft>
                <a:spcPts val="0"/>
              </a:spcAft>
              <a:buSzPts val="3200"/>
              <a:buFont typeface="IBM Plex Serif"/>
              <a:buChar char="○"/>
              <a:defRPr sz="3200" b="1" i="1">
                <a:latin typeface="IBM Plex Serif"/>
                <a:ea typeface="IBM Plex Serif"/>
                <a:cs typeface="IBM Plex Serif"/>
                <a:sym typeface="IBM Plex Serif"/>
              </a:defRPr>
            </a:lvl8pPr>
            <a:lvl9pPr marL="4114800" lvl="8" indent="-431800" rtl="0">
              <a:spcBef>
                <a:spcPts val="600"/>
              </a:spcBef>
              <a:spcAft>
                <a:spcPts val="600"/>
              </a:spcAft>
              <a:buSzPts val="3200"/>
              <a:buFont typeface="IBM Plex Serif"/>
              <a:buChar char="■"/>
              <a:defRPr sz="3200" b="1" i="1">
                <a:latin typeface="IBM Plex Serif"/>
                <a:ea typeface="IBM Plex Serif"/>
                <a:cs typeface="IBM Plex Serif"/>
                <a:sym typeface="IBM Plex Serif"/>
              </a:defRPr>
            </a:lvl9pPr>
          </a:lstStyle>
          <a:p>
            <a:endParaRPr/>
          </a:p>
        </p:txBody>
      </p:sp>
      <p:sp>
        <p:nvSpPr>
          <p:cNvPr id="52" name="Google Shape;52;p4"/>
          <p:cNvSpPr txBox="1"/>
          <p:nvPr/>
        </p:nvSpPr>
        <p:spPr>
          <a:xfrm>
            <a:off x="297010" y="335022"/>
            <a:ext cx="674700" cy="653700"/>
          </a:xfrm>
          <a:prstGeom prst="rect">
            <a:avLst/>
          </a:prstGeom>
          <a:noFill/>
          <a:ln>
            <a:noFill/>
          </a:ln>
          <a:effectLst>
            <a:outerShdw blurRad="100013" dist="38100" dir="5400000" algn="bl" rotWithShape="0">
              <a:schemeClr val="accent6">
                <a:alpha val="50000"/>
              </a:schemeClr>
            </a:outerShdw>
          </a:effectLst>
        </p:spPr>
        <p:txBody>
          <a:bodyPr spcFirstLastPara="1" wrap="square" lIns="0" tIns="0" rIns="0" bIns="0" anchor="t" anchorCtr="0">
            <a:noAutofit/>
          </a:bodyPr>
          <a:lstStyle/>
          <a:p>
            <a:pPr marL="0" lvl="0" indent="0" algn="ctr" rtl="0">
              <a:spcBef>
                <a:spcPts val="0"/>
              </a:spcBef>
              <a:spcAft>
                <a:spcPts val="0"/>
              </a:spcAft>
              <a:buNone/>
            </a:pPr>
            <a:r>
              <a:rPr lang="en" sz="7200">
                <a:solidFill>
                  <a:schemeClr val="lt1"/>
                </a:solidFill>
                <a:latin typeface="IBM Plex Serif"/>
                <a:ea typeface="IBM Plex Serif"/>
                <a:cs typeface="IBM Plex Serif"/>
                <a:sym typeface="IBM Plex Serif"/>
              </a:rPr>
              <a:t>“</a:t>
            </a:r>
            <a:endParaRPr sz="7200">
              <a:solidFill>
                <a:schemeClr val="lt1"/>
              </a:solidFill>
              <a:latin typeface="IBM Plex Serif"/>
              <a:ea typeface="IBM Plex Serif"/>
              <a:cs typeface="IBM Plex Serif"/>
              <a:sym typeface="IBM Plex Serif"/>
            </a:endParaRPr>
          </a:p>
        </p:txBody>
      </p:sp>
      <p:sp>
        <p:nvSpPr>
          <p:cNvPr id="53" name="Google Shape;53;p4"/>
          <p:cNvSpPr txBox="1">
            <a:spLocks noGrp="1"/>
          </p:cNvSpPr>
          <p:nvPr>
            <p:ph type="sldNum" idx="12"/>
          </p:nvPr>
        </p:nvSpPr>
        <p:spPr>
          <a:xfrm>
            <a:off x="228600" y="4718604"/>
            <a:ext cx="369900" cy="251100"/>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l" rtl="0">
              <a:spcBef>
                <a:spcPts val="0"/>
              </a:spcBef>
              <a:spcAft>
                <a:spcPts val="0"/>
              </a:spcAft>
              <a:buNone/>
            </a:pPr>
            <a:fld id="{00000000-1234-1234-1234-123412341234}" type="slidenum">
              <a:rPr lang="en"/>
              <a:t>‹#›</a:t>
            </a:fld>
            <a:endParaRPr/>
          </a:p>
        </p:txBody>
      </p:sp>
      <p:sp>
        <p:nvSpPr>
          <p:cNvPr id="17" name="Google Shape;34;p5"/>
          <p:cNvSpPr/>
          <p:nvPr userDrawn="1"/>
        </p:nvSpPr>
        <p:spPr>
          <a:xfrm>
            <a:off x="3043438" y="5060349"/>
            <a:ext cx="3044952" cy="91440"/>
          </a:xfrm>
          <a:prstGeom prst="rect">
            <a:avLst/>
          </a:prstGeom>
          <a:solidFill>
            <a:srgbClr val="E1E61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35;p5"/>
          <p:cNvSpPr/>
          <p:nvPr userDrawn="1"/>
        </p:nvSpPr>
        <p:spPr>
          <a:xfrm>
            <a:off x="6091193" y="5058981"/>
            <a:ext cx="3044952" cy="91440"/>
          </a:xfrm>
          <a:prstGeom prst="rect">
            <a:avLst/>
          </a:prstGeom>
          <a:solidFill>
            <a:srgbClr val="FF0000"/>
          </a:solidFill>
          <a:ln>
            <a:solidFill>
              <a:srgbClr val="FF0000"/>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37;p5"/>
          <p:cNvSpPr/>
          <p:nvPr userDrawn="1"/>
        </p:nvSpPr>
        <p:spPr>
          <a:xfrm>
            <a:off x="0" y="5058045"/>
            <a:ext cx="3044952" cy="91440"/>
          </a:xfrm>
          <a:prstGeom prst="rect">
            <a:avLst/>
          </a:prstGeom>
          <a:solidFill>
            <a:srgbClr val="2140B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lank dark">
  <p:cSld name="Blank dark">
    <p:bg>
      <p:bgPr>
        <a:gradFill>
          <a:gsLst>
            <a:gs pos="0">
              <a:srgbClr val="5A667B"/>
            </a:gs>
            <a:gs pos="100000">
              <a:srgbClr val="26282D"/>
            </a:gs>
          </a:gsLst>
          <a:lin ang="10801400" scaled="0"/>
        </a:gradFill>
        <a:effectLst/>
      </p:bgPr>
    </p:bg>
    <p:spTree>
      <p:nvGrpSpPr>
        <p:cNvPr id="1" name="Shape 175"/>
        <p:cNvGrpSpPr/>
        <p:nvPr/>
      </p:nvGrpSpPr>
      <p:grpSpPr>
        <a:xfrm>
          <a:off x="0" y="0"/>
          <a:ext cx="0" cy="0"/>
          <a:chOff x="0" y="0"/>
          <a:chExt cx="0" cy="0"/>
        </a:xfrm>
      </p:grpSpPr>
      <p:grpSp>
        <p:nvGrpSpPr>
          <p:cNvPr id="176" name="Google Shape;176;p13"/>
          <p:cNvGrpSpPr/>
          <p:nvPr/>
        </p:nvGrpSpPr>
        <p:grpSpPr>
          <a:xfrm>
            <a:off x="598623" y="-887"/>
            <a:ext cx="2410110" cy="5143500"/>
            <a:chOff x="1511923" y="0"/>
            <a:chExt cx="2410110" cy="5143500"/>
          </a:xfrm>
        </p:grpSpPr>
        <p:sp>
          <p:nvSpPr>
            <p:cNvPr id="177" name="Google Shape;177;p13"/>
            <p:cNvSpPr/>
            <p:nvPr/>
          </p:nvSpPr>
          <p:spPr>
            <a:xfrm flipH="1">
              <a:off x="1818434" y="0"/>
              <a:ext cx="2103600" cy="5143500"/>
            </a:xfrm>
            <a:prstGeom prst="parallelogram">
              <a:avLst>
                <a:gd name="adj" fmla="val 75274"/>
              </a:avLst>
            </a:prstGeom>
            <a:gradFill>
              <a:gsLst>
                <a:gs pos="0">
                  <a:srgbClr val="000000"/>
                </a:gs>
                <a:gs pos="13000">
                  <a:srgbClr val="000000"/>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78" name="Google Shape;178;p13"/>
            <p:cNvSpPr/>
            <p:nvPr/>
          </p:nvSpPr>
          <p:spPr>
            <a:xfrm flipH="1">
              <a:off x="1511923" y="0"/>
              <a:ext cx="2103600" cy="5143500"/>
            </a:xfrm>
            <a:prstGeom prst="parallelogram">
              <a:avLst>
                <a:gd name="adj" fmla="val 46349"/>
              </a:avLst>
            </a:prstGeom>
            <a:gradFill>
              <a:gsLst>
                <a:gs pos="0">
                  <a:srgbClr val="5A667B"/>
                </a:gs>
                <a:gs pos="33000">
                  <a:srgbClr val="404754"/>
                </a:gs>
                <a:gs pos="100000">
                  <a:srgbClr val="26282D"/>
                </a:gs>
              </a:gsLst>
              <a:lin ang="16198662" scaled="0"/>
            </a:gradFill>
            <a:ln>
              <a:noFill/>
            </a:ln>
          </p:spPr>
          <p:txBody>
            <a:bodyPr spcFirstLastPara="1" wrap="square" lIns="91425" tIns="91425" rIns="91425" bIns="91425" anchor="ctr" anchorCtr="0">
              <a:noAutofit/>
            </a:bodyPr>
            <a:lstStyle/>
            <a:p>
              <a:endParaRPr/>
            </a:p>
          </p:txBody>
        </p:sp>
      </p:grpSp>
      <p:grpSp>
        <p:nvGrpSpPr>
          <p:cNvPr id="179" name="Google Shape;179;p13"/>
          <p:cNvGrpSpPr/>
          <p:nvPr/>
        </p:nvGrpSpPr>
        <p:grpSpPr>
          <a:xfrm>
            <a:off x="376173" y="-887"/>
            <a:ext cx="2326044" cy="5143500"/>
            <a:chOff x="1060873" y="0"/>
            <a:chExt cx="2326044" cy="5143500"/>
          </a:xfrm>
        </p:grpSpPr>
        <p:sp>
          <p:nvSpPr>
            <p:cNvPr id="180" name="Google Shape;180;p13"/>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81" name="Google Shape;181;p13"/>
            <p:cNvSpPr/>
            <p:nvPr/>
          </p:nvSpPr>
          <p:spPr>
            <a:xfrm>
              <a:off x="1060873" y="0"/>
              <a:ext cx="2103600" cy="5143500"/>
            </a:xfrm>
            <a:prstGeom prst="parallelogram">
              <a:avLst>
                <a:gd name="adj" fmla="val 46349"/>
              </a:avLst>
            </a:prstGeom>
            <a:gradFill>
              <a:gsLst>
                <a:gs pos="0">
                  <a:srgbClr val="5A667B"/>
                </a:gs>
                <a:gs pos="100000">
                  <a:srgbClr val="26282D"/>
                </a:gs>
              </a:gsLst>
              <a:lin ang="5400012" scaled="0"/>
            </a:gradFill>
            <a:ln>
              <a:noFill/>
            </a:ln>
            <a:effectLst>
              <a:outerShdw blurRad="214313" algn="bl" rotWithShape="0">
                <a:srgbClr val="000000">
                  <a:alpha val="63000"/>
                </a:srgbClr>
              </a:outerShdw>
            </a:effectLst>
          </p:spPr>
          <p:txBody>
            <a:bodyPr spcFirstLastPara="1" wrap="square" lIns="91425" tIns="91425" rIns="91425" bIns="91425" anchor="ctr" anchorCtr="0">
              <a:noAutofit/>
            </a:bodyPr>
            <a:lstStyle/>
            <a:p>
              <a:endParaRPr/>
            </a:p>
          </p:txBody>
        </p:sp>
      </p:grpSp>
      <p:grpSp>
        <p:nvGrpSpPr>
          <p:cNvPr id="182" name="Google Shape;182;p13"/>
          <p:cNvGrpSpPr/>
          <p:nvPr/>
        </p:nvGrpSpPr>
        <p:grpSpPr>
          <a:xfrm>
            <a:off x="0" y="-887"/>
            <a:ext cx="2381917" cy="5144925"/>
            <a:chOff x="456100" y="0"/>
            <a:chExt cx="2381917" cy="5144925"/>
          </a:xfrm>
        </p:grpSpPr>
        <p:sp>
          <p:nvSpPr>
            <p:cNvPr id="183" name="Google Shape;183;p13"/>
            <p:cNvSpPr/>
            <p:nvPr/>
          </p:nvSpPr>
          <p:spPr>
            <a:xfrm flipH="1">
              <a:off x="734417" y="0"/>
              <a:ext cx="2103600" cy="5143500"/>
            </a:xfrm>
            <a:prstGeom prst="parallelogram">
              <a:avLst>
                <a:gd name="adj" fmla="val 75274"/>
              </a:avLst>
            </a:prstGeom>
            <a:gradFill>
              <a:gsLst>
                <a:gs pos="0">
                  <a:srgbClr val="000000"/>
                </a:gs>
                <a:gs pos="13000">
                  <a:srgbClr val="000000"/>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endParaRPr/>
            </a:p>
          </p:txBody>
        </p:sp>
        <p:sp>
          <p:nvSpPr>
            <p:cNvPr id="184" name="Google Shape;184;p13"/>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a:gsLst>
                <a:gs pos="0">
                  <a:schemeClr val="accent1"/>
                </a:gs>
                <a:gs pos="37000">
                  <a:schemeClr val="accent1"/>
                </a:gs>
                <a:gs pos="100000">
                  <a:schemeClr val="accent2"/>
                </a:gs>
              </a:gsLst>
              <a:lin ang="5400012" scaled="0"/>
            </a:gradFill>
            <a:ln>
              <a:noFill/>
            </a:ln>
            <a:effectLst>
              <a:outerShdw blurRad="314325" algn="bl" rotWithShape="0">
                <a:schemeClr val="dk1">
                  <a:alpha val="71000"/>
                </a:schemeClr>
              </a:outerShdw>
            </a:effectLst>
          </p:spPr>
        </p:sp>
      </p:grpSp>
      <p:grpSp>
        <p:nvGrpSpPr>
          <p:cNvPr id="185" name="Google Shape;185;p13"/>
          <p:cNvGrpSpPr/>
          <p:nvPr/>
        </p:nvGrpSpPr>
        <p:grpSpPr>
          <a:xfrm>
            <a:off x="0" y="-887"/>
            <a:ext cx="2132442" cy="5145275"/>
            <a:chOff x="227500" y="0"/>
            <a:chExt cx="2132442" cy="5145275"/>
          </a:xfrm>
        </p:grpSpPr>
        <p:sp>
          <p:nvSpPr>
            <p:cNvPr id="186" name="Google Shape;186;p13"/>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87" name="Google Shape;187;p13"/>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35433226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1_Contents slide layout">
    <p:spTree>
      <p:nvGrpSpPr>
        <p:cNvPr id="1" name=""/>
        <p:cNvGrpSpPr/>
        <p:nvPr/>
      </p:nvGrpSpPr>
      <p:grpSpPr>
        <a:xfrm>
          <a:off x="0" y="0"/>
          <a:ext cx="0" cy="0"/>
          <a:chOff x="0" y="0"/>
          <a:chExt cx="0" cy="0"/>
        </a:xfrm>
      </p:grpSpPr>
      <p:grpSp>
        <p:nvGrpSpPr>
          <p:cNvPr id="3" name="Google Shape;92;p7"/>
          <p:cNvGrpSpPr/>
          <p:nvPr userDrawn="1"/>
        </p:nvGrpSpPr>
        <p:grpSpPr>
          <a:xfrm rot="16200000">
            <a:off x="3717725" y="-165463"/>
            <a:ext cx="1644330" cy="9208225"/>
            <a:chOff x="77418"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9707951">
              <a:off x="77418" y="-36139"/>
              <a:ext cx="2103598"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42451170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4_Contents slide layout">
    <p:spTree>
      <p:nvGrpSpPr>
        <p:cNvPr id="1" name=""/>
        <p:cNvGrpSpPr/>
        <p:nvPr/>
      </p:nvGrpSpPr>
      <p:grpSpPr>
        <a:xfrm>
          <a:off x="0" y="0"/>
          <a:ext cx="0" cy="0"/>
          <a:chOff x="0" y="0"/>
          <a:chExt cx="0" cy="0"/>
        </a:xfrm>
      </p:grpSpPr>
      <p:grpSp>
        <p:nvGrpSpPr>
          <p:cNvPr id="3" name="Google Shape;92;p7"/>
          <p:cNvGrpSpPr/>
          <p:nvPr userDrawn="1"/>
        </p:nvGrpSpPr>
        <p:grpSpPr>
          <a:xfrm rot="16200000">
            <a:off x="3717725" y="-165462"/>
            <a:ext cx="1644330" cy="9208225"/>
            <a:chOff x="77417"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174873">
              <a:off x="77417" y="-36139"/>
              <a:ext cx="2103598"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10738120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Contents slide layout">
    <p:spTree>
      <p:nvGrpSpPr>
        <p:cNvPr id="1" name=""/>
        <p:cNvGrpSpPr/>
        <p:nvPr/>
      </p:nvGrpSpPr>
      <p:grpSpPr>
        <a:xfrm>
          <a:off x="0" y="0"/>
          <a:ext cx="0" cy="0"/>
          <a:chOff x="0" y="0"/>
          <a:chExt cx="0" cy="0"/>
        </a:xfrm>
      </p:grpSpPr>
      <p:grpSp>
        <p:nvGrpSpPr>
          <p:cNvPr id="3" name="Google Shape;92;p7"/>
          <p:cNvGrpSpPr/>
          <p:nvPr userDrawn="1"/>
        </p:nvGrpSpPr>
        <p:grpSpPr>
          <a:xfrm rot="16200000">
            <a:off x="3745517" y="-99072"/>
            <a:ext cx="1588602" cy="9208365"/>
            <a:chOff x="28041" y="-36218"/>
            <a:chExt cx="2032305" cy="5181493"/>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279421">
              <a:off x="28041" y="-36218"/>
              <a:ext cx="2032305"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32160144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Contents slide layout">
    <p:spTree>
      <p:nvGrpSpPr>
        <p:cNvPr id="1" name=""/>
        <p:cNvGrpSpPr/>
        <p:nvPr/>
      </p:nvGrpSpPr>
      <p:grpSpPr>
        <a:xfrm>
          <a:off x="0" y="0"/>
          <a:ext cx="0" cy="0"/>
          <a:chOff x="0" y="0"/>
          <a:chExt cx="0" cy="0"/>
        </a:xfrm>
      </p:grpSpPr>
      <p:grpSp>
        <p:nvGrpSpPr>
          <p:cNvPr id="3" name="Google Shape;92;p7"/>
          <p:cNvGrpSpPr/>
          <p:nvPr userDrawn="1"/>
        </p:nvGrpSpPr>
        <p:grpSpPr>
          <a:xfrm rot="5400000">
            <a:off x="3788367" y="-3922281"/>
            <a:ext cx="1645920" cy="9236800"/>
            <a:chOff x="77417"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324491">
              <a:off x="77417" y="-36139"/>
              <a:ext cx="2103598" cy="5143500"/>
            </a:xfrm>
            <a:prstGeom prst="parallelogram">
              <a:avLst>
                <a:gd name="adj" fmla="val 75274"/>
              </a:avLst>
            </a:prstGeom>
            <a:gradFill>
              <a:gsLst>
                <a:gs pos="0">
                  <a:srgbClr val="0837CE"/>
                </a:gs>
                <a:gs pos="23000">
                  <a:srgbClr val="FFDF8C"/>
                </a:gs>
                <a:gs pos="53000">
                  <a:schemeClr val="bg1"/>
                </a:gs>
                <a:gs pos="87000">
                  <a:srgbClr val="FFEAB3"/>
                </a:gs>
              </a:gsLst>
              <a:lin ang="5400000" scaled="1"/>
            </a:gradFill>
            <a:ln>
              <a:noFill/>
            </a:ln>
          </p:spPr>
          <p:txBody>
            <a:bodyPr spcFirstLastPara="1" wrap="square" lIns="91425" tIns="91425" rIns="91425" bIns="91425" anchor="ctr" anchorCtr="0">
              <a:noAutofit/>
            </a:bodyPr>
            <a:lstStyle/>
            <a:p>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adFill flip="none" rotWithShape="1">
              <a:gsLst>
                <a:gs pos="0">
                  <a:srgbClr val="284DC5"/>
                </a:gs>
                <a:gs pos="5000">
                  <a:srgbClr val="284DC5"/>
                </a:gs>
                <a:gs pos="48000">
                  <a:schemeClr val="lt2"/>
                </a:gs>
                <a:gs pos="65000">
                  <a:schemeClr val="lt2"/>
                </a:gs>
              </a:gsLst>
              <a:lin ang="0" scaled="1"/>
              <a:tileRect/>
            </a:grad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496621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5_Contents slide layout">
    <p:spTree>
      <p:nvGrpSpPr>
        <p:cNvPr id="1" name=""/>
        <p:cNvGrpSpPr/>
        <p:nvPr/>
      </p:nvGrpSpPr>
      <p:grpSpPr>
        <a:xfrm>
          <a:off x="0" y="0"/>
          <a:ext cx="0" cy="0"/>
          <a:chOff x="0" y="0"/>
          <a:chExt cx="0" cy="0"/>
        </a:xfrm>
      </p:grpSpPr>
      <p:grpSp>
        <p:nvGrpSpPr>
          <p:cNvPr id="9" name="Google Shape;165;p12"/>
          <p:cNvGrpSpPr/>
          <p:nvPr userDrawn="1"/>
        </p:nvGrpSpPr>
        <p:grpSpPr>
          <a:xfrm rot="16200000">
            <a:off x="3902322" y="-3920901"/>
            <a:ext cx="1330189" cy="9153169"/>
            <a:chOff x="1060873" y="0"/>
            <a:chExt cx="2326044" cy="5143500"/>
          </a:xfrm>
        </p:grpSpPr>
        <p:sp>
          <p:nvSpPr>
            <p:cNvPr id="10" name="Google Shape;166;p12"/>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endParaRPr/>
            </a:p>
          </p:txBody>
        </p:sp>
        <p:sp>
          <p:nvSpPr>
            <p:cNvPr id="11" name="Google Shape;167;p12"/>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700"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endParaRPr/>
            </a:p>
          </p:txBody>
        </p:sp>
      </p:grpSp>
      <p:grpSp>
        <p:nvGrpSpPr>
          <p:cNvPr id="3" name="Google Shape;92;p7"/>
          <p:cNvGrpSpPr/>
          <p:nvPr userDrawn="1"/>
        </p:nvGrpSpPr>
        <p:grpSpPr>
          <a:xfrm rot="5400000">
            <a:off x="3734324" y="-3750813"/>
            <a:ext cx="1668278" cy="9151074"/>
            <a:chOff x="227502" y="-71146"/>
            <a:chExt cx="2132172" cy="5216422"/>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10324491">
              <a:off x="256076" y="-36270"/>
              <a:ext cx="2103598" cy="5170814"/>
            </a:xfrm>
            <a:prstGeom prst="parallelogram">
              <a:avLst>
                <a:gd name="adj" fmla="val 75274"/>
              </a:avLst>
            </a:prstGeom>
            <a:gradFill>
              <a:gsLst>
                <a:gs pos="0">
                  <a:srgbClr val="0837CE"/>
                </a:gs>
                <a:gs pos="23000">
                  <a:srgbClr val="FFDF8C"/>
                </a:gs>
                <a:gs pos="53000">
                  <a:schemeClr val="bg1"/>
                </a:gs>
                <a:gs pos="87000">
                  <a:srgbClr val="FFEAB3"/>
                </a:gs>
              </a:gsLst>
              <a:lin ang="5400000" scaled="1"/>
            </a:gradFill>
            <a:ln>
              <a:noFill/>
            </a:ln>
          </p:spPr>
          <p:txBody>
            <a:bodyPr spcFirstLastPara="1" wrap="square" lIns="91425" tIns="91425" rIns="91425" bIns="91425" anchor="ctr" anchorCtr="0">
              <a:noAutofit/>
            </a:bodyPr>
            <a:lstStyle/>
            <a:p>
              <a:endParaRPr/>
            </a:p>
          </p:txBody>
        </p:sp>
        <p:sp>
          <p:nvSpPr>
            <p:cNvPr id="5" name="Google Shape;94;p7"/>
            <p:cNvSpPr/>
            <p:nvPr/>
          </p:nvSpPr>
          <p:spPr>
            <a:xfrm>
              <a:off x="227502" y="-71146"/>
              <a:ext cx="901718" cy="5216422"/>
            </a:xfrm>
            <a:custGeom>
              <a:avLst/>
              <a:gdLst/>
              <a:ahLst/>
              <a:cxnLst/>
              <a:rect l="l" t="t" r="r" b="b"/>
              <a:pathLst>
                <a:path w="73037" h="205811" extrusionOk="0">
                  <a:moveTo>
                    <a:pt x="0" y="205797"/>
                  </a:moveTo>
                  <a:lnTo>
                    <a:pt x="44" y="0"/>
                  </a:lnTo>
                  <a:lnTo>
                    <a:pt x="73037" y="0"/>
                  </a:lnTo>
                  <a:lnTo>
                    <a:pt x="33572" y="205811"/>
                  </a:lnTo>
                  <a:close/>
                </a:path>
              </a:pathLst>
            </a:custGeom>
            <a:gradFill flip="none" rotWithShape="1">
              <a:gsLst>
                <a:gs pos="0">
                  <a:srgbClr val="284DC5"/>
                </a:gs>
                <a:gs pos="5000">
                  <a:srgbClr val="284DC5"/>
                </a:gs>
                <a:gs pos="48000">
                  <a:schemeClr val="lt2"/>
                </a:gs>
                <a:gs pos="65000">
                  <a:schemeClr val="lt2"/>
                </a:gs>
              </a:gsLst>
              <a:lin ang="0" scaled="1"/>
              <a:tileRect/>
            </a:grad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4592862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grpSp>
        <p:nvGrpSpPr>
          <p:cNvPr id="3" name="Google Shape;92;p7"/>
          <p:cNvGrpSpPr/>
          <p:nvPr userDrawn="1"/>
        </p:nvGrpSpPr>
        <p:grpSpPr>
          <a:xfrm rot="5400000">
            <a:off x="3788367" y="-3922280"/>
            <a:ext cx="1645920" cy="9236800"/>
            <a:chOff x="77418" y="-36139"/>
            <a:chExt cx="2103598" cy="5181414"/>
          </a:xfrm>
          <a:gradFill flip="none" rotWithShape="1">
            <a:gsLst>
              <a:gs pos="0">
                <a:srgbClr val="0837CE"/>
              </a:gs>
              <a:gs pos="50000">
                <a:srgbClr val="0837CE"/>
              </a:gs>
              <a:gs pos="89000">
                <a:schemeClr val="lt2"/>
              </a:gs>
              <a:gs pos="100000">
                <a:schemeClr val="lt2"/>
              </a:gs>
            </a:gsLst>
            <a:lin ang="5400000" scaled="1"/>
            <a:tileRect/>
          </a:gradFill>
        </p:grpSpPr>
        <p:sp>
          <p:nvSpPr>
            <p:cNvPr id="4" name="Google Shape;93;p7"/>
            <p:cNvSpPr/>
            <p:nvPr/>
          </p:nvSpPr>
          <p:spPr>
            <a:xfrm rot="9707951">
              <a:off x="77418" y="-36139"/>
              <a:ext cx="2103598"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endParaRPr/>
            </a:p>
          </p:txBody>
        </p:sp>
        <p:sp>
          <p:nvSpPr>
            <p:cNvPr id="5" name="Google Shape;94;p7"/>
            <p:cNvSpPr/>
            <p:nvPr/>
          </p:nvSpPr>
          <p:spPr>
            <a:xfrm>
              <a:off x="227501" y="0"/>
              <a:ext cx="901718"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Tree>
    <p:extLst>
      <p:ext uri="{BB962C8B-B14F-4D97-AF65-F5344CB8AC3E}">
        <p14:creationId xmlns:p14="http://schemas.microsoft.com/office/powerpoint/2010/main" val="23290843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9_Content Page - Small Hea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419"/>
      </p:ext>
    </p:extLst>
  </p:cSld>
  <p:clrMapOvr>
    <a:overrideClrMapping bg1="lt1" tx1="dk1" bg2="lt2" tx2="dk2" accent1="accent1" accent2="accent2" accent3="accent3" accent4="accent4" accent5="accent5" accent6="accent6" hlink="hlink" folHlink="folHlink"/>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Content with image backgroun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1728" y="4800601"/>
            <a:ext cx="1178794" cy="264033"/>
          </a:xfrm>
          <a:prstGeom prst="rect">
            <a:avLst/>
          </a:prstGeom>
        </p:spPr>
      </p:pic>
    </p:spTree>
    <p:extLst>
      <p:ext uri="{BB962C8B-B14F-4D97-AF65-F5344CB8AC3E}">
        <p14:creationId xmlns:p14="http://schemas.microsoft.com/office/powerpoint/2010/main" val="2454154067"/>
      </p:ext>
    </p:extLst>
  </p:cSld>
  <p:clrMapOvr>
    <a:overrideClrMapping bg1="lt1" tx1="dk1" bg2="lt2" tx2="dk2" accent1="accent1" accent2="accent2" accent3="accent3" accent4="accent4" accent5="accent5" accent6="accent6" hlink="hlink" folHlink="folHlink"/>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userDrawn="1">
  <p:cSld name="TITLE_AND_BODY">
    <p:spTree>
      <p:nvGrpSpPr>
        <p:cNvPr id="1" name="Shape 54"/>
        <p:cNvGrpSpPr/>
        <p:nvPr/>
      </p:nvGrpSpPr>
      <p:grpSpPr>
        <a:xfrm>
          <a:off x="0" y="0"/>
          <a:ext cx="0" cy="0"/>
          <a:chOff x="0" y="0"/>
          <a:chExt cx="0" cy="0"/>
        </a:xfrm>
      </p:grpSpPr>
      <p:grpSp>
        <p:nvGrpSpPr>
          <p:cNvPr id="55" name="Google Shape;55;p5"/>
          <p:cNvGrpSpPr/>
          <p:nvPr/>
        </p:nvGrpSpPr>
        <p:grpSpPr>
          <a:xfrm>
            <a:off x="598623" y="0"/>
            <a:ext cx="2486310" cy="5143500"/>
            <a:chOff x="1511923" y="0"/>
            <a:chExt cx="2486310" cy="5143500"/>
          </a:xfrm>
        </p:grpSpPr>
        <p:sp>
          <p:nvSpPr>
            <p:cNvPr id="56" name="Google Shape;56;p5"/>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57;p5"/>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 name="Google Shape;58;p5"/>
          <p:cNvGrpSpPr/>
          <p:nvPr/>
        </p:nvGrpSpPr>
        <p:grpSpPr>
          <a:xfrm>
            <a:off x="376173" y="0"/>
            <a:ext cx="2326044" cy="5143500"/>
            <a:chOff x="1060873" y="0"/>
            <a:chExt cx="2326044" cy="5143500"/>
          </a:xfrm>
        </p:grpSpPr>
        <p:sp>
          <p:nvSpPr>
            <p:cNvPr id="59" name="Google Shape;59;p5"/>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60;p5"/>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1" name="Google Shape;61;p5"/>
          <p:cNvGrpSpPr/>
          <p:nvPr/>
        </p:nvGrpSpPr>
        <p:grpSpPr>
          <a:xfrm>
            <a:off x="0" y="0"/>
            <a:ext cx="2305717" cy="5144925"/>
            <a:chOff x="456100" y="0"/>
            <a:chExt cx="2305717" cy="5144925"/>
          </a:xfrm>
        </p:grpSpPr>
        <p:sp>
          <p:nvSpPr>
            <p:cNvPr id="62" name="Google Shape;62;p5"/>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63;p5"/>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gradFill flip="none" rotWithShape="1">
              <a:gsLst>
                <a:gs pos="0">
                  <a:schemeClr val="accent5">
                    <a:lumMod val="0"/>
                    <a:lumOff val="100000"/>
                  </a:schemeClr>
                </a:gs>
                <a:gs pos="83000">
                  <a:srgbClr val="7292FA"/>
                </a:gs>
                <a:gs pos="100000">
                  <a:srgbClr val="041E70"/>
                </a:gs>
              </a:gsLst>
              <a:path path="circle">
                <a:fillToRect l="50000" t="-80000" r="50000" b="180000"/>
              </a:path>
              <a:tileRect/>
            </a:gradFill>
            <a:ln>
              <a:noFill/>
            </a:ln>
            <a:effectLst>
              <a:outerShdw blurRad="314325" algn="bl" rotWithShape="0">
                <a:schemeClr val="dk1">
                  <a:alpha val="50000"/>
                </a:schemeClr>
              </a:outerShdw>
            </a:effectLst>
          </p:spPr>
        </p:sp>
      </p:grpSp>
      <p:grpSp>
        <p:nvGrpSpPr>
          <p:cNvPr id="64" name="Google Shape;64;p5"/>
          <p:cNvGrpSpPr/>
          <p:nvPr/>
        </p:nvGrpSpPr>
        <p:grpSpPr>
          <a:xfrm>
            <a:off x="0" y="0"/>
            <a:ext cx="2132442" cy="5145275"/>
            <a:chOff x="227500" y="0"/>
            <a:chExt cx="2132442" cy="5145275"/>
          </a:xfrm>
        </p:grpSpPr>
        <p:sp>
          <p:nvSpPr>
            <p:cNvPr id="65" name="Google Shape;65;p5"/>
            <p:cNvSpPr/>
            <p:nvPr/>
          </p:nvSpPr>
          <p:spPr>
            <a:xfrm>
              <a:off x="256342"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66;p5"/>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adFill>
              <a:gsLst>
                <a:gs pos="0">
                  <a:schemeClr val="accent1"/>
                </a:gs>
                <a:gs pos="50000">
                  <a:schemeClr val="accent1"/>
                </a:gs>
                <a:gs pos="100000">
                  <a:schemeClr val="accent2"/>
                </a:gs>
              </a:gsLst>
              <a:lin ang="16200038" scaled="0"/>
            </a:gradFill>
            <a:ln>
              <a:noFill/>
            </a:ln>
            <a:effectLst>
              <a:outerShdw blurRad="314325" algn="bl" rotWithShape="0">
                <a:schemeClr val="accent6">
                  <a:alpha val="50000"/>
                </a:schemeClr>
              </a:outerShdw>
            </a:effectLst>
          </p:spPr>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1 column over color" userDrawn="1">
  <p:cSld name="TITLE_AND_BODY_1">
    <p:bg>
      <p:bgPr>
        <a:gradFill>
          <a:gsLst>
            <a:gs pos="0">
              <a:schemeClr val="lt1"/>
            </a:gs>
            <a:gs pos="18000">
              <a:schemeClr val="lt1"/>
            </a:gs>
            <a:gs pos="39000">
              <a:schemeClr val="lt2"/>
            </a:gs>
            <a:gs pos="100000">
              <a:schemeClr val="lt2"/>
            </a:gs>
          </a:gsLst>
          <a:lin ang="10800025" scaled="0"/>
        </a:gradFill>
        <a:effectLst/>
      </p:bgPr>
    </p:bg>
    <p:spTree>
      <p:nvGrpSpPr>
        <p:cNvPr id="1" name="Shape 70"/>
        <p:cNvGrpSpPr/>
        <p:nvPr/>
      </p:nvGrpSpPr>
      <p:grpSpPr>
        <a:xfrm>
          <a:off x="0" y="0"/>
          <a:ext cx="0" cy="0"/>
          <a:chOff x="0" y="0"/>
          <a:chExt cx="0" cy="0"/>
        </a:xfrm>
      </p:grpSpPr>
      <p:sp>
        <p:nvSpPr>
          <p:cNvPr id="72" name="Google Shape;72;p6"/>
          <p:cNvSpPr/>
          <p:nvPr/>
        </p:nvSpPr>
        <p:spPr>
          <a:xfrm>
            <a:off x="1171389" y="6575"/>
            <a:ext cx="2103600" cy="5143500"/>
          </a:xfrm>
          <a:prstGeom prst="parallelogram">
            <a:avLst>
              <a:gd name="adj" fmla="val 46349"/>
            </a:avLst>
          </a:prstGeom>
          <a:gradFill>
            <a:gsLst>
              <a:gs pos="0">
                <a:schemeClr val="lt1"/>
              </a:gs>
              <a:gs pos="100000">
                <a:srgbClr val="FFFFFF">
                  <a:alpha val="0"/>
                </a:srgbClr>
              </a:gs>
            </a:gsLst>
            <a:lin ang="540070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 name="Google Shape;73;p6"/>
          <p:cNvGrpSpPr/>
          <p:nvPr/>
        </p:nvGrpSpPr>
        <p:grpSpPr>
          <a:xfrm>
            <a:off x="1173086" y="0"/>
            <a:ext cx="2191087" cy="5145500"/>
            <a:chOff x="-650" y="-650"/>
            <a:chExt cx="2838667" cy="5145500"/>
          </a:xfrm>
        </p:grpSpPr>
        <p:sp>
          <p:nvSpPr>
            <p:cNvPr id="74" name="Google Shape;74;p6"/>
            <p:cNvSpPr/>
            <p:nvPr/>
          </p:nvSpPr>
          <p:spPr>
            <a:xfrm flipH="1">
              <a:off x="7344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6"/>
            <p:cNvSpPr/>
            <p:nvPr/>
          </p:nvSpPr>
          <p:spPr>
            <a:xfrm>
              <a:off x="-650" y="-650"/>
              <a:ext cx="2492350" cy="5145500"/>
            </a:xfrm>
            <a:custGeom>
              <a:avLst/>
              <a:gdLst/>
              <a:ahLst/>
              <a:cxnLst/>
              <a:rect l="l" t="t" r="r" b="b"/>
              <a:pathLst>
                <a:path w="99694" h="205820" extrusionOk="0">
                  <a:moveTo>
                    <a:pt x="0" y="0"/>
                  </a:moveTo>
                  <a:lnTo>
                    <a:pt x="0" y="205820"/>
                  </a:lnTo>
                  <a:lnTo>
                    <a:pt x="99694" y="205820"/>
                  </a:lnTo>
                  <a:lnTo>
                    <a:pt x="60199" y="26"/>
                  </a:lnTo>
                  <a:close/>
                </a:path>
              </a:pathLst>
            </a:custGeom>
            <a:solidFill>
              <a:srgbClr val="041E70"/>
            </a:solidFill>
            <a:ln>
              <a:noFill/>
            </a:ln>
            <a:effectLst>
              <a:outerShdw blurRad="314325" algn="bl" rotWithShape="0">
                <a:schemeClr val="dk1">
                  <a:alpha val="50000"/>
                </a:schemeClr>
              </a:outerShdw>
            </a:effectLst>
          </p:spPr>
        </p:sp>
      </p:grpSp>
      <p:grpSp>
        <p:nvGrpSpPr>
          <p:cNvPr id="76" name="Google Shape;76;p6"/>
          <p:cNvGrpSpPr/>
          <p:nvPr/>
        </p:nvGrpSpPr>
        <p:grpSpPr>
          <a:xfrm>
            <a:off x="1" y="-6575"/>
            <a:ext cx="2497539" cy="5153775"/>
            <a:chOff x="-2586625" y="-6575"/>
            <a:chExt cx="4946567" cy="5153775"/>
          </a:xfrm>
          <a:gradFill flip="none" rotWithShape="1">
            <a:gsLst>
              <a:gs pos="0">
                <a:srgbClr val="0837CE"/>
              </a:gs>
              <a:gs pos="59000">
                <a:srgbClr val="0837CE"/>
              </a:gs>
              <a:gs pos="98000">
                <a:schemeClr val="bg1"/>
              </a:gs>
              <a:gs pos="100000">
                <a:schemeClr val="bg1"/>
              </a:gs>
            </a:gsLst>
            <a:lin ang="5400000" scaled="1"/>
            <a:tileRect/>
          </a:gradFill>
        </p:grpSpPr>
        <p:sp>
          <p:nvSpPr>
            <p:cNvPr id="77" name="Google Shape;77;p6"/>
            <p:cNvSpPr/>
            <p:nvPr/>
          </p:nvSpPr>
          <p:spPr>
            <a:xfrm>
              <a:off x="256342" y="0"/>
              <a:ext cx="2103600" cy="5143500"/>
            </a:xfrm>
            <a:prstGeom prst="parallelogram">
              <a:avLst>
                <a:gd name="adj" fmla="val 75274"/>
              </a:avLst>
            </a:prstGeom>
            <a:gradFill>
              <a:gsLst>
                <a:gs pos="0">
                  <a:srgbClr val="0837CE"/>
                </a:gs>
                <a:gs pos="70000">
                  <a:srgbClr val="FFDF8C"/>
                </a:gs>
                <a:gs pos="85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78;p6"/>
            <p:cNvSpPr/>
            <p:nvPr/>
          </p:nvSpPr>
          <p:spPr>
            <a:xfrm>
              <a:off x="-2586625" y="-6575"/>
              <a:ext cx="4640050" cy="5153775"/>
            </a:xfrm>
            <a:custGeom>
              <a:avLst/>
              <a:gdLst/>
              <a:ahLst/>
              <a:cxnLst/>
              <a:rect l="l" t="t" r="r" b="b"/>
              <a:pathLst>
                <a:path w="185602" h="206151" extrusionOk="0">
                  <a:moveTo>
                    <a:pt x="263" y="206151"/>
                  </a:moveTo>
                  <a:lnTo>
                    <a:pt x="0" y="0"/>
                  </a:lnTo>
                  <a:lnTo>
                    <a:pt x="185602" y="263"/>
                  </a:lnTo>
                  <a:lnTo>
                    <a:pt x="146098" y="206089"/>
                  </a:lnTo>
                  <a:close/>
                </a:path>
              </a:pathLst>
            </a:custGeom>
            <a:grpFill/>
            <a:ln>
              <a:noFill/>
            </a:ln>
            <a:effectLst>
              <a:outerShdw blurRad="314325" algn="bl" rotWithShape="0">
                <a:schemeClr val="accent6">
                  <a:alpha val="50000"/>
                </a:schemeClr>
              </a:outerShdw>
            </a:effectLst>
          </p:spPr>
        </p:sp>
      </p:grpSp>
      <p:sp>
        <p:nvSpPr>
          <p:cNvPr id="71" name="Google Shape;71;p6"/>
          <p:cNvSpPr/>
          <p:nvPr/>
        </p:nvSpPr>
        <p:spPr>
          <a:xfrm flipH="1">
            <a:off x="-171252" y="-6575"/>
            <a:ext cx="1638386" cy="5143500"/>
          </a:xfrm>
          <a:prstGeom prst="parallelogram">
            <a:avLst>
              <a:gd name="adj" fmla="val 46349"/>
            </a:avLst>
          </a:prstGeom>
          <a:gradFill>
            <a:gsLst>
              <a:gs pos="0">
                <a:schemeClr val="lt1"/>
              </a:gs>
              <a:gs pos="92000">
                <a:srgbClr val="FFFFFF">
                  <a:alpha val="0"/>
                </a:srgbClr>
              </a:gs>
              <a:gs pos="100000">
                <a:srgbClr val="FFFFFF">
                  <a:alpha val="0"/>
                </a:srgbClr>
              </a:gs>
            </a:gsLst>
            <a:lin ang="1619866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 2 columns" type="twoColTx">
  <p:cSld name="TITLE_AND_TWO_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2486310"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 name="Google Shape;86;p7"/>
          <p:cNvGrpSpPr/>
          <p:nvPr/>
        </p:nvGrpSpPr>
        <p:grpSpPr>
          <a:xfrm>
            <a:off x="376173" y="0"/>
            <a:ext cx="232604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7"/>
          <p:cNvGrpSpPr/>
          <p:nvPr/>
        </p:nvGrpSpPr>
        <p:grpSpPr>
          <a:xfrm>
            <a:off x="0" y="0"/>
            <a:ext cx="2305717" cy="5144925"/>
            <a:chOff x="456100" y="0"/>
            <a:chExt cx="2305717"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a:off x="0" y="0"/>
            <a:ext cx="213244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 2 columns" type="twoColTx" preserve="1">
  <p:cSld name="1_Title + 2 columns">
    <p:spTree>
      <p:nvGrpSpPr>
        <p:cNvPr id="1" name="Shape 82"/>
        <p:cNvGrpSpPr/>
        <p:nvPr/>
      </p:nvGrpSpPr>
      <p:grpSpPr>
        <a:xfrm>
          <a:off x="0" y="0"/>
          <a:ext cx="0" cy="0"/>
          <a:chOff x="0" y="0"/>
          <a:chExt cx="0" cy="0"/>
        </a:xfrm>
      </p:grpSpPr>
      <p:grpSp>
        <p:nvGrpSpPr>
          <p:cNvPr id="83" name="Google Shape;83;p7"/>
          <p:cNvGrpSpPr/>
          <p:nvPr/>
        </p:nvGrpSpPr>
        <p:grpSpPr>
          <a:xfrm>
            <a:off x="598623" y="0"/>
            <a:ext cx="2486310" cy="5143500"/>
            <a:chOff x="1511923" y="0"/>
            <a:chExt cx="2486310" cy="5143500"/>
          </a:xfrm>
        </p:grpSpPr>
        <p:sp>
          <p:nvSpPr>
            <p:cNvPr id="84" name="Google Shape;84;p7"/>
            <p:cNvSpPr/>
            <p:nvPr/>
          </p:nvSpPr>
          <p:spPr>
            <a:xfrm flipH="1">
              <a:off x="1894634"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7"/>
            <p:cNvSpPr/>
            <p:nvPr/>
          </p:nvSpPr>
          <p:spPr>
            <a:xfrm flipH="1">
              <a:off x="1511923" y="0"/>
              <a:ext cx="2103600" cy="5143500"/>
            </a:xfrm>
            <a:prstGeom prst="parallelogram">
              <a:avLst>
                <a:gd name="adj" fmla="val 46349"/>
              </a:avLst>
            </a:prstGeom>
            <a:gradFill>
              <a:gsLst>
                <a:gs pos="0">
                  <a:schemeClr val="lt1"/>
                </a:gs>
                <a:gs pos="47000">
                  <a:schemeClr val="lt2"/>
                </a:gs>
                <a:gs pos="100000">
                  <a:schemeClr val="lt2"/>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6" name="Google Shape;86;p7"/>
          <p:cNvGrpSpPr/>
          <p:nvPr/>
        </p:nvGrpSpPr>
        <p:grpSpPr>
          <a:xfrm>
            <a:off x="376173" y="0"/>
            <a:ext cx="2326044" cy="5143500"/>
            <a:chOff x="1060873" y="0"/>
            <a:chExt cx="2326044" cy="5143500"/>
          </a:xfrm>
        </p:grpSpPr>
        <p:sp>
          <p:nvSpPr>
            <p:cNvPr id="87" name="Google Shape;87;p7"/>
            <p:cNvSpPr/>
            <p:nvPr/>
          </p:nvSpPr>
          <p:spPr>
            <a:xfrm>
              <a:off x="1283317" y="0"/>
              <a:ext cx="2103600" cy="5143500"/>
            </a:xfrm>
            <a:prstGeom prst="parallelogram">
              <a:avLst>
                <a:gd name="adj" fmla="val 75274"/>
              </a:avLst>
            </a:prstGeom>
            <a:gradFill>
              <a:gsLst>
                <a:gs pos="0">
                  <a:schemeClr val="dk1"/>
                </a:gs>
                <a:gs pos="13000">
                  <a:schemeClr val="dk1"/>
                </a:gs>
                <a:gs pos="56000">
                  <a:srgbClr val="27252C">
                    <a:alpha val="0"/>
                  </a:srgbClr>
                </a:gs>
                <a:gs pos="100000">
                  <a:srgbClr val="27252C">
                    <a:alpha val="0"/>
                  </a:srgbClr>
                </a:gs>
              </a:gsLst>
              <a:lin ang="108014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7"/>
            <p:cNvSpPr/>
            <p:nvPr/>
          </p:nvSpPr>
          <p:spPr>
            <a:xfrm>
              <a:off x="1060873" y="0"/>
              <a:ext cx="2103600" cy="5143500"/>
            </a:xfrm>
            <a:prstGeom prst="parallelogram">
              <a:avLst>
                <a:gd name="adj" fmla="val 46349"/>
              </a:avLst>
            </a:prstGeom>
            <a:gradFill>
              <a:gsLst>
                <a:gs pos="0">
                  <a:schemeClr val="lt1"/>
                </a:gs>
                <a:gs pos="47000">
                  <a:schemeClr val="lt2"/>
                </a:gs>
                <a:gs pos="100000">
                  <a:schemeClr val="lt2"/>
                </a:gs>
              </a:gsLst>
              <a:lin ang="5400012" scaled="0"/>
            </a:gradFill>
            <a:ln>
              <a:noFill/>
            </a:ln>
            <a:effectLst>
              <a:outerShdw blurRad="214313" algn="bl" rotWithShape="0">
                <a:srgbClr val="000000">
                  <a:alpha val="2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9" name="Google Shape;89;p7"/>
          <p:cNvGrpSpPr/>
          <p:nvPr/>
        </p:nvGrpSpPr>
        <p:grpSpPr>
          <a:xfrm>
            <a:off x="0" y="0"/>
            <a:ext cx="2305717" cy="5144925"/>
            <a:chOff x="456100" y="0"/>
            <a:chExt cx="2305717" cy="5144925"/>
          </a:xfrm>
        </p:grpSpPr>
        <p:sp>
          <p:nvSpPr>
            <p:cNvPr id="90" name="Google Shape;90;p7"/>
            <p:cNvSpPr/>
            <p:nvPr/>
          </p:nvSpPr>
          <p:spPr>
            <a:xfrm flipH="1">
              <a:off x="658217" y="0"/>
              <a:ext cx="2103600" cy="5143500"/>
            </a:xfrm>
            <a:prstGeom prst="parallelogram">
              <a:avLst>
                <a:gd name="adj" fmla="val 75274"/>
              </a:avLst>
            </a:prstGeom>
            <a:gradFill>
              <a:gsLst>
                <a:gs pos="0">
                  <a:schemeClr val="dk1"/>
                </a:gs>
                <a:gs pos="13000">
                  <a:schemeClr val="dk1"/>
                </a:gs>
                <a:gs pos="55000">
                  <a:srgbClr val="27252C">
                    <a:alpha val="0"/>
                  </a:srgbClr>
                </a:gs>
                <a:gs pos="100000">
                  <a:srgbClr val="27252C">
                    <a:alpha val="0"/>
                  </a:srgbClr>
                </a:gs>
              </a:gsLst>
              <a:lin ang="11759844"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456100" y="0"/>
              <a:ext cx="2035600" cy="5144925"/>
            </a:xfrm>
            <a:custGeom>
              <a:avLst/>
              <a:gdLst/>
              <a:ahLst/>
              <a:cxnLst/>
              <a:rect l="l" t="t" r="r" b="b"/>
              <a:pathLst>
                <a:path w="81424" h="205797" extrusionOk="0">
                  <a:moveTo>
                    <a:pt x="72" y="0"/>
                  </a:moveTo>
                  <a:lnTo>
                    <a:pt x="0" y="205797"/>
                  </a:lnTo>
                  <a:lnTo>
                    <a:pt x="81424" y="205794"/>
                  </a:lnTo>
                  <a:lnTo>
                    <a:pt x="41929" y="0"/>
                  </a:lnTo>
                  <a:close/>
                </a:path>
              </a:pathLst>
            </a:custGeom>
            <a:solidFill>
              <a:srgbClr val="041E70"/>
            </a:solidFill>
            <a:ln>
              <a:noFill/>
            </a:ln>
            <a:effectLst>
              <a:outerShdw blurRad="314325" algn="bl" rotWithShape="0">
                <a:schemeClr val="dk1">
                  <a:alpha val="50000"/>
                </a:schemeClr>
              </a:outerShdw>
            </a:effectLst>
          </p:spPr>
        </p:sp>
      </p:grpSp>
      <p:grpSp>
        <p:nvGrpSpPr>
          <p:cNvPr id="92" name="Google Shape;92;p7"/>
          <p:cNvGrpSpPr/>
          <p:nvPr/>
        </p:nvGrpSpPr>
        <p:grpSpPr>
          <a:xfrm rot="10800000">
            <a:off x="7011558" y="-1775"/>
            <a:ext cx="213244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93"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95" name="Google Shape;95;p7"/>
          <p:cNvSpPr txBox="1">
            <a:spLocks noGrp="1"/>
          </p:cNvSpPr>
          <p:nvPr>
            <p:ph type="title"/>
          </p:nvPr>
        </p:nvSpPr>
        <p:spPr>
          <a:xfrm>
            <a:off x="2976900" y="836000"/>
            <a:ext cx="5464200" cy="396300"/>
          </a:xfrm>
          <a:prstGeom prst="rect">
            <a:avLst/>
          </a:prstGeom>
        </p:spPr>
        <p:txBody>
          <a:bodyPr spcFirstLastPara="1" wrap="square" lIns="0" tIns="0" rIns="0" bIns="0" anchor="b"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6" name="Google Shape;96;p7"/>
          <p:cNvSpPr txBox="1">
            <a:spLocks noGrp="1"/>
          </p:cNvSpPr>
          <p:nvPr>
            <p:ph type="body" idx="1"/>
          </p:nvPr>
        </p:nvSpPr>
        <p:spPr>
          <a:xfrm>
            <a:off x="2976900"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
        <p:nvSpPr>
          <p:cNvPr id="97" name="Google Shape;97;p7"/>
          <p:cNvSpPr txBox="1">
            <a:spLocks noGrp="1"/>
          </p:cNvSpPr>
          <p:nvPr>
            <p:ph type="body" idx="2"/>
          </p:nvPr>
        </p:nvSpPr>
        <p:spPr>
          <a:xfrm>
            <a:off x="5888031" y="1506350"/>
            <a:ext cx="2553000" cy="2931000"/>
          </a:xfrm>
          <a:prstGeom prst="rect">
            <a:avLst/>
          </a:prstGeom>
        </p:spPr>
        <p:txBody>
          <a:bodyPr spcFirstLastPara="1" wrap="square" lIns="0" tIns="0" rIns="0" bIns="0" anchor="t" anchorCtr="0">
            <a:noAutofit/>
          </a:bodyPr>
          <a:lstStyle>
            <a:lvl1pPr marL="457200" lvl="0" indent="-355600" rtl="0">
              <a:spcBef>
                <a:spcPts val="0"/>
              </a:spcBef>
              <a:spcAft>
                <a:spcPts val="0"/>
              </a:spcAft>
              <a:buSzPts val="2000"/>
              <a:buChar char="▸"/>
              <a:defRPr sz="2000"/>
            </a:lvl1pPr>
            <a:lvl2pPr marL="914400" lvl="1" indent="-355600" rtl="0">
              <a:spcBef>
                <a:spcPts val="600"/>
              </a:spcBef>
              <a:spcAft>
                <a:spcPts val="0"/>
              </a:spcAft>
              <a:buSzPts val="2000"/>
              <a:buChar char="▹"/>
              <a:defRPr sz="2000"/>
            </a:lvl2pPr>
            <a:lvl3pPr marL="1371600" lvl="2" indent="-355600" rtl="0">
              <a:spcBef>
                <a:spcPts val="600"/>
              </a:spcBef>
              <a:spcAft>
                <a:spcPts val="0"/>
              </a:spcAft>
              <a:buSzPts val="2000"/>
              <a:buChar char="■"/>
              <a:defRPr sz="2000"/>
            </a:lvl3pPr>
            <a:lvl4pPr marL="1828800" lvl="3" indent="-355600" rtl="0">
              <a:spcBef>
                <a:spcPts val="600"/>
              </a:spcBef>
              <a:spcAft>
                <a:spcPts val="0"/>
              </a:spcAft>
              <a:buSzPts val="2000"/>
              <a:buChar char="●"/>
              <a:defRPr sz="2000"/>
            </a:lvl4pPr>
            <a:lvl5pPr marL="2286000" lvl="4" indent="-355600" rtl="0">
              <a:spcBef>
                <a:spcPts val="600"/>
              </a:spcBef>
              <a:spcAft>
                <a:spcPts val="0"/>
              </a:spcAft>
              <a:buSzPts val="2000"/>
              <a:buChar char="○"/>
              <a:defRPr sz="2000"/>
            </a:lvl5pPr>
            <a:lvl6pPr marL="2743200" lvl="5" indent="-355600" rtl="0">
              <a:spcBef>
                <a:spcPts val="600"/>
              </a:spcBef>
              <a:spcAft>
                <a:spcPts val="0"/>
              </a:spcAft>
              <a:buSzPts val="2000"/>
              <a:buChar char="■"/>
              <a:defRPr sz="2000"/>
            </a:lvl6pPr>
            <a:lvl7pPr marL="3200400" lvl="6" indent="-355600" rtl="0">
              <a:spcBef>
                <a:spcPts val="600"/>
              </a:spcBef>
              <a:spcAft>
                <a:spcPts val="0"/>
              </a:spcAft>
              <a:buSzPts val="2000"/>
              <a:buChar char="●"/>
              <a:defRPr sz="2000"/>
            </a:lvl7pPr>
            <a:lvl8pPr marL="3657600" lvl="7" indent="-355600" rtl="0">
              <a:spcBef>
                <a:spcPts val="600"/>
              </a:spcBef>
              <a:spcAft>
                <a:spcPts val="0"/>
              </a:spcAft>
              <a:buSzPts val="2000"/>
              <a:buChar char="○"/>
              <a:defRPr sz="2000"/>
            </a:lvl8pPr>
            <a:lvl9pPr marL="4114800" lvl="8" indent="-355600" rtl="0">
              <a:spcBef>
                <a:spcPts val="600"/>
              </a:spcBef>
              <a:spcAft>
                <a:spcPts val="600"/>
              </a:spcAft>
              <a:buSzPts val="2000"/>
              <a:buChar char="■"/>
              <a:defRPr sz="2000"/>
            </a:lvl9pPr>
          </a:lstStyle>
          <a:p>
            <a:endParaRPr/>
          </a:p>
        </p:txBody>
      </p:sp>
    </p:spTree>
    <p:extLst>
      <p:ext uri="{BB962C8B-B14F-4D97-AF65-F5344CB8AC3E}">
        <p14:creationId xmlns:p14="http://schemas.microsoft.com/office/powerpoint/2010/main" val="2614442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heme" Target="../theme/theme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gradFill>
          <a:gsLst>
            <a:gs pos="0">
              <a:schemeClr val="lt1"/>
            </a:gs>
            <a:gs pos="50000">
              <a:schemeClr val="lt1"/>
            </a:gs>
            <a:gs pos="76000">
              <a:schemeClr val="lt2"/>
            </a:gs>
            <a:gs pos="100000">
              <a:schemeClr val="lt2"/>
            </a:gs>
          </a:gsLst>
          <a:lin ang="10800025"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2976900" y="836000"/>
            <a:ext cx="54642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1pPr>
            <a:lvl2pPr lvl="1"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2pPr>
            <a:lvl3pPr lvl="2"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3pPr>
            <a:lvl4pPr lvl="3"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4pPr>
            <a:lvl5pPr lvl="4"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5pPr>
            <a:lvl6pPr lvl="5"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6pPr>
            <a:lvl7pPr lvl="6"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7pPr>
            <a:lvl8pPr lvl="7"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8pPr>
            <a:lvl9pPr lvl="8"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9pPr>
          </a:lstStyle>
          <a:p>
            <a:endParaRPr/>
          </a:p>
        </p:txBody>
      </p:sp>
      <p:sp>
        <p:nvSpPr>
          <p:cNvPr id="7" name="Google Shape;7;p1"/>
          <p:cNvSpPr txBox="1">
            <a:spLocks noGrp="1"/>
          </p:cNvSpPr>
          <p:nvPr>
            <p:ph type="body" idx="1"/>
          </p:nvPr>
        </p:nvSpPr>
        <p:spPr>
          <a:xfrm>
            <a:off x="2976900" y="1506350"/>
            <a:ext cx="5464200" cy="2858700"/>
          </a:xfrm>
          <a:prstGeom prst="rect">
            <a:avLst/>
          </a:prstGeom>
          <a:noFill/>
          <a:ln>
            <a:noFill/>
          </a:ln>
        </p:spPr>
        <p:txBody>
          <a:bodyPr spcFirstLastPara="1" wrap="square" lIns="0" tIns="0" rIns="0" bIns="0" anchor="t" anchorCtr="0">
            <a:noAutofit/>
          </a:bodyPr>
          <a:lstStyle>
            <a:lvl1pPr marL="457200" lvl="0" indent="-381000" rtl="0">
              <a:spcBef>
                <a:spcPts val="0"/>
              </a:spcBef>
              <a:spcAft>
                <a:spcPts val="0"/>
              </a:spcAft>
              <a:buClr>
                <a:schemeClr val="accent1"/>
              </a:buClr>
              <a:buSzPts val="2400"/>
              <a:buFont typeface="IBM Plex Sans"/>
              <a:buChar char="▸"/>
              <a:defRPr sz="2400">
                <a:solidFill>
                  <a:schemeClr val="dk1"/>
                </a:solidFill>
                <a:latin typeface="IBM Plex Sans"/>
                <a:ea typeface="IBM Plex Sans"/>
                <a:cs typeface="IBM Plex Sans"/>
                <a:sym typeface="IBM Plex Sans"/>
              </a:defRPr>
            </a:lvl1pPr>
            <a:lvl2pPr marL="914400" lvl="1" indent="-381000" rtl="0">
              <a:spcBef>
                <a:spcPts val="600"/>
              </a:spcBef>
              <a:spcAft>
                <a:spcPts val="0"/>
              </a:spcAft>
              <a:buClr>
                <a:schemeClr val="accent1"/>
              </a:buClr>
              <a:buSzPts val="2400"/>
              <a:buFont typeface="IBM Plex Sans"/>
              <a:buChar char="▹"/>
              <a:defRPr sz="2400">
                <a:solidFill>
                  <a:schemeClr val="dk1"/>
                </a:solidFill>
                <a:latin typeface="IBM Plex Sans"/>
                <a:ea typeface="IBM Plex Sans"/>
                <a:cs typeface="IBM Plex Sans"/>
                <a:sym typeface="IBM Plex Sans"/>
              </a:defRPr>
            </a:lvl2pPr>
            <a:lvl3pPr marL="1371600" lvl="2"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3pPr>
            <a:lvl4pPr marL="1828800" lvl="3"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4pPr>
            <a:lvl5pPr marL="2286000" lvl="4"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5pPr>
            <a:lvl6pPr marL="2743200" lvl="5"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6pPr>
            <a:lvl7pPr marL="3200400" lvl="6"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7pPr>
            <a:lvl8pPr marL="3657600" lvl="7"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8pPr>
            <a:lvl9pPr marL="4114800" lvl="8" indent="-381000" rtl="0">
              <a:spcBef>
                <a:spcPts val="600"/>
              </a:spcBef>
              <a:spcAft>
                <a:spcPts val="600"/>
              </a:spcAft>
              <a:buClr>
                <a:schemeClr val="lt2"/>
              </a:buClr>
              <a:buSzPts val="2400"/>
              <a:buFont typeface="IBM Plex Sans"/>
              <a:buChar char="■"/>
              <a:defRPr sz="2400">
                <a:solidFill>
                  <a:schemeClr val="dk1"/>
                </a:solidFill>
                <a:latin typeface="IBM Plex Sans"/>
                <a:ea typeface="IBM Plex Sans"/>
                <a:cs typeface="IBM Plex Sans"/>
                <a:sym typeface="IBM Plex Sans"/>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63" r:id="rId2"/>
    <p:sldLayoutId id="2147483665" r:id="rId3"/>
    <p:sldLayoutId id="2147483664" r:id="rId4"/>
    <p:sldLayoutId id="2147483650" r:id="rId5"/>
    <p:sldLayoutId id="2147483651" r:id="rId6"/>
    <p:sldLayoutId id="2147483652" r:id="rId7"/>
    <p:sldLayoutId id="2147483653" r:id="rId8"/>
    <p:sldLayoutId id="2147483661" r:id="rId9"/>
    <p:sldLayoutId id="2147483666" r:id="rId10"/>
    <p:sldLayoutId id="2147483683" r:id="rId11"/>
    <p:sldLayoutId id="2147483675" r:id="rId12"/>
    <p:sldLayoutId id="2147483669" r:id="rId13"/>
    <p:sldLayoutId id="2147483654" r:id="rId14"/>
    <p:sldLayoutId id="2147483655" r:id="rId15"/>
    <p:sldLayoutId id="2147483656" r:id="rId16"/>
    <p:sldLayoutId id="2147483657" r:id="rId17"/>
    <p:sldLayoutId id="2147483658" r:id="rId18"/>
    <p:sldLayoutId id="2147483662" r:id="rId19"/>
    <p:sldLayoutId id="2147483678" r:id="rId20"/>
    <p:sldLayoutId id="2147483676" r:id="rId21"/>
    <p:sldLayoutId id="2147483659" r:id="rId22"/>
    <p:sldLayoutId id="2147483668" r:id="rId23"/>
    <p:sldLayoutId id="2147483674" r:id="rId24"/>
    <p:sldLayoutId id="2147483685" r:id="rId25"/>
    <p:sldLayoutId id="2147483671" r:id="rId26"/>
    <p:sldLayoutId id="2147483677" r:id="rId27"/>
    <p:sldLayoutId id="2147483672" r:id="rId28"/>
    <p:sldLayoutId id="2147483682" r:id="rId29"/>
    <p:sldLayoutId id="2147483684" r:id="rId3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0">
              <a:schemeClr val="lt1"/>
            </a:gs>
            <a:gs pos="50000">
              <a:schemeClr val="lt1"/>
            </a:gs>
            <a:gs pos="76000">
              <a:schemeClr val="lt2"/>
            </a:gs>
            <a:gs pos="100000">
              <a:schemeClr val="lt2"/>
            </a:gs>
          </a:gsLst>
          <a:lin ang="10800025" scaled="0"/>
        </a:gra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2976900" y="836000"/>
            <a:ext cx="5464200" cy="396300"/>
          </a:xfrm>
          <a:prstGeom prst="rect">
            <a:avLst/>
          </a:prstGeom>
          <a:noFill/>
          <a:ln>
            <a:noFill/>
          </a:ln>
        </p:spPr>
        <p:txBody>
          <a:bodyPr spcFirstLastPara="1" wrap="square" lIns="0" tIns="0" rIns="0" bIns="0" anchor="b" anchorCtr="0">
            <a:noAutofit/>
          </a:bodyPr>
          <a:lstStyle>
            <a:lvl1pPr lvl="0"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1pPr>
            <a:lvl2pPr lvl="1"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2pPr>
            <a:lvl3pPr lvl="2"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3pPr>
            <a:lvl4pPr lvl="3"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4pPr>
            <a:lvl5pPr lvl="4"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5pPr>
            <a:lvl6pPr lvl="5"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6pPr>
            <a:lvl7pPr lvl="6"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7pPr>
            <a:lvl8pPr lvl="7"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8pPr>
            <a:lvl9pPr lvl="8" rtl="0">
              <a:lnSpc>
                <a:spcPct val="90000"/>
              </a:lnSpc>
              <a:spcBef>
                <a:spcPts val="0"/>
              </a:spcBef>
              <a:spcAft>
                <a:spcPts val="0"/>
              </a:spcAft>
              <a:buClr>
                <a:schemeClr val="dk1"/>
              </a:buClr>
              <a:buSzPts val="2800"/>
              <a:buFont typeface="IBM Plex Serif"/>
              <a:buNone/>
              <a:defRPr sz="2800" b="1">
                <a:solidFill>
                  <a:schemeClr val="dk1"/>
                </a:solidFill>
                <a:latin typeface="IBM Plex Serif"/>
                <a:ea typeface="IBM Plex Serif"/>
                <a:cs typeface="IBM Plex Serif"/>
                <a:sym typeface="IBM Plex Serif"/>
              </a:defRPr>
            </a:lvl9pPr>
          </a:lstStyle>
          <a:p>
            <a:endParaRPr/>
          </a:p>
        </p:txBody>
      </p:sp>
      <p:sp>
        <p:nvSpPr>
          <p:cNvPr id="7" name="Google Shape;7;p1"/>
          <p:cNvSpPr txBox="1">
            <a:spLocks noGrp="1"/>
          </p:cNvSpPr>
          <p:nvPr>
            <p:ph type="body" idx="1"/>
          </p:nvPr>
        </p:nvSpPr>
        <p:spPr>
          <a:xfrm>
            <a:off x="2976900" y="1506350"/>
            <a:ext cx="5464200" cy="2858700"/>
          </a:xfrm>
          <a:prstGeom prst="rect">
            <a:avLst/>
          </a:prstGeom>
          <a:noFill/>
          <a:ln>
            <a:noFill/>
          </a:ln>
        </p:spPr>
        <p:txBody>
          <a:bodyPr spcFirstLastPara="1" wrap="square" lIns="0" tIns="0" rIns="0" bIns="0" anchor="t" anchorCtr="0">
            <a:noAutofit/>
          </a:bodyPr>
          <a:lstStyle>
            <a:lvl1pPr marL="457200" lvl="0" indent="-381000" rtl="0">
              <a:spcBef>
                <a:spcPts val="0"/>
              </a:spcBef>
              <a:spcAft>
                <a:spcPts val="0"/>
              </a:spcAft>
              <a:buClr>
                <a:schemeClr val="accent1"/>
              </a:buClr>
              <a:buSzPts val="2400"/>
              <a:buFont typeface="IBM Plex Sans"/>
              <a:buChar char="▸"/>
              <a:defRPr sz="2400">
                <a:solidFill>
                  <a:schemeClr val="dk1"/>
                </a:solidFill>
                <a:latin typeface="IBM Plex Sans"/>
                <a:ea typeface="IBM Plex Sans"/>
                <a:cs typeface="IBM Plex Sans"/>
                <a:sym typeface="IBM Plex Sans"/>
              </a:defRPr>
            </a:lvl1pPr>
            <a:lvl2pPr marL="914400" lvl="1" indent="-381000" rtl="0">
              <a:spcBef>
                <a:spcPts val="600"/>
              </a:spcBef>
              <a:spcAft>
                <a:spcPts val="0"/>
              </a:spcAft>
              <a:buClr>
                <a:schemeClr val="accent1"/>
              </a:buClr>
              <a:buSzPts val="2400"/>
              <a:buFont typeface="IBM Plex Sans"/>
              <a:buChar char="▹"/>
              <a:defRPr sz="2400">
                <a:solidFill>
                  <a:schemeClr val="dk1"/>
                </a:solidFill>
                <a:latin typeface="IBM Plex Sans"/>
                <a:ea typeface="IBM Plex Sans"/>
                <a:cs typeface="IBM Plex Sans"/>
                <a:sym typeface="IBM Plex Sans"/>
              </a:defRPr>
            </a:lvl2pPr>
            <a:lvl3pPr marL="1371600" lvl="2"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3pPr>
            <a:lvl4pPr marL="1828800" lvl="3"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4pPr>
            <a:lvl5pPr marL="2286000" lvl="4"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5pPr>
            <a:lvl6pPr marL="2743200" lvl="5"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6pPr>
            <a:lvl7pPr marL="3200400" lvl="6"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7pPr>
            <a:lvl8pPr marL="3657600" lvl="7" indent="-381000" rtl="0">
              <a:spcBef>
                <a:spcPts val="600"/>
              </a:spcBef>
              <a:spcAft>
                <a:spcPts val="0"/>
              </a:spcAft>
              <a:buClr>
                <a:schemeClr val="lt2"/>
              </a:buClr>
              <a:buSzPts val="2400"/>
              <a:buFont typeface="IBM Plex Sans"/>
              <a:buChar char="○"/>
              <a:defRPr sz="2400">
                <a:solidFill>
                  <a:schemeClr val="dk1"/>
                </a:solidFill>
                <a:latin typeface="IBM Plex Sans"/>
                <a:ea typeface="IBM Plex Sans"/>
                <a:cs typeface="IBM Plex Sans"/>
                <a:sym typeface="IBM Plex Sans"/>
              </a:defRPr>
            </a:lvl8pPr>
            <a:lvl9pPr marL="4114800" lvl="8" indent="-381000" rtl="0">
              <a:spcBef>
                <a:spcPts val="600"/>
              </a:spcBef>
              <a:spcAft>
                <a:spcPts val="600"/>
              </a:spcAft>
              <a:buClr>
                <a:schemeClr val="lt2"/>
              </a:buClr>
              <a:buSzPts val="2400"/>
              <a:buFont typeface="IBM Plex Sans"/>
              <a:buChar char="■"/>
              <a:defRPr sz="2400">
                <a:solidFill>
                  <a:schemeClr val="dk1"/>
                </a:solidFill>
                <a:latin typeface="IBM Plex Sans"/>
                <a:ea typeface="IBM Plex Sans"/>
                <a:cs typeface="IBM Plex Sans"/>
                <a:sym typeface="IBM Plex Sans"/>
              </a:defRPr>
            </a:lvl9pPr>
          </a:lstStyle>
          <a:p>
            <a:endParaRPr/>
          </a:p>
        </p:txBody>
      </p:sp>
    </p:spTree>
    <p:extLst>
      <p:ext uri="{BB962C8B-B14F-4D97-AF65-F5344CB8AC3E}">
        <p14:creationId xmlns:p14="http://schemas.microsoft.com/office/powerpoint/2010/main" val="2250659034"/>
      </p:ext>
    </p:extLst>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png"/><Relationship Id="rId7"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1.png"/><Relationship Id="rId3" Type="http://schemas.openxmlformats.org/officeDocument/2006/relationships/image" Target="../media/image17.jp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9.xml"/><Relationship Id="rId6" Type="http://schemas.openxmlformats.org/officeDocument/2006/relationships/image" Target="../media/image20.jpeg"/><Relationship Id="rId11" Type="http://schemas.openxmlformats.org/officeDocument/2006/relationships/image" Target="../media/image25.jpg"/><Relationship Id="rId5" Type="http://schemas.openxmlformats.org/officeDocument/2006/relationships/image" Target="../media/image19.jpeg"/><Relationship Id="rId10" Type="http://schemas.openxmlformats.org/officeDocument/2006/relationships/image" Target="../media/image24.jpeg"/><Relationship Id="rId4" Type="http://schemas.openxmlformats.org/officeDocument/2006/relationships/image" Target="../media/image18.jpeg"/><Relationship Id="rId9"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24.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6.jpg"/><Relationship Id="rId5" Type="http://schemas.openxmlformats.org/officeDocument/2006/relationships/image" Target="../media/image1.pn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55.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32.png"/><Relationship Id="rId5" Type="http://schemas.microsoft.com/office/2007/relationships/hdphoto" Target="../media/hdphoto1.wdp"/><Relationship Id="rId4" Type="http://schemas.openxmlformats.org/officeDocument/2006/relationships/image" Target="../media/image31.png"/><Relationship Id="rId9"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8.xml"/><Relationship Id="rId1" Type="http://schemas.openxmlformats.org/officeDocument/2006/relationships/slideLayout" Target="../slideLayouts/slideLayout24.xml"/><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9.xml"/><Relationship Id="rId1" Type="http://schemas.openxmlformats.org/officeDocument/2006/relationships/slideLayout" Target="../slideLayouts/slideLayout11.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3" Type="http://schemas.openxmlformats.org/officeDocument/2006/relationships/image" Target="../media/image44.png"/><Relationship Id="rId18" Type="http://schemas.openxmlformats.org/officeDocument/2006/relationships/image" Target="../media/image49.png"/><Relationship Id="rId26" Type="http://schemas.openxmlformats.org/officeDocument/2006/relationships/image" Target="../media/image57.png"/><Relationship Id="rId39" Type="http://schemas.openxmlformats.org/officeDocument/2006/relationships/image" Target="../media/image70.png"/><Relationship Id="rId21" Type="http://schemas.openxmlformats.org/officeDocument/2006/relationships/image" Target="../media/image52.png"/><Relationship Id="rId34" Type="http://schemas.openxmlformats.org/officeDocument/2006/relationships/image" Target="../media/image65.png"/><Relationship Id="rId42" Type="http://schemas.openxmlformats.org/officeDocument/2006/relationships/image" Target="../media/image73.png"/><Relationship Id="rId47" Type="http://schemas.openxmlformats.org/officeDocument/2006/relationships/image" Target="../media/image78.png"/><Relationship Id="rId50" Type="http://schemas.openxmlformats.org/officeDocument/2006/relationships/image" Target="../media/image81.png"/><Relationship Id="rId7" Type="http://schemas.openxmlformats.org/officeDocument/2006/relationships/image" Target="../media/image38.png"/><Relationship Id="rId2" Type="http://schemas.openxmlformats.org/officeDocument/2006/relationships/notesSlide" Target="../notesSlides/notesSlide30.xml"/><Relationship Id="rId16" Type="http://schemas.openxmlformats.org/officeDocument/2006/relationships/image" Target="../media/image47.png"/><Relationship Id="rId29" Type="http://schemas.openxmlformats.org/officeDocument/2006/relationships/image" Target="../media/image60.png"/><Relationship Id="rId11" Type="http://schemas.openxmlformats.org/officeDocument/2006/relationships/image" Target="../media/image42.png"/><Relationship Id="rId24" Type="http://schemas.openxmlformats.org/officeDocument/2006/relationships/image" Target="../media/image55.png"/><Relationship Id="rId32" Type="http://schemas.openxmlformats.org/officeDocument/2006/relationships/image" Target="../media/image63.png"/><Relationship Id="rId37" Type="http://schemas.openxmlformats.org/officeDocument/2006/relationships/image" Target="../media/image68.png"/><Relationship Id="rId40" Type="http://schemas.openxmlformats.org/officeDocument/2006/relationships/image" Target="../media/image71.png"/><Relationship Id="rId45" Type="http://schemas.openxmlformats.org/officeDocument/2006/relationships/image" Target="../media/image76.png"/><Relationship Id="rId53" Type="http://schemas.openxmlformats.org/officeDocument/2006/relationships/image" Target="../media/image84.png"/><Relationship Id="rId5" Type="http://schemas.openxmlformats.org/officeDocument/2006/relationships/image" Target="../media/image36.png"/><Relationship Id="rId10" Type="http://schemas.openxmlformats.org/officeDocument/2006/relationships/image" Target="../media/image41.png"/><Relationship Id="rId19" Type="http://schemas.openxmlformats.org/officeDocument/2006/relationships/image" Target="../media/image50.png"/><Relationship Id="rId31" Type="http://schemas.openxmlformats.org/officeDocument/2006/relationships/image" Target="../media/image62.png"/><Relationship Id="rId44" Type="http://schemas.openxmlformats.org/officeDocument/2006/relationships/image" Target="../media/image75.png"/><Relationship Id="rId52" Type="http://schemas.openxmlformats.org/officeDocument/2006/relationships/image" Target="../media/image83.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png"/><Relationship Id="rId30" Type="http://schemas.openxmlformats.org/officeDocument/2006/relationships/image" Target="../media/image61.png"/><Relationship Id="rId35" Type="http://schemas.openxmlformats.org/officeDocument/2006/relationships/image" Target="../media/image66.png"/><Relationship Id="rId43" Type="http://schemas.openxmlformats.org/officeDocument/2006/relationships/image" Target="../media/image74.png"/><Relationship Id="rId48" Type="http://schemas.openxmlformats.org/officeDocument/2006/relationships/image" Target="../media/image79.png"/><Relationship Id="rId8" Type="http://schemas.openxmlformats.org/officeDocument/2006/relationships/image" Target="../media/image39.png"/><Relationship Id="rId51" Type="http://schemas.openxmlformats.org/officeDocument/2006/relationships/image" Target="../media/image82.png"/><Relationship Id="rId3" Type="http://schemas.openxmlformats.org/officeDocument/2006/relationships/image" Target="../media/image1.pn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56.png"/><Relationship Id="rId33" Type="http://schemas.openxmlformats.org/officeDocument/2006/relationships/image" Target="../media/image64.png"/><Relationship Id="rId38" Type="http://schemas.openxmlformats.org/officeDocument/2006/relationships/image" Target="../media/image69.png"/><Relationship Id="rId46" Type="http://schemas.openxmlformats.org/officeDocument/2006/relationships/image" Target="../media/image77.png"/><Relationship Id="rId20" Type="http://schemas.openxmlformats.org/officeDocument/2006/relationships/image" Target="../media/image51.png"/><Relationship Id="rId41" Type="http://schemas.openxmlformats.org/officeDocument/2006/relationships/image" Target="../media/image72.png"/><Relationship Id="rId1" Type="http://schemas.openxmlformats.org/officeDocument/2006/relationships/slideLayout" Target="../slideLayouts/slideLayout6.xml"/><Relationship Id="rId6" Type="http://schemas.openxmlformats.org/officeDocument/2006/relationships/image" Target="../media/image37.png"/><Relationship Id="rId15" Type="http://schemas.openxmlformats.org/officeDocument/2006/relationships/image" Target="../media/image46.png"/><Relationship Id="rId23" Type="http://schemas.openxmlformats.org/officeDocument/2006/relationships/image" Target="../media/image54.png"/><Relationship Id="rId28" Type="http://schemas.openxmlformats.org/officeDocument/2006/relationships/image" Target="../media/image59.png"/><Relationship Id="rId36" Type="http://schemas.openxmlformats.org/officeDocument/2006/relationships/image" Target="../media/image67.png"/><Relationship Id="rId49" Type="http://schemas.openxmlformats.org/officeDocument/2006/relationships/image" Target="../media/image80.png"/></Relationships>
</file>

<file path=ppt/slides/_rels/slide31.xml.rels><?xml version="1.0" encoding="UTF-8" standalone="yes"?>
<Relationships xmlns="http://schemas.openxmlformats.org/package/2006/relationships"><Relationship Id="rId13" Type="http://schemas.openxmlformats.org/officeDocument/2006/relationships/image" Target="../media/image93.jpeg"/><Relationship Id="rId18" Type="http://schemas.openxmlformats.org/officeDocument/2006/relationships/image" Target="../media/image98.png"/><Relationship Id="rId26" Type="http://schemas.openxmlformats.org/officeDocument/2006/relationships/image" Target="../media/image37.png"/><Relationship Id="rId3" Type="http://schemas.openxmlformats.org/officeDocument/2006/relationships/notesSlide" Target="../notesSlides/notesSlide31.xml"/><Relationship Id="rId21" Type="http://schemas.openxmlformats.org/officeDocument/2006/relationships/image" Target="../media/image101.jpe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png"/><Relationship Id="rId25" Type="http://schemas.openxmlformats.org/officeDocument/2006/relationships/image" Target="../media/image105.png"/><Relationship Id="rId33" Type="http://schemas.openxmlformats.org/officeDocument/2006/relationships/image" Target="../media/image108.jpeg"/><Relationship Id="rId2" Type="http://schemas.openxmlformats.org/officeDocument/2006/relationships/slideLayout" Target="../slideLayouts/slideLayout27.xml"/><Relationship Id="rId16" Type="http://schemas.openxmlformats.org/officeDocument/2006/relationships/image" Target="../media/image96.png"/><Relationship Id="rId20" Type="http://schemas.openxmlformats.org/officeDocument/2006/relationships/image" Target="../media/image100.png"/><Relationship Id="rId29" Type="http://schemas.openxmlformats.org/officeDocument/2006/relationships/image" Target="../media/image55.png"/><Relationship Id="rId1" Type="http://schemas.openxmlformats.org/officeDocument/2006/relationships/tags" Target="../tags/tag42.xml"/><Relationship Id="rId6" Type="http://schemas.openxmlformats.org/officeDocument/2006/relationships/image" Target="../media/image86.jpeg"/><Relationship Id="rId11" Type="http://schemas.openxmlformats.org/officeDocument/2006/relationships/image" Target="../media/image91.png"/><Relationship Id="rId24" Type="http://schemas.openxmlformats.org/officeDocument/2006/relationships/image" Target="../media/image104.gif"/><Relationship Id="rId32" Type="http://schemas.openxmlformats.org/officeDocument/2006/relationships/image" Target="../media/image107.png"/><Relationship Id="rId5" Type="http://schemas.openxmlformats.org/officeDocument/2006/relationships/image" Target="../media/image85.emf"/><Relationship Id="rId15" Type="http://schemas.openxmlformats.org/officeDocument/2006/relationships/image" Target="../media/image95.png"/><Relationship Id="rId23" Type="http://schemas.openxmlformats.org/officeDocument/2006/relationships/image" Target="../media/image103.gif"/><Relationship Id="rId28" Type="http://schemas.openxmlformats.org/officeDocument/2006/relationships/image" Target="../media/image60.png"/><Relationship Id="rId10" Type="http://schemas.openxmlformats.org/officeDocument/2006/relationships/image" Target="../media/image90.jpeg"/><Relationship Id="rId19" Type="http://schemas.openxmlformats.org/officeDocument/2006/relationships/image" Target="../media/image99.png"/><Relationship Id="rId31" Type="http://schemas.openxmlformats.org/officeDocument/2006/relationships/image" Target="../media/image1.png"/><Relationship Id="rId4" Type="http://schemas.openxmlformats.org/officeDocument/2006/relationships/oleObject" Target="../embeddings/oleObject1.bin"/><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102.png"/><Relationship Id="rId27" Type="http://schemas.openxmlformats.org/officeDocument/2006/relationships/image" Target="../media/image48.png"/><Relationship Id="rId30" Type="http://schemas.openxmlformats.org/officeDocument/2006/relationships/image" Target="../media/image106.png"/><Relationship Id="rId8" Type="http://schemas.openxmlformats.org/officeDocument/2006/relationships/image" Target="../media/image88.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1.png"/><Relationship Id="rId5" Type="http://schemas.openxmlformats.org/officeDocument/2006/relationships/image" Target="../media/image111.png"/><Relationship Id="rId4" Type="http://schemas.openxmlformats.org/officeDocument/2006/relationships/image" Target="../media/image110.png"/></Relationships>
</file>

<file path=ppt/slides/_rels/slide35.xml.rels><?xml version="1.0" encoding="UTF-8" standalone="yes"?>
<Relationships xmlns="http://schemas.openxmlformats.org/package/2006/relationships"><Relationship Id="rId3" Type="http://schemas.openxmlformats.org/officeDocument/2006/relationships/hyperlink" Target="https://mneguidelines.oecd.org/ncps/" TargetMode="External"/><Relationship Id="rId2" Type="http://schemas.openxmlformats.org/officeDocument/2006/relationships/notesSlide" Target="../notesSlides/notesSlide33.xml"/><Relationship Id="rId1" Type="http://schemas.openxmlformats.org/officeDocument/2006/relationships/slideLayout" Target="../slideLayouts/slideLayout27.xml"/><Relationship Id="rId5" Type="http://schemas.openxmlformats.org/officeDocument/2006/relationships/image" Target="../media/image1.png"/><Relationship Id="rId4" Type="http://schemas.openxmlformats.org/officeDocument/2006/relationships/image" Target="../media/image112.png"/></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8" Type="http://schemas.openxmlformats.org/officeDocument/2006/relationships/hyperlink" Target="mailto:varsovia.economic@mae.ro" TargetMode="External"/><Relationship Id="rId3" Type="http://schemas.openxmlformats.org/officeDocument/2006/relationships/image" Target="../media/image113.jpg"/><Relationship Id="rId7"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1.png"/><Relationship Id="rId5" Type="http://schemas.openxmlformats.org/officeDocument/2006/relationships/hyperlink" Target="mailto:office@investromania.gov.ro" TargetMode="External"/><Relationship Id="rId4" Type="http://schemas.openxmlformats.org/officeDocument/2006/relationships/hyperlink" Target="https://investromania.gov.ro/web/" TargetMode="External"/><Relationship Id="rId9" Type="http://schemas.openxmlformats.org/officeDocument/2006/relationships/hyperlink" Target="http://varsovia.mae.ro/"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slideLayout" Target="../slideLayouts/slideLayout26.xml"/><Relationship Id="rId47" Type="http://schemas.openxmlformats.org/officeDocument/2006/relationships/image" Target="../media/image9.png"/><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image" Target="../media/image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image" Target="../media/image11.pn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1.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notesSlide" Target="../notesSlides/notesSlide9.xml"/><Relationship Id="rId48" Type="http://schemas.openxmlformats.org/officeDocument/2006/relationships/image" Target="../media/image10.png"/><Relationship Id="rId8" Type="http://schemas.openxmlformats.org/officeDocument/2006/relationships/tags" Target="../tags/tag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image" Target="../media/image8.png"/><Relationship Id="rId20" Type="http://schemas.openxmlformats.org/officeDocument/2006/relationships/tags" Target="../tags/tag20.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1" name="Title 1"/>
          <p:cNvSpPr txBox="1">
            <a:spLocks/>
          </p:cNvSpPr>
          <p:nvPr/>
        </p:nvSpPr>
        <p:spPr>
          <a:xfrm>
            <a:off x="7612912" y="4724399"/>
            <a:ext cx="1367961" cy="326323"/>
          </a:xfrm>
          <a:prstGeom prst="rect">
            <a:avLst/>
          </a:prstGeom>
          <a:noFill/>
          <a:ln>
            <a:noFill/>
          </a:ln>
        </p:spPr>
        <p:txBody>
          <a:bodyPr spcFirstLastPara="1" wrap="square" lIns="0" tIns="0" rIns="0" bIns="0" anchor="b" anchorCtr="0">
            <a:normAutofit fontScale="900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1pPr>
            <a:lvl2pPr marR="0" lvl="1"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2pPr>
            <a:lvl3pPr marR="0" lvl="2"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3pPr>
            <a:lvl4pPr marR="0" lvl="3"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4pPr>
            <a:lvl5pPr marR="0" lvl="4"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5pPr>
            <a:lvl6pPr marR="0" lvl="5"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6pPr>
            <a:lvl7pPr marR="0" lvl="6"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7pPr>
            <a:lvl8pPr marR="0" lvl="7"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8pPr>
            <a:lvl9pPr marR="0" lvl="8" algn="l" rtl="0">
              <a:lnSpc>
                <a:spcPct val="90000"/>
              </a:lnSpc>
              <a:spcBef>
                <a:spcPts val="0"/>
              </a:spcBef>
              <a:spcAft>
                <a:spcPts val="0"/>
              </a:spcAft>
              <a:buClr>
                <a:schemeClr val="dk1"/>
              </a:buClr>
              <a:buSzPts val="2800"/>
              <a:buFont typeface="IBM Plex Serif"/>
              <a:buNone/>
              <a:defRPr sz="2800" b="1" i="0" u="none" strike="noStrike" cap="none">
                <a:solidFill>
                  <a:schemeClr val="dk1"/>
                </a:solidFill>
                <a:latin typeface="IBM Plex Serif"/>
                <a:ea typeface="IBM Plex Serif"/>
                <a:cs typeface="IBM Plex Serif"/>
                <a:sym typeface="IBM Plex Serif"/>
              </a:defRPr>
            </a:lvl9pPr>
          </a:lstStyle>
          <a:p>
            <a:pPr algn="r"/>
            <a:r>
              <a:rPr lang="ro-RO" sz="1600" dirty="0">
                <a:solidFill>
                  <a:srgbClr val="2846A8"/>
                </a:solidFill>
                <a:latin typeface="Cambria" panose="02040503050406030204" pitchFamily="18" charset="0"/>
              </a:rPr>
              <a:t>February</a:t>
            </a:r>
            <a:r>
              <a:rPr lang="en-US" sz="1600" dirty="0">
                <a:solidFill>
                  <a:srgbClr val="2846A8"/>
                </a:solidFill>
                <a:latin typeface="Cambria" panose="02040503050406030204" pitchFamily="18" charset="0"/>
              </a:rPr>
              <a:t> </a:t>
            </a:r>
            <a:r>
              <a:rPr lang="fr-FR" sz="1600" dirty="0">
                <a:solidFill>
                  <a:srgbClr val="2846A8"/>
                </a:solidFill>
                <a:latin typeface="Cambria" panose="02040503050406030204" pitchFamily="18" charset="0"/>
              </a:rPr>
              <a:t>202</a:t>
            </a:r>
            <a:r>
              <a:rPr lang="ro-RO" sz="1600" dirty="0">
                <a:solidFill>
                  <a:srgbClr val="2846A8"/>
                </a:solidFill>
                <a:latin typeface="Cambria" panose="02040503050406030204" pitchFamily="18" charset="0"/>
              </a:rPr>
              <a:t>5</a:t>
            </a:r>
            <a:endParaRPr lang="en-US" sz="1600" dirty="0">
              <a:solidFill>
                <a:srgbClr val="2846A8"/>
              </a:solidFill>
              <a:latin typeface="Cambria" panose="02040503050406030204" pitchFamily="18" charset="0"/>
            </a:endParaRPr>
          </a:p>
        </p:txBody>
      </p:sp>
      <p:sp>
        <p:nvSpPr>
          <p:cNvPr id="10" name="TextBox 9"/>
          <p:cNvSpPr txBox="1"/>
          <p:nvPr/>
        </p:nvSpPr>
        <p:spPr>
          <a:xfrm>
            <a:off x="361950" y="3210201"/>
            <a:ext cx="4791075" cy="1569660"/>
          </a:xfrm>
          <a:prstGeom prst="rect">
            <a:avLst/>
          </a:prstGeom>
          <a:noFill/>
        </p:spPr>
        <p:txBody>
          <a:bodyPr wrap="square" rtlCol="0" anchor="ctr">
            <a:spAutoFit/>
          </a:bodyPr>
          <a:lstStyle/>
          <a:p>
            <a:pPr>
              <a:lnSpc>
                <a:spcPct val="150000"/>
              </a:lnSpc>
            </a:pPr>
            <a:r>
              <a:rPr lang="en-US" sz="3200" b="1" dirty="0">
                <a:solidFill>
                  <a:srgbClr val="03428A"/>
                </a:solidFill>
                <a:latin typeface="Cambria" panose="02040503050406030204" pitchFamily="18" charset="0"/>
                <a:ea typeface="Cambria" panose="02040503050406030204" pitchFamily="18" charset="0"/>
              </a:rPr>
              <a:t>Romania</a:t>
            </a:r>
          </a:p>
          <a:p>
            <a:pPr>
              <a:lnSpc>
                <a:spcPct val="150000"/>
              </a:lnSpc>
            </a:pPr>
            <a:r>
              <a:rPr lang="en-US" sz="3200" b="1" dirty="0">
                <a:solidFill>
                  <a:srgbClr val="03428A"/>
                </a:solidFill>
                <a:latin typeface="Cambria" panose="02040503050406030204" pitchFamily="18" charset="0"/>
                <a:ea typeface="Cambria" panose="02040503050406030204" pitchFamily="18" charset="0"/>
              </a:rPr>
              <a:t>A Strategic Choice</a:t>
            </a:r>
          </a:p>
        </p:txBody>
      </p:sp>
      <p:sp>
        <p:nvSpPr>
          <p:cNvPr id="2" name="Rectangle 1"/>
          <p:cNvSpPr/>
          <p:nvPr/>
        </p:nvSpPr>
        <p:spPr>
          <a:xfrm>
            <a:off x="347062" y="107628"/>
            <a:ext cx="4820850" cy="923330"/>
          </a:xfrm>
          <a:prstGeom prst="rect">
            <a:avLst/>
          </a:prstGeom>
        </p:spPr>
        <p:txBody>
          <a:bodyPr wrap="square">
            <a:spAutoFit/>
          </a:bodyPr>
          <a:lstStyle/>
          <a:p>
            <a:pPr algn="ctr" eaLnBrk="0" hangingPunct="0"/>
            <a:r>
              <a:rPr lang="en-US" altLang="en-US" sz="1800" b="1" dirty="0">
                <a:solidFill>
                  <a:schemeClr val="bg1"/>
                </a:solidFill>
                <a:latin typeface="Cambria" panose="02040503050406030204" pitchFamily="18" charset="0"/>
              </a:rPr>
              <a:t>GOVERNMENT OF ROMANIA</a:t>
            </a:r>
          </a:p>
          <a:p>
            <a:pPr algn="ctr" eaLnBrk="0" hangingPunct="0"/>
            <a:r>
              <a:rPr lang="ro-RO" altLang="en-US" sz="1800" b="1" dirty="0">
                <a:solidFill>
                  <a:schemeClr val="bg1"/>
                </a:solidFill>
                <a:latin typeface="Cambria" panose="02040503050406030204" pitchFamily="18" charset="0"/>
              </a:rPr>
              <a:t>Romanian </a:t>
            </a:r>
            <a:r>
              <a:rPr lang="en-US" altLang="en-US" sz="1800" b="1" dirty="0">
                <a:solidFill>
                  <a:schemeClr val="bg1"/>
                </a:solidFill>
                <a:latin typeface="Cambria" panose="02040503050406030204" pitchFamily="18" charset="0"/>
              </a:rPr>
              <a:t>Agency for Investment </a:t>
            </a:r>
            <a:endParaRPr lang="ro-RO" altLang="en-US" sz="1800" b="1" dirty="0">
              <a:solidFill>
                <a:schemeClr val="bg1"/>
              </a:solidFill>
              <a:latin typeface="Cambria" panose="02040503050406030204" pitchFamily="18" charset="0"/>
            </a:endParaRPr>
          </a:p>
          <a:p>
            <a:pPr algn="ctr" eaLnBrk="0" hangingPunct="0"/>
            <a:r>
              <a:rPr lang="en-US" altLang="en-US" sz="1800" b="1" dirty="0">
                <a:solidFill>
                  <a:schemeClr val="bg1"/>
                </a:solidFill>
                <a:latin typeface="Cambria" panose="02040503050406030204" pitchFamily="18" charset="0"/>
              </a:rPr>
              <a:t>and Foreign Trade</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20166" y="1024740"/>
            <a:ext cx="1433698" cy="143369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23"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Talent Pool</a:t>
            </a:r>
          </a:p>
        </p:txBody>
      </p:sp>
      <p:sp>
        <p:nvSpPr>
          <p:cNvPr id="24" name="TextBox 23"/>
          <p:cNvSpPr txBox="1"/>
          <p:nvPr/>
        </p:nvSpPr>
        <p:spPr>
          <a:xfrm>
            <a:off x="2001575" y="1320975"/>
            <a:ext cx="5140851" cy="202941"/>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Professional education</a:t>
            </a:r>
          </a:p>
        </p:txBody>
      </p:sp>
      <p:graphicFrame>
        <p:nvGraphicFramePr>
          <p:cNvPr id="25" name="Chart 24"/>
          <p:cNvGraphicFramePr>
            <a:graphicFrameLocks/>
          </p:cNvGraphicFramePr>
          <p:nvPr>
            <p:extLst>
              <p:ext uri="{D42A27DB-BD31-4B8C-83A1-F6EECF244321}">
                <p14:modId xmlns:p14="http://schemas.microsoft.com/office/powerpoint/2010/main" val="2868847713"/>
              </p:ext>
            </p:extLst>
          </p:nvPr>
        </p:nvGraphicFramePr>
        <p:xfrm>
          <a:off x="572758" y="1491324"/>
          <a:ext cx="7810533" cy="2924653"/>
        </p:xfrm>
        <a:graphic>
          <a:graphicData uri="http://schemas.openxmlformats.org/drawingml/2006/chart">
            <c:chart xmlns:c="http://schemas.openxmlformats.org/drawingml/2006/chart" xmlns:r="http://schemas.openxmlformats.org/officeDocument/2006/relationships" r:id="rId4"/>
          </a:graphicData>
        </a:graphic>
      </p:graphicFrame>
      <p:sp>
        <p:nvSpPr>
          <p:cNvPr id="26" name="Rectangle 25"/>
          <p:cNvSpPr/>
          <p:nvPr/>
        </p:nvSpPr>
        <p:spPr>
          <a:xfrm>
            <a:off x="432715" y="4898818"/>
            <a:ext cx="2143536" cy="24468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National Institute of Statistic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23"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Communication skills</a:t>
            </a:r>
          </a:p>
        </p:txBody>
      </p:sp>
      <p:sp>
        <p:nvSpPr>
          <p:cNvPr id="24" name="TextBox 23"/>
          <p:cNvSpPr txBox="1"/>
          <p:nvPr/>
        </p:nvSpPr>
        <p:spPr>
          <a:xfrm>
            <a:off x="2001575" y="1355095"/>
            <a:ext cx="5140851" cy="202941"/>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Languages studied by Romanian students</a:t>
            </a:r>
          </a:p>
        </p:txBody>
      </p:sp>
      <p:sp>
        <p:nvSpPr>
          <p:cNvPr id="26" name="Rectangle 25"/>
          <p:cNvSpPr/>
          <p:nvPr/>
        </p:nvSpPr>
        <p:spPr>
          <a:xfrm>
            <a:off x="276801" y="4898818"/>
            <a:ext cx="1604927" cy="24468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ANIS, NIS, Eurostat)</a:t>
            </a:r>
          </a:p>
        </p:txBody>
      </p:sp>
      <p:sp>
        <p:nvSpPr>
          <p:cNvPr id="7" name="Oval 6"/>
          <p:cNvSpPr/>
          <p:nvPr/>
        </p:nvSpPr>
        <p:spPr>
          <a:xfrm>
            <a:off x="713504" y="1805615"/>
            <a:ext cx="731520" cy="731520"/>
          </a:xfrm>
          <a:prstGeom prst="ellipse">
            <a:avLst/>
          </a:prstGeom>
          <a:solidFill>
            <a:srgbClr val="000066"/>
          </a:solidFill>
          <a:ln w="9525" cmpd="sng">
            <a:solidFill>
              <a:srgbClr val="2BC6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Cambria" panose="02040503050406030204" pitchFamily="18" charset="0"/>
                <a:ea typeface="Cambria" panose="02040503050406030204" pitchFamily="18" charset="0"/>
                <a:cs typeface="Arial" pitchFamily="34" charset="0"/>
              </a:rPr>
              <a:t>9</a:t>
            </a:r>
            <a:r>
              <a:rPr lang="ro-RO" sz="1600" b="1" dirty="0">
                <a:solidFill>
                  <a:schemeClr val="bg1"/>
                </a:solidFill>
                <a:latin typeface="Cambria" panose="02040503050406030204" pitchFamily="18" charset="0"/>
                <a:ea typeface="Cambria" panose="02040503050406030204" pitchFamily="18" charset="0"/>
                <a:cs typeface="Arial" pitchFamily="34" charset="0"/>
              </a:rPr>
              <a:t>7</a:t>
            </a:r>
            <a:r>
              <a:rPr lang="en-US" sz="1600" b="1" dirty="0">
                <a:solidFill>
                  <a:schemeClr val="bg1"/>
                </a:solidFill>
                <a:latin typeface="Cambria" panose="02040503050406030204" pitchFamily="18" charset="0"/>
                <a:ea typeface="Cambria" panose="02040503050406030204" pitchFamily="18" charset="0"/>
                <a:cs typeface="Arial" pitchFamily="34" charset="0"/>
              </a:rPr>
              <a:t>%</a:t>
            </a:r>
          </a:p>
        </p:txBody>
      </p:sp>
      <p:sp>
        <p:nvSpPr>
          <p:cNvPr id="8" name="TextBox 7"/>
          <p:cNvSpPr txBox="1"/>
          <p:nvPr/>
        </p:nvSpPr>
        <p:spPr>
          <a:xfrm>
            <a:off x="1605272" y="1856096"/>
            <a:ext cx="6856340" cy="707886"/>
          </a:xfrm>
          <a:prstGeom prst="rect">
            <a:avLst/>
          </a:prstGeom>
          <a:noFill/>
          <a:ln w="12700">
            <a:noFill/>
          </a:ln>
        </p:spPr>
        <p:txBody>
          <a:bodyPr wrap="square" lIns="0" tIns="0" rIns="0" bIns="0" rtlCol="0">
            <a:spAutoFit/>
          </a:bodyPr>
          <a:lstStyle/>
          <a:p>
            <a:pPr marL="285750" lvl="1" indent="-285750">
              <a:spcBef>
                <a:spcPts val="600"/>
              </a:spcBef>
              <a:spcAft>
                <a:spcPts val="600"/>
              </a:spcAft>
              <a:buClr>
                <a:srgbClr val="2846A8"/>
              </a:buClr>
              <a:buFont typeface="Arial" panose="020B0604020202020204" pitchFamily="34" charset="0"/>
              <a:buChar char="•"/>
            </a:pPr>
            <a:r>
              <a:rPr lang="en-US" sz="1200" b="0" dirty="0">
                <a:solidFill>
                  <a:srgbClr val="2846A8"/>
                </a:solidFill>
                <a:latin typeface="Cambria" panose="02040503050406030204" pitchFamily="18" charset="0"/>
              </a:rPr>
              <a:t>9</a:t>
            </a:r>
            <a:r>
              <a:rPr lang="ro-RO" sz="1200" b="0" dirty="0">
                <a:solidFill>
                  <a:srgbClr val="2846A8"/>
                </a:solidFill>
                <a:latin typeface="Cambria" panose="02040503050406030204" pitchFamily="18" charset="0"/>
              </a:rPr>
              <a:t>7</a:t>
            </a:r>
            <a:r>
              <a:rPr lang="en-US" sz="1200" b="0" dirty="0">
                <a:solidFill>
                  <a:srgbClr val="2846A8"/>
                </a:solidFill>
                <a:latin typeface="Cambria" panose="02040503050406030204" pitchFamily="18" charset="0"/>
              </a:rPr>
              <a:t>% of Romanian high school students study two or more foreign languages </a:t>
            </a:r>
          </a:p>
          <a:p>
            <a:pPr marL="285750" lvl="1" indent="-285750">
              <a:spcBef>
                <a:spcPts val="600"/>
              </a:spcBef>
              <a:spcAft>
                <a:spcPts val="600"/>
              </a:spcAft>
              <a:buClr>
                <a:srgbClr val="2846A8"/>
              </a:buClr>
              <a:buFont typeface="Arial" panose="020B0604020202020204" pitchFamily="34" charset="0"/>
              <a:buChar char="•"/>
            </a:pPr>
            <a:r>
              <a:rPr lang="en-US" sz="1200" b="0" dirty="0">
                <a:solidFill>
                  <a:srgbClr val="2846A8"/>
                </a:solidFill>
                <a:latin typeface="Cambria" panose="02040503050406030204" pitchFamily="18" charset="0"/>
              </a:rPr>
              <a:t>Predominant languages: English, French, German and Spanish, yet initiatives as regards Japanese, Nordic languages or the entire Latin language family</a:t>
            </a:r>
          </a:p>
        </p:txBody>
      </p:sp>
      <p:sp>
        <p:nvSpPr>
          <p:cNvPr id="9" name="Text Placeholder 3"/>
          <p:cNvSpPr txBox="1">
            <a:spLocks/>
          </p:cNvSpPr>
          <p:nvPr/>
        </p:nvSpPr>
        <p:spPr>
          <a:xfrm>
            <a:off x="2273855" y="2893096"/>
            <a:ext cx="4596291" cy="186077"/>
          </a:xfrm>
          <a:prstGeom prst="rect">
            <a:avLst/>
          </a:prstGeom>
        </p:spPr>
        <p:txBody>
          <a:bodyPr vert="horz" wrap="square" lIns="0" tIns="0" rIns="0" bIns="0" rtlCol="0">
            <a:spAutoFit/>
          </a:bodyPr>
          <a:lstStyle>
            <a:lvl1pPr marL="0" indent="0" algn="l" defTabSz="914400" rtl="0" eaLnBrk="1" latinLnBrk="0" hangingPunct="1">
              <a:lnSpc>
                <a:spcPct val="93000"/>
              </a:lnSpc>
              <a:spcBef>
                <a:spcPts val="0"/>
              </a:spcBef>
              <a:buFont typeface="Arial" pitchFamily="34" charset="0"/>
              <a:buNone/>
              <a:defRPr sz="2100" b="1" kern="1200">
                <a:solidFill>
                  <a:schemeClr val="tx1"/>
                </a:solidFill>
                <a:latin typeface="+mn-lt"/>
                <a:ea typeface="+mn-ea"/>
                <a:cs typeface="+mn-cs"/>
              </a:defRPr>
            </a:lvl1pPr>
            <a:lvl2pPr marL="266400" indent="-266400" algn="l" defTabSz="914400" rtl="0" eaLnBrk="1" latinLnBrk="0" hangingPunct="1">
              <a:lnSpc>
                <a:spcPct val="93000"/>
              </a:lnSpc>
              <a:spcBef>
                <a:spcPts val="1200"/>
              </a:spcBef>
              <a:buFont typeface="Arial Narrow" pitchFamily="34" charset="0"/>
              <a:buChar char="&gt;"/>
              <a:defRPr sz="2100" kern="1200">
                <a:solidFill>
                  <a:schemeClr val="tx1"/>
                </a:solidFill>
                <a:latin typeface="+mn-lt"/>
                <a:ea typeface="+mn-ea"/>
                <a:cs typeface="+mn-cs"/>
              </a:defRPr>
            </a:lvl2pPr>
            <a:lvl3pPr marL="590400" indent="-309600" algn="l" defTabSz="914400" rtl="0" eaLnBrk="1" latinLnBrk="0" hangingPunct="1">
              <a:lnSpc>
                <a:spcPct val="93000"/>
              </a:lnSpc>
              <a:spcBef>
                <a:spcPts val="400"/>
              </a:spcBef>
              <a:buFont typeface="Arial Narrow" pitchFamily="34" charset="0"/>
              <a:buChar char="–"/>
              <a:defRPr sz="2100" kern="1200">
                <a:solidFill>
                  <a:schemeClr val="tx1"/>
                </a:solidFill>
                <a:latin typeface="+mn-lt"/>
                <a:ea typeface="+mn-ea"/>
                <a:cs typeface="+mn-cs"/>
              </a:defRPr>
            </a:lvl3pPr>
            <a:lvl4pPr marL="896400" indent="-298800" algn="l" defTabSz="914400" rtl="0" eaLnBrk="1" latinLnBrk="0" hangingPunct="1">
              <a:lnSpc>
                <a:spcPct val="93000"/>
              </a:lnSpc>
              <a:spcBef>
                <a:spcPts val="200"/>
              </a:spcBef>
              <a:buFont typeface="Arial Narrow" pitchFamily="34" charset="0"/>
              <a:buChar char="-"/>
              <a:defRPr sz="2100" kern="1200">
                <a:solidFill>
                  <a:schemeClr val="tx1"/>
                </a:solidFill>
                <a:latin typeface="+mn-lt"/>
                <a:ea typeface="+mn-ea"/>
                <a:cs typeface="+mn-cs"/>
              </a:defRPr>
            </a:lvl4pPr>
            <a:lvl5pPr marL="892175"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en-US" sz="1300" dirty="0">
                <a:solidFill>
                  <a:srgbClr val="2846A8"/>
                </a:solidFill>
                <a:latin typeface="Cambria" panose="02040503050406030204" pitchFamily="18" charset="0"/>
              </a:rPr>
              <a:t>University students in Romania are proficient in (% of total):</a:t>
            </a:r>
          </a:p>
        </p:txBody>
      </p:sp>
      <p:sp>
        <p:nvSpPr>
          <p:cNvPr id="11" name="Oval 10"/>
          <p:cNvSpPr/>
          <p:nvPr/>
        </p:nvSpPr>
        <p:spPr>
          <a:xfrm>
            <a:off x="713505" y="3333939"/>
            <a:ext cx="731520" cy="731520"/>
          </a:xfrm>
          <a:prstGeom prst="ellipse">
            <a:avLst/>
          </a:prstGeom>
          <a:solidFill>
            <a:srgbClr val="005400"/>
          </a:solidFill>
          <a:ln w="9525" cmpd="sng">
            <a:solidFill>
              <a:srgbClr val="2BC6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Cambria" panose="02040503050406030204" pitchFamily="18" charset="0"/>
                <a:ea typeface="Cambria" panose="02040503050406030204" pitchFamily="18" charset="0"/>
                <a:cs typeface="Arial" pitchFamily="34" charset="0"/>
              </a:rPr>
              <a:t>90%</a:t>
            </a:r>
          </a:p>
        </p:txBody>
      </p:sp>
      <p:sp>
        <p:nvSpPr>
          <p:cNvPr id="12" name="Oval 11"/>
          <p:cNvSpPr/>
          <p:nvPr/>
        </p:nvSpPr>
        <p:spPr>
          <a:xfrm>
            <a:off x="2465239" y="3333939"/>
            <a:ext cx="731520" cy="731520"/>
          </a:xfrm>
          <a:prstGeom prst="ellipse">
            <a:avLst/>
          </a:prstGeom>
          <a:solidFill>
            <a:srgbClr val="005400"/>
          </a:solidFill>
          <a:ln w="9525" cmpd="sng">
            <a:solidFill>
              <a:srgbClr val="2BC6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Cambria" panose="02040503050406030204" pitchFamily="18" charset="0"/>
                <a:ea typeface="Cambria" panose="02040503050406030204" pitchFamily="18" charset="0"/>
                <a:cs typeface="Arial" pitchFamily="34" charset="0"/>
              </a:rPr>
              <a:t>26%</a:t>
            </a:r>
          </a:p>
        </p:txBody>
      </p:sp>
      <p:sp>
        <p:nvSpPr>
          <p:cNvPr id="13" name="Oval 12"/>
          <p:cNvSpPr/>
          <p:nvPr/>
        </p:nvSpPr>
        <p:spPr>
          <a:xfrm>
            <a:off x="4206240" y="3333939"/>
            <a:ext cx="731520" cy="731520"/>
          </a:xfrm>
          <a:prstGeom prst="ellipse">
            <a:avLst/>
          </a:prstGeom>
          <a:solidFill>
            <a:srgbClr val="005400"/>
          </a:solidFill>
          <a:ln w="9525" cmpd="sng">
            <a:solidFill>
              <a:srgbClr val="2BC6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Cambria" panose="02040503050406030204" pitchFamily="18" charset="0"/>
                <a:ea typeface="Cambria" panose="02040503050406030204" pitchFamily="18" charset="0"/>
                <a:cs typeface="Arial" pitchFamily="34" charset="0"/>
              </a:rPr>
              <a:t>17%</a:t>
            </a:r>
          </a:p>
        </p:txBody>
      </p:sp>
      <p:sp>
        <p:nvSpPr>
          <p:cNvPr id="14" name="Oval 13"/>
          <p:cNvSpPr/>
          <p:nvPr/>
        </p:nvSpPr>
        <p:spPr>
          <a:xfrm>
            <a:off x="5946355" y="3335095"/>
            <a:ext cx="731520" cy="731520"/>
          </a:xfrm>
          <a:prstGeom prst="ellipse">
            <a:avLst/>
          </a:prstGeom>
          <a:solidFill>
            <a:srgbClr val="005400"/>
          </a:solidFill>
          <a:ln w="9525" cmpd="sng">
            <a:solidFill>
              <a:srgbClr val="2BC6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Cambria" panose="02040503050406030204" pitchFamily="18" charset="0"/>
                <a:ea typeface="Cambria" panose="02040503050406030204" pitchFamily="18" charset="0"/>
                <a:cs typeface="Arial" pitchFamily="34" charset="0"/>
              </a:rPr>
              <a:t>8%</a:t>
            </a:r>
          </a:p>
        </p:txBody>
      </p:sp>
      <p:sp>
        <p:nvSpPr>
          <p:cNvPr id="15" name="Oval 14"/>
          <p:cNvSpPr/>
          <p:nvPr/>
        </p:nvSpPr>
        <p:spPr>
          <a:xfrm>
            <a:off x="7688242" y="3333944"/>
            <a:ext cx="731520" cy="731520"/>
          </a:xfrm>
          <a:prstGeom prst="ellipse">
            <a:avLst/>
          </a:prstGeom>
          <a:solidFill>
            <a:srgbClr val="005400"/>
          </a:solidFill>
          <a:ln w="9525" cmpd="sng">
            <a:solidFill>
              <a:srgbClr val="2BC6F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Cambria" panose="02040503050406030204" pitchFamily="18" charset="0"/>
                <a:ea typeface="Cambria" panose="02040503050406030204" pitchFamily="18" charset="0"/>
                <a:cs typeface="Arial" pitchFamily="34" charset="0"/>
              </a:rPr>
              <a:t>5%</a:t>
            </a: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7747" y="4161248"/>
            <a:ext cx="1368506" cy="694944"/>
          </a:xfrm>
          <a:prstGeom prst="rect">
            <a:avLst/>
          </a:prstGeom>
          <a:ln>
            <a:solidFill>
              <a:schemeClr val="bg2"/>
            </a:solidFill>
          </a:ln>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3389" y="4157590"/>
            <a:ext cx="1368506" cy="694944"/>
          </a:xfrm>
          <a:prstGeom prst="rect">
            <a:avLst/>
          </a:prstGeom>
          <a:ln>
            <a:solidFill>
              <a:schemeClr val="bg2"/>
            </a:solidFill>
          </a:ln>
        </p:spPr>
      </p:pic>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32105" y="4157590"/>
            <a:ext cx="1361792" cy="694944"/>
          </a:xfrm>
          <a:prstGeom prst="rect">
            <a:avLst/>
          </a:prstGeom>
          <a:ln>
            <a:solidFill>
              <a:schemeClr val="bg2"/>
            </a:solidFill>
          </a:ln>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69749" y="4157590"/>
            <a:ext cx="1368506" cy="694944"/>
          </a:xfrm>
          <a:prstGeom prst="rect">
            <a:avLst/>
          </a:prstGeom>
          <a:ln>
            <a:solidFill>
              <a:schemeClr val="bg2"/>
            </a:solidFill>
          </a:ln>
        </p:spPr>
      </p:pic>
      <p:pic>
        <p:nvPicPr>
          <p:cNvPr id="20" name="Picture 19"/>
          <p:cNvPicPr>
            <a:picLocks noChangeAspect="1"/>
          </p:cNvPicPr>
          <p:nvPr/>
        </p:nvPicPr>
        <p:blipFill>
          <a:blip r:embed="rId8"/>
          <a:stretch>
            <a:fillRect/>
          </a:stretch>
        </p:blipFill>
        <p:spPr>
          <a:xfrm>
            <a:off x="393465" y="4157590"/>
            <a:ext cx="1371600" cy="691286"/>
          </a:xfrm>
          <a:prstGeom prst="rect">
            <a:avLst/>
          </a:prstGeom>
          <a:ln w="3175">
            <a:solidFill>
              <a:schemeClr val="tx1"/>
            </a:solidFill>
          </a:ln>
        </p:spPr>
      </p:pic>
    </p:spTree>
    <p:extLst>
      <p:ext uri="{BB962C8B-B14F-4D97-AF65-F5344CB8AC3E}">
        <p14:creationId xmlns:p14="http://schemas.microsoft.com/office/powerpoint/2010/main" val="31145457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lt1"/>
            </a:gs>
            <a:gs pos="18000">
              <a:schemeClr val="lt1"/>
            </a:gs>
            <a:gs pos="39000">
              <a:schemeClr val="lt2"/>
            </a:gs>
            <a:gs pos="100000">
              <a:schemeClr val="lt2"/>
            </a:gs>
          </a:gsLst>
          <a:lin ang="10800025" scaled="0"/>
        </a:gradFill>
        <a:effectLst/>
      </p:bgPr>
    </p:bg>
    <p:spTree>
      <p:nvGrpSpPr>
        <p:cNvPr id="1" name="Shape 270"/>
        <p:cNvGrpSpPr/>
        <p:nvPr/>
      </p:nvGrpSpPr>
      <p:grpSpPr>
        <a:xfrm>
          <a:off x="0" y="0"/>
          <a:ext cx="0" cy="0"/>
          <a:chOff x="0" y="0"/>
          <a:chExt cx="0" cy="0"/>
        </a:xfrm>
      </p:grpSpPr>
      <p:sp>
        <p:nvSpPr>
          <p:cNvPr id="271" name="Google Shape;271;p23"/>
          <p:cNvSpPr txBox="1">
            <a:spLocks noGrp="1"/>
          </p:cNvSpPr>
          <p:nvPr>
            <p:ph type="title" idx="4294967295"/>
          </p:nvPr>
        </p:nvSpPr>
        <p:spPr>
          <a:xfrm>
            <a:off x="320722" y="2511189"/>
            <a:ext cx="2952513" cy="1256210"/>
          </a:xfrm>
          <a:prstGeom prst="rect">
            <a:avLst/>
          </a:prstGeom>
        </p:spPr>
        <p:txBody>
          <a:bodyPr spcFirstLastPara="1" wrap="square" lIns="0" tIns="0" rIns="0" bIns="0" anchor="b" anchorCtr="0">
            <a:noAutofit/>
          </a:bodyPr>
          <a:lstStyle/>
          <a:p>
            <a:pPr lvl="0"/>
            <a:r>
              <a:rPr lang="en-US" sz="2400" dirty="0">
                <a:solidFill>
                  <a:schemeClr val="bg1"/>
                </a:solidFill>
                <a:latin typeface="Cambria" panose="02040503050406030204" pitchFamily="18" charset="0"/>
                <a:ea typeface="Cambria" panose="02040503050406030204" pitchFamily="18" charset="0"/>
              </a:rPr>
              <a:t>Centers</a:t>
            </a:r>
            <a:br>
              <a:rPr lang="en-US" sz="2400" dirty="0">
                <a:solidFill>
                  <a:schemeClr val="bg1"/>
                </a:solidFill>
                <a:latin typeface="Cambria" panose="02040503050406030204" pitchFamily="18" charset="0"/>
                <a:ea typeface="Cambria" panose="02040503050406030204" pitchFamily="18" charset="0"/>
              </a:rPr>
            </a:br>
            <a:r>
              <a:rPr lang="en-US" sz="2400" dirty="0">
                <a:solidFill>
                  <a:schemeClr val="bg1"/>
                </a:solidFill>
                <a:latin typeface="Cambria" panose="02040503050406030204" pitchFamily="18" charset="0"/>
                <a:ea typeface="Cambria" panose="02040503050406030204" pitchFamily="18" charset="0"/>
              </a:rPr>
              <a:t>of</a:t>
            </a:r>
            <a:br>
              <a:rPr lang="en-US" sz="2400" dirty="0">
                <a:solidFill>
                  <a:schemeClr val="bg1"/>
                </a:solidFill>
                <a:latin typeface="Cambria" panose="02040503050406030204" pitchFamily="18" charset="0"/>
                <a:ea typeface="Cambria" panose="02040503050406030204" pitchFamily="18" charset="0"/>
              </a:rPr>
            </a:br>
            <a:r>
              <a:rPr lang="en-US" sz="2400" dirty="0">
                <a:solidFill>
                  <a:schemeClr val="bg1"/>
                </a:solidFill>
                <a:latin typeface="Cambria" panose="02040503050406030204" pitchFamily="18" charset="0"/>
                <a:ea typeface="Cambria" panose="02040503050406030204" pitchFamily="18" charset="0"/>
              </a:rPr>
              <a:t>Excelle</a:t>
            </a:r>
            <a:r>
              <a:rPr lang="en-US" sz="2400" dirty="0">
                <a:solidFill>
                  <a:srgbClr val="041E70"/>
                </a:solidFill>
                <a:latin typeface="Cambria" panose="02040503050406030204" pitchFamily="18" charset="0"/>
                <a:ea typeface="Cambria" panose="02040503050406030204" pitchFamily="18" charset="0"/>
              </a:rPr>
              <a:t>n</a:t>
            </a:r>
            <a:r>
              <a:rPr lang="en-US" sz="2400" dirty="0">
                <a:solidFill>
                  <a:schemeClr val="bg1"/>
                </a:solidFill>
                <a:latin typeface="Cambria" panose="02040503050406030204" pitchFamily="18" charset="0"/>
                <a:ea typeface="Cambria" panose="02040503050406030204" pitchFamily="18" charset="0"/>
              </a:rPr>
              <a:t>ce</a:t>
            </a:r>
          </a:p>
        </p:txBody>
      </p:sp>
      <p:grpSp>
        <p:nvGrpSpPr>
          <p:cNvPr id="6" name="Group 5"/>
          <p:cNvGrpSpPr/>
          <p:nvPr/>
        </p:nvGrpSpPr>
        <p:grpSpPr>
          <a:xfrm>
            <a:off x="6767547" y="601684"/>
            <a:ext cx="2103120" cy="1723137"/>
            <a:chOff x="1143001" y="2085628"/>
            <a:chExt cx="5780923" cy="4383913"/>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19980" y="4642579"/>
              <a:ext cx="1826962" cy="1826962"/>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3001" y="2085628"/>
              <a:ext cx="5780923" cy="2556952"/>
            </a:xfrm>
            <a:prstGeom prst="rect">
              <a:avLst/>
            </a:prstGeom>
          </p:spPr>
        </p:pic>
      </p:gr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1359" y="208770"/>
            <a:ext cx="1737360" cy="977265"/>
          </a:xfrm>
          <a:prstGeom prst="rect">
            <a:avLst/>
          </a:prstGeom>
        </p:spPr>
      </p:pic>
      <p:sp>
        <p:nvSpPr>
          <p:cNvPr id="10" name="TextBox 9"/>
          <p:cNvSpPr txBox="1"/>
          <p:nvPr/>
        </p:nvSpPr>
        <p:spPr>
          <a:xfrm>
            <a:off x="4851359" y="1209495"/>
            <a:ext cx="1737360"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cs typeface="Arial" pitchFamily="34" charset="0"/>
              </a:rPr>
              <a:t>BOSCH </a:t>
            </a:r>
            <a:r>
              <a:rPr lang="de-DE" sz="1200" dirty="0">
                <a:solidFill>
                  <a:srgbClr val="2846A8"/>
                </a:solidFill>
                <a:latin typeface="Cambria" panose="02040503050406030204" pitchFamily="18" charset="0"/>
                <a:cs typeface="Arial" pitchFamily="34" charset="0"/>
              </a:rPr>
              <a:t>Cluj-Napoca</a:t>
            </a:r>
            <a:r>
              <a:rPr lang="en-US" sz="1200" dirty="0">
                <a:solidFill>
                  <a:srgbClr val="2846A8"/>
                </a:solidFill>
                <a:latin typeface="Cambria" panose="02040503050406030204" pitchFamily="18" charset="0"/>
                <a:cs typeface="Arial" pitchFamily="34" charset="0"/>
              </a:rPr>
              <a:t> </a:t>
            </a:r>
            <a:endParaRPr lang="en-US" sz="1200" b="1" dirty="0">
              <a:solidFill>
                <a:srgbClr val="2846A8"/>
              </a:solidFill>
              <a:latin typeface="Cambria" panose="02040503050406030204" pitchFamily="18" charset="0"/>
              <a:cs typeface="Arial" pitchFamily="34" charset="0"/>
            </a:endParaRP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r="6288"/>
          <a:stretch/>
        </p:blipFill>
        <p:spPr>
          <a:xfrm>
            <a:off x="2477972" y="208770"/>
            <a:ext cx="2194560" cy="1137254"/>
          </a:xfrm>
          <a:prstGeom prst="rect">
            <a:avLst/>
          </a:prstGeom>
        </p:spPr>
      </p:pic>
      <p:sp>
        <p:nvSpPr>
          <p:cNvPr id="14" name="TextBox 13"/>
          <p:cNvSpPr txBox="1"/>
          <p:nvPr/>
        </p:nvSpPr>
        <p:spPr>
          <a:xfrm>
            <a:off x="2477971" y="1357473"/>
            <a:ext cx="2194559" cy="171714"/>
          </a:xfrm>
          <a:prstGeom prst="rect">
            <a:avLst/>
          </a:prstGeom>
          <a:noFill/>
          <a:ln w="9525">
            <a:noFill/>
          </a:ln>
        </p:spPr>
        <p:txBody>
          <a:bodyPr wrap="square" lIns="0" tIns="0" rIns="0" bIns="0" rtlCol="0">
            <a:spAutoFit/>
          </a:bodyPr>
          <a:lstStyle/>
          <a:p>
            <a:pPr algn="ctr">
              <a:lnSpc>
                <a:spcPct val="93000"/>
              </a:lnSpc>
            </a:pPr>
            <a:r>
              <a:rPr lang="de-DE" sz="1200" dirty="0">
                <a:solidFill>
                  <a:srgbClr val="2846A8"/>
                </a:solidFill>
                <a:latin typeface="Cambria" panose="02040503050406030204" pitchFamily="18" charset="0"/>
                <a:cs typeface="Arial" pitchFamily="34" charset="0"/>
              </a:rPr>
              <a:t>SIEMENS Cluj-Napoca</a:t>
            </a:r>
            <a:endParaRPr lang="en-US" sz="1200" b="1" dirty="0">
              <a:solidFill>
                <a:srgbClr val="2846A8"/>
              </a:solidFill>
              <a:latin typeface="Cambria" panose="02040503050406030204" pitchFamily="18" charset="0"/>
              <a:cs typeface="Arial" pitchFamily="34" charset="0"/>
            </a:endParaRPr>
          </a:p>
        </p:txBody>
      </p:sp>
      <p:grpSp>
        <p:nvGrpSpPr>
          <p:cNvPr id="4" name="Group 3"/>
          <p:cNvGrpSpPr/>
          <p:nvPr/>
        </p:nvGrpSpPr>
        <p:grpSpPr>
          <a:xfrm>
            <a:off x="2622382" y="1926134"/>
            <a:ext cx="2011680" cy="1280160"/>
            <a:chOff x="5108931" y="2246648"/>
            <a:chExt cx="1920240" cy="1172437"/>
          </a:xfrm>
        </p:grpSpPr>
        <p:pic>
          <p:nvPicPr>
            <p:cNvPr id="11" name="Picture 10"/>
            <p:cNvPicPr>
              <a:picLocks noChangeAspect="1"/>
            </p:cNvPicPr>
            <p:nvPr/>
          </p:nvPicPr>
          <p:blipFill rotWithShape="1">
            <a:blip r:embed="rId7"/>
            <a:srcRect t="12264" b="3439"/>
            <a:stretch/>
          </p:blipFill>
          <p:spPr>
            <a:xfrm>
              <a:off x="5108931" y="2246648"/>
              <a:ext cx="1920240" cy="989791"/>
            </a:xfrm>
            <a:prstGeom prst="rect">
              <a:avLst/>
            </a:prstGeom>
          </p:spPr>
        </p:pic>
        <p:sp>
          <p:nvSpPr>
            <p:cNvPr id="12" name="TextBox 11"/>
            <p:cNvSpPr txBox="1"/>
            <p:nvPr/>
          </p:nvSpPr>
          <p:spPr>
            <a:xfrm>
              <a:off x="5120277" y="3247371"/>
              <a:ext cx="1908894" cy="171714"/>
            </a:xfrm>
            <a:prstGeom prst="rect">
              <a:avLst/>
            </a:prstGeom>
            <a:noFill/>
            <a:ln w="9525">
              <a:noFill/>
            </a:ln>
          </p:spPr>
          <p:txBody>
            <a:bodyPr wrap="square" lIns="0" tIns="0" rIns="0" bIns="0" rtlCol="0">
              <a:spAutoFit/>
            </a:bodyPr>
            <a:lstStyle/>
            <a:p>
              <a:pPr algn="ctr">
                <a:lnSpc>
                  <a:spcPct val="93000"/>
                </a:lnSpc>
              </a:pPr>
              <a:r>
                <a:rPr lang="de-DE" sz="1200" dirty="0">
                  <a:solidFill>
                    <a:srgbClr val="2846A8"/>
                  </a:solidFill>
                  <a:latin typeface="Cambria" panose="02040503050406030204" pitchFamily="18" charset="0"/>
                  <a:cs typeface="Arial" pitchFamily="34" charset="0"/>
                </a:rPr>
                <a:t>DAIMLER Sebes</a:t>
              </a:r>
              <a:endParaRPr lang="en-US" sz="1200" b="1" dirty="0">
                <a:solidFill>
                  <a:srgbClr val="2846A8"/>
                </a:solidFill>
                <a:latin typeface="Cambria" panose="02040503050406030204" pitchFamily="18" charset="0"/>
                <a:cs typeface="Arial" pitchFamily="34" charset="0"/>
              </a:endParaRPr>
            </a:p>
          </p:txBody>
        </p:sp>
      </p:grpSp>
      <p:grpSp>
        <p:nvGrpSpPr>
          <p:cNvPr id="2" name="Group 1"/>
          <p:cNvGrpSpPr/>
          <p:nvPr/>
        </p:nvGrpSpPr>
        <p:grpSpPr>
          <a:xfrm>
            <a:off x="6767547" y="2725810"/>
            <a:ext cx="2103120" cy="1814690"/>
            <a:chOff x="1216793" y="1312586"/>
            <a:chExt cx="2491244" cy="1814690"/>
          </a:xfrm>
        </p:grpSpPr>
        <p:grpSp>
          <p:nvGrpSpPr>
            <p:cNvPr id="15" name="Group 14"/>
            <p:cNvGrpSpPr/>
            <p:nvPr/>
          </p:nvGrpSpPr>
          <p:grpSpPr>
            <a:xfrm>
              <a:off x="1216793" y="1312586"/>
              <a:ext cx="2491244" cy="1625849"/>
              <a:chOff x="6923926" y="2247087"/>
              <a:chExt cx="4042993" cy="4026003"/>
            </a:xfrm>
          </p:grpSpPr>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23926" y="4146016"/>
                <a:ext cx="4042993" cy="2127074"/>
              </a:xfrm>
              <a:prstGeom prst="rect">
                <a:avLst/>
              </a:prstGeom>
            </p:spPr>
          </p:pic>
          <p:pic>
            <p:nvPicPr>
              <p:cNvPr id="17" name="Picture 1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91390" y="2247087"/>
                <a:ext cx="2708058" cy="1737477"/>
              </a:xfrm>
              <a:prstGeom prst="rect">
                <a:avLst/>
              </a:prstGeom>
            </p:spPr>
          </p:pic>
        </p:grpSp>
        <p:sp>
          <p:nvSpPr>
            <p:cNvPr id="18" name="TextBox 17"/>
            <p:cNvSpPr txBox="1"/>
            <p:nvPr/>
          </p:nvSpPr>
          <p:spPr>
            <a:xfrm>
              <a:off x="1217459" y="2955562"/>
              <a:ext cx="2490578"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cs typeface="Arial" pitchFamily="34" charset="0"/>
                </a:rPr>
                <a:t>ELI – NP Magurele</a:t>
              </a:r>
            </a:p>
          </p:txBody>
        </p:sp>
      </p:grpSp>
      <p:pic>
        <p:nvPicPr>
          <p:cNvPr id="19" name="Picture 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846953" y="3603241"/>
            <a:ext cx="1645920" cy="1098654"/>
          </a:xfrm>
          <a:prstGeom prst="rect">
            <a:avLst/>
          </a:prstGeom>
        </p:spPr>
      </p:pic>
      <p:sp>
        <p:nvSpPr>
          <p:cNvPr id="20" name="TextBox 19"/>
          <p:cNvSpPr txBox="1"/>
          <p:nvPr/>
        </p:nvSpPr>
        <p:spPr>
          <a:xfrm>
            <a:off x="2846953" y="4708022"/>
            <a:ext cx="1645920" cy="343427"/>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cs typeface="Arial" pitchFamily="34" charset="0"/>
              </a:rPr>
              <a:t>PORSCHE Engineering</a:t>
            </a:r>
            <a:endParaRPr lang="ro-RO" sz="1200" dirty="0">
              <a:solidFill>
                <a:srgbClr val="2846A8"/>
              </a:solidFill>
              <a:latin typeface="Cambria" panose="02040503050406030204" pitchFamily="18" charset="0"/>
              <a:cs typeface="Arial" pitchFamily="34" charset="0"/>
            </a:endParaRPr>
          </a:p>
          <a:p>
            <a:pPr algn="ctr">
              <a:lnSpc>
                <a:spcPct val="93000"/>
              </a:lnSpc>
            </a:pPr>
            <a:r>
              <a:rPr lang="en-US" sz="1200" dirty="0">
                <a:solidFill>
                  <a:srgbClr val="2846A8"/>
                </a:solidFill>
                <a:latin typeface="Cambria" panose="02040503050406030204" pitchFamily="18" charset="0"/>
                <a:cs typeface="Arial" pitchFamily="34" charset="0"/>
              </a:rPr>
              <a:t>Romania</a:t>
            </a:r>
            <a:r>
              <a:rPr lang="ro-RO" sz="1200" dirty="0">
                <a:solidFill>
                  <a:srgbClr val="2846A8"/>
                </a:solidFill>
                <a:latin typeface="Cambria" panose="02040503050406030204" pitchFamily="18" charset="0"/>
                <a:cs typeface="Arial" pitchFamily="34" charset="0"/>
              </a:rPr>
              <a:t> / </a:t>
            </a:r>
            <a:r>
              <a:rPr lang="en-US" sz="1200" dirty="0">
                <a:solidFill>
                  <a:srgbClr val="2846A8"/>
                </a:solidFill>
                <a:latin typeface="Cambria" panose="02040503050406030204" pitchFamily="18" charset="0"/>
                <a:cs typeface="Arial" pitchFamily="34" charset="0"/>
              </a:rPr>
              <a:t>Cluj-Napoca </a:t>
            </a:r>
            <a:endParaRPr lang="en-US" sz="1200" b="1" dirty="0">
              <a:solidFill>
                <a:srgbClr val="2846A8"/>
              </a:solidFill>
              <a:latin typeface="Cambria" panose="02040503050406030204" pitchFamily="18" charset="0"/>
              <a:cs typeface="Arial" pitchFamily="34" charset="0"/>
            </a:endParaRPr>
          </a:p>
        </p:txBody>
      </p:sp>
      <p:pic>
        <p:nvPicPr>
          <p:cNvPr id="21" name="Picture 20"/>
          <p:cNvPicPr>
            <a:picLocks noChangeAspect="1"/>
          </p:cNvPicPr>
          <p:nvPr/>
        </p:nvPicPr>
        <p:blipFill rotWithShape="1">
          <a:blip r:embed="rId11" cstate="print">
            <a:extLst>
              <a:ext uri="{28A0092B-C50C-407E-A947-70E740481C1C}">
                <a14:useLocalDpi xmlns:a14="http://schemas.microsoft.com/office/drawing/2010/main" val="0"/>
              </a:ext>
            </a:extLst>
          </a:blip>
          <a:srcRect l="7598" t="6863" b="15818"/>
          <a:stretch/>
        </p:blipFill>
        <p:spPr>
          <a:xfrm>
            <a:off x="4761249" y="3631234"/>
            <a:ext cx="1737360" cy="1070661"/>
          </a:xfrm>
          <a:prstGeom prst="rect">
            <a:avLst/>
          </a:prstGeom>
        </p:spPr>
      </p:pic>
      <p:sp>
        <p:nvSpPr>
          <p:cNvPr id="22" name="TextBox 21"/>
          <p:cNvSpPr txBox="1"/>
          <p:nvPr/>
        </p:nvSpPr>
        <p:spPr>
          <a:xfrm>
            <a:off x="4761249" y="4722641"/>
            <a:ext cx="1737360" cy="343427"/>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cs typeface="Arial" pitchFamily="34" charset="0"/>
              </a:rPr>
              <a:t>HELLA  Technical Center</a:t>
            </a:r>
            <a:endParaRPr lang="ro-RO" sz="1200" dirty="0">
              <a:solidFill>
                <a:srgbClr val="2846A8"/>
              </a:solidFill>
              <a:latin typeface="Cambria" panose="02040503050406030204" pitchFamily="18" charset="0"/>
              <a:cs typeface="Arial" pitchFamily="34" charset="0"/>
            </a:endParaRPr>
          </a:p>
          <a:p>
            <a:pPr algn="ctr">
              <a:lnSpc>
                <a:spcPct val="93000"/>
              </a:lnSpc>
            </a:pPr>
            <a:r>
              <a:rPr lang="en-US" sz="1200" dirty="0">
                <a:solidFill>
                  <a:srgbClr val="2846A8"/>
                </a:solidFill>
                <a:latin typeface="Cambria" panose="02040503050406030204" pitchFamily="18" charset="0"/>
                <a:cs typeface="Arial" pitchFamily="34" charset="0"/>
              </a:rPr>
              <a:t>Craiova</a:t>
            </a:r>
          </a:p>
        </p:txBody>
      </p:sp>
      <p:pic>
        <p:nvPicPr>
          <p:cNvPr id="23" name="Picture 22"/>
          <p:cNvPicPr>
            <a:picLocks noChangeAspect="1"/>
          </p:cNvPicPr>
          <p:nvPr/>
        </p:nvPicPr>
        <p:blipFill>
          <a:blip r:embed="rId12"/>
          <a:stretch>
            <a:fillRect/>
          </a:stretch>
        </p:blipFill>
        <p:spPr>
          <a:xfrm>
            <a:off x="5034239" y="1852888"/>
            <a:ext cx="1554480" cy="1227223"/>
          </a:xfrm>
          <a:prstGeom prst="rect">
            <a:avLst/>
          </a:prstGeom>
        </p:spPr>
      </p:pic>
      <p:sp>
        <p:nvSpPr>
          <p:cNvPr id="24" name="TextBox 23"/>
          <p:cNvSpPr txBox="1"/>
          <p:nvPr/>
        </p:nvSpPr>
        <p:spPr>
          <a:xfrm>
            <a:off x="5034239" y="3106153"/>
            <a:ext cx="1554480" cy="171714"/>
          </a:xfrm>
          <a:prstGeom prst="rect">
            <a:avLst/>
          </a:prstGeom>
          <a:noFill/>
          <a:ln w="9525">
            <a:noFill/>
          </a:ln>
        </p:spPr>
        <p:txBody>
          <a:bodyPr wrap="square" lIns="0" tIns="0" rIns="0" bIns="0" rtlCol="0">
            <a:spAutoFit/>
          </a:bodyPr>
          <a:lstStyle/>
          <a:p>
            <a:pPr algn="ctr">
              <a:lnSpc>
                <a:spcPct val="93000"/>
              </a:lnSpc>
            </a:pPr>
            <a:r>
              <a:rPr lang="de-DE" sz="1200" dirty="0">
                <a:solidFill>
                  <a:srgbClr val="2846A8"/>
                </a:solidFill>
                <a:latin typeface="Cambria" panose="02040503050406030204" pitchFamily="18" charset="0"/>
                <a:cs typeface="Arial" pitchFamily="34" charset="0"/>
              </a:rPr>
              <a:t>SONACA Turda</a:t>
            </a:r>
            <a:endParaRPr lang="en-US" sz="1200" b="1" dirty="0">
              <a:solidFill>
                <a:srgbClr val="2846A8"/>
              </a:solidFill>
              <a:latin typeface="Cambria" panose="02040503050406030204" pitchFamily="18" charset="0"/>
              <a:cs typeface="Arial" pitchFamily="34" charset="0"/>
            </a:endParaRPr>
          </a:p>
        </p:txBody>
      </p:sp>
      <p:pic>
        <p:nvPicPr>
          <p:cNvPr id="25" name="Picture 2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extLst>
      <p:ext uri="{BB962C8B-B14F-4D97-AF65-F5344CB8AC3E}">
        <p14:creationId xmlns:p14="http://schemas.microsoft.com/office/powerpoint/2010/main" val="2942239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270"/>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grpSp>
        <p:nvGrpSpPr>
          <p:cNvPr id="39" name="Group 38"/>
          <p:cNvGrpSpPr/>
          <p:nvPr/>
        </p:nvGrpSpPr>
        <p:grpSpPr>
          <a:xfrm>
            <a:off x="389494" y="2656210"/>
            <a:ext cx="1869274" cy="959620"/>
            <a:chOff x="191072" y="2668566"/>
            <a:chExt cx="1952774" cy="959620"/>
          </a:xfrm>
        </p:grpSpPr>
        <p:grpSp>
          <p:nvGrpSpPr>
            <p:cNvPr id="40" name="Group 39">
              <a:extLst>
                <a:ext uri="{FF2B5EF4-FFF2-40B4-BE49-F238E27FC236}">
                  <a16:creationId xmlns:a16="http://schemas.microsoft.com/office/drawing/2014/main" id="{48631C38-7A82-4D3C-9290-6A79A423C0B7}"/>
                </a:ext>
              </a:extLst>
            </p:cNvPr>
            <p:cNvGrpSpPr/>
            <p:nvPr/>
          </p:nvGrpSpPr>
          <p:grpSpPr>
            <a:xfrm>
              <a:off x="191072" y="2668566"/>
              <a:ext cx="1952774" cy="857356"/>
              <a:chOff x="2725123" y="4138715"/>
              <a:chExt cx="1296806" cy="1143140"/>
            </a:xfrm>
          </p:grpSpPr>
          <p:sp>
            <p:nvSpPr>
              <p:cNvPr id="42" name="TextBox 41">
                <a:extLst>
                  <a:ext uri="{FF2B5EF4-FFF2-40B4-BE49-F238E27FC236}">
                    <a16:creationId xmlns:a16="http://schemas.microsoft.com/office/drawing/2014/main" id="{413C048C-B751-4E44-A67E-2B59BD55ED31}"/>
                  </a:ext>
                </a:extLst>
              </p:cNvPr>
              <p:cNvSpPr txBox="1"/>
              <p:nvPr/>
            </p:nvSpPr>
            <p:spPr>
              <a:xfrm>
                <a:off x="2725123" y="4420081"/>
                <a:ext cx="1292072" cy="861774"/>
              </a:xfrm>
              <a:prstGeom prst="rect">
                <a:avLst/>
              </a:prstGeom>
              <a:noFill/>
            </p:spPr>
            <p:txBody>
              <a:bodyPr wrap="square" rtlCol="0">
                <a:spAutoFit/>
              </a:bodyPr>
              <a:lstStyle/>
              <a:p>
                <a:pPr algn="ctr"/>
                <a:r>
                  <a:rPr lang="en-US" sz="1200" dirty="0">
                    <a:solidFill>
                      <a:srgbClr val="2846A8"/>
                    </a:solidFill>
                    <a:latin typeface="Cambria" panose="02040503050406030204" pitchFamily="18" charset="0"/>
                  </a:rPr>
                  <a:t> One of the most competitive labor force in the EU (</a:t>
                </a:r>
                <a:r>
                  <a:rPr lang="en-US" sz="1200" dirty="0">
                    <a:solidFill>
                      <a:srgbClr val="2846A8"/>
                    </a:solidFill>
                    <a:latin typeface="Cambria" panose="02040503050406030204" pitchFamily="18" charset="0"/>
                    <a:ea typeface="Cambria" panose="02040503050406030204" pitchFamily="18" charset="0"/>
                  </a:rPr>
                  <a:t>€11</a:t>
                </a:r>
                <a:r>
                  <a:rPr lang="en-US" sz="1200" dirty="0">
                    <a:solidFill>
                      <a:srgbClr val="2846A8"/>
                    </a:solidFill>
                    <a:latin typeface="Cambria" panose="02040503050406030204" pitchFamily="18" charset="0"/>
                  </a:rPr>
                  <a:t>)</a:t>
                </a:r>
              </a:p>
            </p:txBody>
          </p:sp>
          <p:sp>
            <p:nvSpPr>
              <p:cNvPr id="43" name="TextBox 42">
                <a:extLst>
                  <a:ext uri="{FF2B5EF4-FFF2-40B4-BE49-F238E27FC236}">
                    <a16:creationId xmlns:a16="http://schemas.microsoft.com/office/drawing/2014/main" id="{B70E333A-57F9-41CC-A0FC-106E1FD010F7}"/>
                  </a:ext>
                </a:extLst>
              </p:cNvPr>
              <p:cNvSpPr txBox="1"/>
              <p:nvPr/>
            </p:nvSpPr>
            <p:spPr>
              <a:xfrm>
                <a:off x="2729856" y="4138715"/>
                <a:ext cx="1292073" cy="369330"/>
              </a:xfrm>
              <a:prstGeom prst="rect">
                <a:avLst/>
              </a:prstGeom>
              <a:noFill/>
            </p:spPr>
            <p:txBody>
              <a:bodyPr wrap="square" rtlCol="0">
                <a:spAutoFit/>
              </a:bodyPr>
              <a:lstStyle/>
              <a:p>
                <a:pPr algn="ctr"/>
                <a:r>
                  <a:rPr lang="en-US" altLang="ko-KR" sz="1200" b="1" dirty="0">
                    <a:solidFill>
                      <a:srgbClr val="2846A8"/>
                    </a:solidFill>
                    <a:latin typeface="Cambria" panose="02040503050406030204" pitchFamily="18" charset="0"/>
                    <a:ea typeface="Cambria" panose="02040503050406030204" pitchFamily="18" charset="0"/>
                    <a:cs typeface="Arial" pitchFamily="34" charset="0"/>
                  </a:rPr>
                  <a:t>Hourly labor costs 2023</a:t>
                </a:r>
              </a:p>
            </p:txBody>
          </p:sp>
        </p:grpSp>
        <p:sp>
          <p:nvSpPr>
            <p:cNvPr id="41" name="TextBox 40"/>
            <p:cNvSpPr txBox="1"/>
            <p:nvPr/>
          </p:nvSpPr>
          <p:spPr>
            <a:xfrm>
              <a:off x="198199" y="3499368"/>
              <a:ext cx="1835623" cy="128818"/>
            </a:xfrm>
            <a:prstGeom prst="rect">
              <a:avLst/>
            </a:prstGeom>
            <a:noFill/>
            <a:ln w="9525">
              <a:noFill/>
            </a:ln>
          </p:spPr>
          <p:txBody>
            <a:bodyPr wrap="square" lIns="0" tIns="0" rIns="0" bIns="0" rtlCol="0">
              <a:spAutoFit/>
            </a:bodyPr>
            <a:lstStyle/>
            <a:p>
              <a:pPr algn="r">
                <a:lnSpc>
                  <a:spcPct val="93000"/>
                </a:lnSpc>
              </a:pPr>
              <a:r>
                <a:rPr lang="en-US" sz="900" b="0" dirty="0">
                  <a:solidFill>
                    <a:srgbClr val="2846A8"/>
                  </a:solidFill>
                  <a:latin typeface="Cambria" panose="02040503050406030204" pitchFamily="18" charset="0"/>
                  <a:cs typeface="Arial" pitchFamily="34" charset="0"/>
                </a:rPr>
                <a:t>(Source: </a:t>
              </a:r>
              <a:r>
                <a:rPr lang="en-US" sz="900" dirty="0">
                  <a:solidFill>
                    <a:srgbClr val="2846A8"/>
                  </a:solidFill>
                  <a:latin typeface="Cambria" panose="02040503050406030204" pitchFamily="18" charset="0"/>
                  <a:cs typeface="Arial" pitchFamily="34" charset="0"/>
                </a:rPr>
                <a:t>Eurostat, April 2024)</a:t>
              </a:r>
              <a:endParaRPr lang="en-US" sz="900" b="0" dirty="0">
                <a:solidFill>
                  <a:srgbClr val="2846A8"/>
                </a:solidFill>
                <a:latin typeface="Cambria" panose="02040503050406030204" pitchFamily="18" charset="0"/>
                <a:cs typeface="Arial" pitchFamily="34" charset="0"/>
              </a:endParaRPr>
            </a:p>
          </p:txBody>
        </p:sp>
      </p:grpSp>
      <p:cxnSp>
        <p:nvCxnSpPr>
          <p:cNvPr id="58" name="Straight Connector 57">
            <a:extLst>
              <a:ext uri="{FF2B5EF4-FFF2-40B4-BE49-F238E27FC236}">
                <a16:creationId xmlns:a16="http://schemas.microsoft.com/office/drawing/2014/main" id="{7ED90E28-FC0D-4C08-B0B7-5FE31526350E}"/>
              </a:ext>
            </a:extLst>
          </p:cNvPr>
          <p:cNvCxnSpPr>
            <a:cxnSpLocks/>
          </p:cNvCxnSpPr>
          <p:nvPr/>
        </p:nvCxnSpPr>
        <p:spPr>
          <a:xfrm>
            <a:off x="206054" y="2361479"/>
            <a:ext cx="8746877" cy="0"/>
          </a:xfrm>
          <a:prstGeom prst="line">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63" name="Group 262"/>
          <p:cNvGrpSpPr/>
          <p:nvPr/>
        </p:nvGrpSpPr>
        <p:grpSpPr>
          <a:xfrm>
            <a:off x="2546390" y="867778"/>
            <a:ext cx="2129969" cy="1814459"/>
            <a:chOff x="2242456" y="862866"/>
            <a:chExt cx="2129969" cy="1814459"/>
          </a:xfrm>
        </p:grpSpPr>
        <p:grpSp>
          <p:nvGrpSpPr>
            <p:cNvPr id="9" name="Group 8"/>
            <p:cNvGrpSpPr/>
            <p:nvPr/>
          </p:nvGrpSpPr>
          <p:grpSpPr>
            <a:xfrm>
              <a:off x="2242456" y="862866"/>
              <a:ext cx="2129969" cy="1113466"/>
              <a:chOff x="191071" y="2987104"/>
              <a:chExt cx="2010906" cy="1113466"/>
            </a:xfrm>
          </p:grpSpPr>
          <p:grpSp>
            <p:nvGrpSpPr>
              <p:cNvPr id="17" name="Group 16">
                <a:extLst>
                  <a:ext uri="{FF2B5EF4-FFF2-40B4-BE49-F238E27FC236}">
                    <a16:creationId xmlns:a16="http://schemas.microsoft.com/office/drawing/2014/main" id="{48631C38-7A82-4D3C-9290-6A79A423C0B7}"/>
                  </a:ext>
                </a:extLst>
              </p:cNvPr>
              <p:cNvGrpSpPr/>
              <p:nvPr/>
            </p:nvGrpSpPr>
            <p:grpSpPr>
              <a:xfrm>
                <a:off x="191071" y="2987104"/>
                <a:ext cx="2010906" cy="802339"/>
                <a:chOff x="2725124" y="4563427"/>
                <a:chExt cx="1335411" cy="1069781"/>
              </a:xfrm>
            </p:grpSpPr>
            <p:sp>
              <p:nvSpPr>
                <p:cNvPr id="18" name="TextBox 17">
                  <a:extLst>
                    <a:ext uri="{FF2B5EF4-FFF2-40B4-BE49-F238E27FC236}">
                      <a16:creationId xmlns:a16="http://schemas.microsoft.com/office/drawing/2014/main" id="{413C048C-B751-4E44-A67E-2B59BD55ED31}"/>
                    </a:ext>
                  </a:extLst>
                </p:cNvPr>
                <p:cNvSpPr txBox="1"/>
                <p:nvPr/>
              </p:nvSpPr>
              <p:spPr>
                <a:xfrm>
                  <a:off x="2725124" y="4805977"/>
                  <a:ext cx="1292072" cy="827231"/>
                </a:xfrm>
                <a:prstGeom prst="rect">
                  <a:avLst/>
                </a:prstGeom>
                <a:noFill/>
              </p:spPr>
              <p:txBody>
                <a:bodyPr wrap="square" rtlCol="0">
                  <a:spAutoFit/>
                </a:bodyPr>
                <a:lstStyle/>
                <a:p>
                  <a:pPr algn="ctr"/>
                  <a:r>
                    <a:rPr lang="en-US" sz="1200" dirty="0">
                      <a:solidFill>
                        <a:srgbClr val="2846A8"/>
                      </a:solidFill>
                      <a:latin typeface="Cambria" panose="02040503050406030204" pitchFamily="18" charset="0"/>
                    </a:rPr>
                    <a:t> # 1</a:t>
                  </a:r>
                  <a:r>
                    <a:rPr lang="ro-RO" sz="1200" dirty="0">
                      <a:solidFill>
                        <a:srgbClr val="2846A8"/>
                      </a:solidFill>
                      <a:latin typeface="Cambria" panose="02040503050406030204" pitchFamily="18" charset="0"/>
                    </a:rPr>
                    <a:t>0</a:t>
                  </a:r>
                  <a:r>
                    <a:rPr lang="en-US" sz="1200" dirty="0">
                      <a:solidFill>
                        <a:srgbClr val="2846A8"/>
                      </a:solidFill>
                      <a:latin typeface="Cambria" panose="02040503050406030204" pitchFamily="18" charset="0"/>
                    </a:rPr>
                    <a:t>/1</a:t>
                  </a:r>
                  <a:r>
                    <a:rPr lang="ro-RO" sz="1200" dirty="0">
                      <a:solidFill>
                        <a:srgbClr val="2846A8"/>
                      </a:solidFill>
                      <a:latin typeface="Cambria" panose="02040503050406030204" pitchFamily="18" charset="0"/>
                    </a:rPr>
                    <a:t>55</a:t>
                  </a:r>
                  <a:endParaRPr lang="en-US" sz="1200" dirty="0">
                    <a:solidFill>
                      <a:srgbClr val="2846A8"/>
                    </a:solidFill>
                    <a:latin typeface="Cambria" panose="02040503050406030204" pitchFamily="18" charset="0"/>
                  </a:endParaRPr>
                </a:p>
                <a:p>
                  <a:pPr algn="ctr">
                    <a:lnSpc>
                      <a:spcPct val="93000"/>
                    </a:lnSpc>
                  </a:pPr>
                  <a:r>
                    <a:rPr lang="en-US" sz="1200" b="1" dirty="0">
                      <a:solidFill>
                        <a:srgbClr val="2846A8"/>
                      </a:solidFill>
                      <a:latin typeface="Cambria" panose="02040503050406030204" pitchFamily="18" charset="0"/>
                    </a:rPr>
                    <a:t>23</a:t>
                  </a:r>
                  <a:r>
                    <a:rPr lang="ro-RO" sz="1200" b="1" dirty="0">
                      <a:solidFill>
                        <a:srgbClr val="2846A8"/>
                      </a:solidFill>
                      <a:latin typeface="Cambria" panose="02040503050406030204" pitchFamily="18" charset="0"/>
                    </a:rPr>
                    <a:t>5</a:t>
                  </a:r>
                  <a:r>
                    <a:rPr lang="en-US" sz="1200" b="1" dirty="0">
                      <a:solidFill>
                        <a:srgbClr val="2846A8"/>
                      </a:solidFill>
                      <a:latin typeface="Cambria" panose="02040503050406030204" pitchFamily="18" charset="0"/>
                    </a:rPr>
                    <a:t>.</a:t>
                  </a:r>
                  <a:r>
                    <a:rPr lang="ro-RO" sz="1200" b="1" dirty="0">
                      <a:solidFill>
                        <a:srgbClr val="2846A8"/>
                      </a:solidFill>
                      <a:latin typeface="Cambria" panose="02040503050406030204" pitchFamily="18" charset="0"/>
                    </a:rPr>
                    <a:t>12</a:t>
                  </a:r>
                  <a:r>
                    <a:rPr lang="en-US" sz="1200" b="1" dirty="0">
                      <a:solidFill>
                        <a:srgbClr val="2846A8"/>
                      </a:solidFill>
                      <a:latin typeface="Cambria" panose="02040503050406030204" pitchFamily="18" charset="0"/>
                    </a:rPr>
                    <a:t> Mbps for download</a:t>
                  </a:r>
                </a:p>
                <a:p>
                  <a:pPr algn="ctr">
                    <a:lnSpc>
                      <a:spcPct val="93000"/>
                    </a:lnSpc>
                  </a:pPr>
                  <a:r>
                    <a:rPr lang="en-US" sz="1200" b="1" dirty="0">
                      <a:solidFill>
                        <a:srgbClr val="2846A8"/>
                      </a:solidFill>
                      <a:latin typeface="Cambria" panose="02040503050406030204" pitchFamily="18" charset="0"/>
                    </a:rPr>
                    <a:t>1</a:t>
                  </a:r>
                  <a:r>
                    <a:rPr lang="ro-RO" sz="1200" b="1" dirty="0">
                      <a:solidFill>
                        <a:srgbClr val="2846A8"/>
                      </a:solidFill>
                      <a:latin typeface="Cambria" panose="02040503050406030204" pitchFamily="18" charset="0"/>
                    </a:rPr>
                    <a:t>55</a:t>
                  </a:r>
                  <a:r>
                    <a:rPr lang="en-US" sz="1200" b="1" dirty="0">
                      <a:solidFill>
                        <a:srgbClr val="2846A8"/>
                      </a:solidFill>
                      <a:latin typeface="Cambria" panose="02040503050406030204" pitchFamily="18" charset="0"/>
                    </a:rPr>
                    <a:t>.6</a:t>
                  </a:r>
                  <a:r>
                    <a:rPr lang="ro-RO" sz="1200" b="1" dirty="0">
                      <a:solidFill>
                        <a:srgbClr val="2846A8"/>
                      </a:solidFill>
                      <a:latin typeface="Cambria" panose="02040503050406030204" pitchFamily="18" charset="0"/>
                    </a:rPr>
                    <a:t>9</a:t>
                  </a:r>
                  <a:r>
                    <a:rPr lang="en-US" sz="1200" b="1" dirty="0">
                      <a:solidFill>
                        <a:srgbClr val="2846A8"/>
                      </a:solidFill>
                      <a:latin typeface="Cambria" panose="02040503050406030204" pitchFamily="18" charset="0"/>
                    </a:rPr>
                    <a:t> Mbps for upload</a:t>
                  </a:r>
                  <a:endParaRPr lang="ko-KR" altLang="en-US" sz="1200" b="1" dirty="0">
                    <a:solidFill>
                      <a:srgbClr val="2846A8"/>
                    </a:solidFill>
                    <a:cs typeface="Arial" pitchFamily="34" charset="0"/>
                  </a:endParaRPr>
                </a:p>
              </p:txBody>
            </p:sp>
            <p:sp>
              <p:nvSpPr>
                <p:cNvPr id="19" name="TextBox 18">
                  <a:extLst>
                    <a:ext uri="{FF2B5EF4-FFF2-40B4-BE49-F238E27FC236}">
                      <a16:creationId xmlns:a16="http://schemas.microsoft.com/office/drawing/2014/main" id="{B70E333A-57F9-41CC-A0FC-106E1FD010F7}"/>
                    </a:ext>
                  </a:extLst>
                </p:cNvPr>
                <p:cNvSpPr txBox="1"/>
                <p:nvPr/>
              </p:nvSpPr>
              <p:spPr>
                <a:xfrm>
                  <a:off x="2768463" y="4563427"/>
                  <a:ext cx="1292072" cy="369329"/>
                </a:xfrm>
                <a:prstGeom prst="rect">
                  <a:avLst/>
                </a:prstGeom>
                <a:noFill/>
              </p:spPr>
              <p:txBody>
                <a:bodyPr wrap="square" rtlCol="0">
                  <a:spAutoFit/>
                </a:bodyPr>
                <a:lstStyle/>
                <a:p>
                  <a:pPr algn="ctr"/>
                  <a:r>
                    <a:rPr lang="en-US" altLang="ko-KR" sz="1200" b="1" dirty="0">
                      <a:solidFill>
                        <a:srgbClr val="2846A8"/>
                      </a:solidFill>
                      <a:latin typeface="Cambria" panose="02040503050406030204" pitchFamily="18" charset="0"/>
                      <a:ea typeface="Cambria" panose="02040503050406030204" pitchFamily="18" charset="0"/>
                      <a:cs typeface="Arial" pitchFamily="34" charset="0"/>
                    </a:rPr>
                    <a:t>Fixed Broadband</a:t>
                  </a:r>
                </a:p>
              </p:txBody>
            </p:sp>
          </p:grpSp>
          <p:sp>
            <p:nvSpPr>
              <p:cNvPr id="37" name="TextBox 36"/>
              <p:cNvSpPr txBox="1"/>
              <p:nvPr/>
            </p:nvSpPr>
            <p:spPr>
              <a:xfrm>
                <a:off x="314739" y="3842935"/>
                <a:ext cx="1835623" cy="257635"/>
              </a:xfrm>
              <a:prstGeom prst="rect">
                <a:avLst/>
              </a:prstGeom>
              <a:noFill/>
              <a:ln w="9525">
                <a:noFill/>
              </a:ln>
            </p:spPr>
            <p:txBody>
              <a:bodyPr wrap="square" lIns="0" tIns="0" rIns="0" bIns="0" rtlCol="0">
                <a:spAutoFit/>
              </a:bodyPr>
              <a:lstStyle/>
              <a:p>
                <a:pPr algn="r">
                  <a:lnSpc>
                    <a:spcPct val="93000"/>
                  </a:lnSpc>
                </a:pPr>
                <a:r>
                  <a:rPr lang="en-US" sz="900" b="0" dirty="0">
                    <a:solidFill>
                      <a:srgbClr val="2846A8"/>
                    </a:solidFill>
                    <a:latin typeface="Cambria" panose="02040503050406030204" pitchFamily="18" charset="0"/>
                    <a:cs typeface="Arial" pitchFamily="34" charset="0"/>
                  </a:rPr>
                  <a:t>(Source: </a:t>
                </a:r>
                <a:r>
                  <a:rPr lang="en-US" sz="900" b="0" dirty="0" err="1">
                    <a:solidFill>
                      <a:srgbClr val="2846A8"/>
                    </a:solidFill>
                    <a:latin typeface="Cambria" panose="02040503050406030204" pitchFamily="18" charset="0"/>
                    <a:cs typeface="Arial" pitchFamily="34" charset="0"/>
                  </a:rPr>
                  <a:t>Speedtest</a:t>
                </a:r>
                <a:r>
                  <a:rPr lang="en-US" sz="900" b="0" dirty="0">
                    <a:solidFill>
                      <a:srgbClr val="2846A8"/>
                    </a:solidFill>
                    <a:latin typeface="Cambria" panose="02040503050406030204" pitchFamily="18" charset="0"/>
                    <a:cs typeface="Arial" pitchFamily="34" charset="0"/>
                  </a:rPr>
                  <a:t> Global Index, </a:t>
                </a:r>
                <a:endParaRPr lang="ro-RO" sz="900" b="0" dirty="0">
                  <a:solidFill>
                    <a:srgbClr val="2846A8"/>
                  </a:solidFill>
                  <a:latin typeface="Cambria" panose="02040503050406030204" pitchFamily="18" charset="0"/>
                  <a:cs typeface="Arial" pitchFamily="34" charset="0"/>
                </a:endParaRPr>
              </a:p>
              <a:p>
                <a:pPr algn="r">
                  <a:lnSpc>
                    <a:spcPct val="93000"/>
                  </a:lnSpc>
                </a:pPr>
                <a:r>
                  <a:rPr lang="ro-RO" sz="900" b="0" dirty="0">
                    <a:solidFill>
                      <a:srgbClr val="2846A8"/>
                    </a:solidFill>
                    <a:latin typeface="Cambria" panose="02040503050406030204" pitchFamily="18" charset="0"/>
                    <a:cs typeface="Arial" pitchFamily="34" charset="0"/>
                  </a:rPr>
                  <a:t>Jan.</a:t>
                </a:r>
                <a:r>
                  <a:rPr lang="en-US" sz="900" b="0" dirty="0">
                    <a:solidFill>
                      <a:srgbClr val="2846A8"/>
                    </a:solidFill>
                    <a:latin typeface="Cambria" panose="02040503050406030204" pitchFamily="18" charset="0"/>
                    <a:cs typeface="Arial" pitchFamily="34" charset="0"/>
                  </a:rPr>
                  <a:t> 202</a:t>
                </a:r>
                <a:r>
                  <a:rPr lang="ro-RO" sz="900" b="0" dirty="0">
                    <a:solidFill>
                      <a:srgbClr val="2846A8"/>
                    </a:solidFill>
                    <a:latin typeface="Cambria" panose="02040503050406030204" pitchFamily="18" charset="0"/>
                    <a:cs typeface="Arial" pitchFamily="34" charset="0"/>
                  </a:rPr>
                  <a:t>5</a:t>
                </a:r>
                <a:r>
                  <a:rPr lang="en-US" sz="900" b="0" dirty="0">
                    <a:solidFill>
                      <a:srgbClr val="2846A8"/>
                    </a:solidFill>
                    <a:latin typeface="Cambria" panose="02040503050406030204" pitchFamily="18" charset="0"/>
                    <a:cs typeface="Arial" pitchFamily="34" charset="0"/>
                  </a:rPr>
                  <a:t>)</a:t>
                </a:r>
              </a:p>
            </p:txBody>
          </p:sp>
        </p:grpSp>
        <p:grpSp>
          <p:nvGrpSpPr>
            <p:cNvPr id="261" name="Group 260"/>
            <p:cNvGrpSpPr/>
            <p:nvPr/>
          </p:nvGrpSpPr>
          <p:grpSpPr>
            <a:xfrm>
              <a:off x="2891412" y="1975270"/>
              <a:ext cx="702055" cy="702055"/>
              <a:chOff x="975468" y="1980182"/>
              <a:chExt cx="702055" cy="702055"/>
            </a:xfrm>
          </p:grpSpPr>
          <p:sp>
            <p:nvSpPr>
              <p:cNvPr id="29" name="Oval 28">
                <a:extLst>
                  <a:ext uri="{FF2B5EF4-FFF2-40B4-BE49-F238E27FC236}">
                    <a16:creationId xmlns:a16="http://schemas.microsoft.com/office/drawing/2014/main" id="{BB3EFA71-FC37-4413-B0E8-4A68570AB039}"/>
                  </a:ext>
                </a:extLst>
              </p:cNvPr>
              <p:cNvSpPr/>
              <p:nvPr/>
            </p:nvSpPr>
            <p:spPr>
              <a:xfrm>
                <a:off x="975468" y="1980182"/>
                <a:ext cx="702055" cy="702055"/>
              </a:xfrm>
              <a:prstGeom prst="ellipse">
                <a:avLst/>
              </a:prstGeom>
              <a:solidFill>
                <a:schemeClr val="bg1"/>
              </a:solidFill>
              <a:ln w="50800">
                <a:solidFill>
                  <a:srgbClr val="B07D7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pic>
            <p:nvPicPr>
              <p:cNvPr id="5" name="Picture 4"/>
              <p:cNvPicPr>
                <a:picLocks noChangeAspect="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125089" y="2135589"/>
                <a:ext cx="457200" cy="405035"/>
              </a:xfrm>
              <a:prstGeom prst="rect">
                <a:avLst/>
              </a:prstGeom>
            </p:spPr>
          </p:pic>
        </p:grpSp>
      </p:grpSp>
      <p:grpSp>
        <p:nvGrpSpPr>
          <p:cNvPr id="260" name="Group 259"/>
          <p:cNvGrpSpPr/>
          <p:nvPr/>
        </p:nvGrpSpPr>
        <p:grpSpPr>
          <a:xfrm>
            <a:off x="969691" y="1980182"/>
            <a:ext cx="702055" cy="702055"/>
            <a:chOff x="2943741" y="1980182"/>
            <a:chExt cx="702055" cy="702055"/>
          </a:xfrm>
        </p:grpSpPr>
        <p:sp>
          <p:nvSpPr>
            <p:cNvPr id="31" name="Oval 30">
              <a:extLst>
                <a:ext uri="{FF2B5EF4-FFF2-40B4-BE49-F238E27FC236}">
                  <a16:creationId xmlns:a16="http://schemas.microsoft.com/office/drawing/2014/main" id="{7329CB32-4788-48D1-A7E5-4863C663EC5B}"/>
                </a:ext>
              </a:extLst>
            </p:cNvPr>
            <p:cNvSpPr/>
            <p:nvPr/>
          </p:nvSpPr>
          <p:spPr>
            <a:xfrm>
              <a:off x="2943741" y="1980182"/>
              <a:ext cx="702055" cy="702055"/>
            </a:xfrm>
            <a:prstGeom prst="ellipse">
              <a:avLst/>
            </a:prstGeom>
            <a:solidFill>
              <a:srgbClr val="D7C394"/>
            </a:solidFill>
            <a:ln w="50800">
              <a:solidFill>
                <a:srgbClr val="D7C39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10" name="Rectangle 9"/>
            <p:cNvSpPr/>
            <p:nvPr/>
          </p:nvSpPr>
          <p:spPr>
            <a:xfrm>
              <a:off x="3041884" y="2021659"/>
              <a:ext cx="534708" cy="584775"/>
            </a:xfrm>
            <a:prstGeom prst="rect">
              <a:avLst/>
            </a:prstGeom>
            <a:ln>
              <a:noFill/>
            </a:ln>
          </p:spPr>
          <p:txBody>
            <a:bodyPr wrap="square">
              <a:spAutoFit/>
            </a:bodyPr>
            <a:lstStyle/>
            <a:p>
              <a:pPr algn="ctr"/>
              <a:r>
                <a:rPr lang="en-US" sz="3200" b="1" dirty="0">
                  <a:solidFill>
                    <a:srgbClr val="2846A8"/>
                  </a:solidFill>
                  <a:latin typeface="Cambria" panose="02040503050406030204" pitchFamily="18" charset="0"/>
                  <a:ea typeface="Cambria" panose="02040503050406030204" pitchFamily="18" charset="0"/>
                  <a:cs typeface="Arial" pitchFamily="34" charset="0"/>
                </a:rPr>
                <a:t>2</a:t>
              </a:r>
            </a:p>
          </p:txBody>
        </p:sp>
      </p:grpSp>
      <p:grpSp>
        <p:nvGrpSpPr>
          <p:cNvPr id="262" name="Group 261"/>
          <p:cNvGrpSpPr/>
          <p:nvPr/>
        </p:nvGrpSpPr>
        <p:grpSpPr>
          <a:xfrm>
            <a:off x="4811567" y="1980182"/>
            <a:ext cx="1835626" cy="2116557"/>
            <a:chOff x="4259673" y="1980182"/>
            <a:chExt cx="1835626" cy="2116557"/>
          </a:xfrm>
        </p:grpSpPr>
        <p:grpSp>
          <p:nvGrpSpPr>
            <p:cNvPr id="45" name="Group 44">
              <a:extLst>
                <a:ext uri="{FF2B5EF4-FFF2-40B4-BE49-F238E27FC236}">
                  <a16:creationId xmlns:a16="http://schemas.microsoft.com/office/drawing/2014/main" id="{48631C38-7A82-4D3C-9290-6A79A423C0B7}"/>
                </a:ext>
              </a:extLst>
            </p:cNvPr>
            <p:cNvGrpSpPr/>
            <p:nvPr/>
          </p:nvGrpSpPr>
          <p:grpSpPr>
            <a:xfrm>
              <a:off x="4259673" y="2663564"/>
              <a:ext cx="1835626" cy="1020361"/>
              <a:chOff x="2725123" y="4283314"/>
              <a:chExt cx="1292073" cy="1360481"/>
            </a:xfrm>
          </p:grpSpPr>
          <p:sp>
            <p:nvSpPr>
              <p:cNvPr id="47" name="TextBox 46">
                <a:extLst>
                  <a:ext uri="{FF2B5EF4-FFF2-40B4-BE49-F238E27FC236}">
                    <a16:creationId xmlns:a16="http://schemas.microsoft.com/office/drawing/2014/main" id="{413C048C-B751-4E44-A67E-2B59BD55ED31}"/>
                  </a:ext>
                </a:extLst>
              </p:cNvPr>
              <p:cNvSpPr txBox="1"/>
              <p:nvPr/>
            </p:nvSpPr>
            <p:spPr>
              <a:xfrm>
                <a:off x="2725124" y="4587609"/>
                <a:ext cx="1292072" cy="1056186"/>
              </a:xfrm>
              <a:prstGeom prst="rect">
                <a:avLst/>
              </a:prstGeom>
              <a:noFill/>
            </p:spPr>
            <p:txBody>
              <a:bodyPr wrap="square" rtlCol="0">
                <a:spAutoFit/>
              </a:bodyPr>
              <a:lstStyle/>
              <a:p>
                <a:pPr algn="ctr"/>
                <a:r>
                  <a:rPr lang="en-US" sz="1200" dirty="0">
                    <a:solidFill>
                      <a:srgbClr val="2846A8"/>
                    </a:solidFill>
                    <a:latin typeface="Cambria" panose="02040503050406030204" pitchFamily="18" charset="0"/>
                  </a:rPr>
                  <a:t>S</a:t>
                </a:r>
                <a:r>
                  <a:rPr lang="ro-RO" sz="1200" dirty="0">
                    <a:solidFill>
                      <a:srgbClr val="2846A8"/>
                    </a:solidFill>
                    <a:latin typeface="Cambria" panose="02040503050406030204" pitchFamily="18" charset="0"/>
                  </a:rPr>
                  <a:t>1</a:t>
                </a:r>
                <a:r>
                  <a:rPr lang="en-US" sz="1200" dirty="0">
                    <a:solidFill>
                      <a:srgbClr val="2846A8"/>
                    </a:solidFill>
                    <a:latin typeface="Cambria" panose="02040503050406030204" pitchFamily="18" charset="0"/>
                  </a:rPr>
                  <a:t> 202</a:t>
                </a:r>
                <a:r>
                  <a:rPr lang="ro-RO" sz="1200" dirty="0">
                    <a:solidFill>
                      <a:srgbClr val="2846A8"/>
                    </a:solidFill>
                    <a:latin typeface="Cambria" panose="02040503050406030204" pitchFamily="18" charset="0"/>
                  </a:rPr>
                  <a:t>4</a:t>
                </a:r>
                <a:r>
                  <a:rPr lang="en-US" sz="1200" dirty="0">
                    <a:solidFill>
                      <a:srgbClr val="2846A8"/>
                    </a:solidFill>
                    <a:latin typeface="Cambria" panose="02040503050406030204" pitchFamily="18" charset="0"/>
                  </a:rPr>
                  <a:t>*</a:t>
                </a:r>
              </a:p>
              <a:p>
                <a:pPr algn="ctr">
                  <a:lnSpc>
                    <a:spcPct val="93000"/>
                  </a:lnSpc>
                </a:pPr>
                <a:r>
                  <a:rPr lang="nn-NO" sz="1200" dirty="0">
                    <a:solidFill>
                      <a:srgbClr val="2846A8"/>
                    </a:solidFill>
                    <a:latin typeface="Cambria" panose="02040503050406030204" pitchFamily="18" charset="0"/>
                  </a:rPr>
                  <a:t>EU27 ranking</a:t>
                </a:r>
              </a:p>
              <a:p>
                <a:pPr algn="ctr">
                  <a:lnSpc>
                    <a:spcPct val="93000"/>
                  </a:lnSpc>
                </a:pPr>
                <a:r>
                  <a:rPr lang="nn-NO" sz="1200" dirty="0">
                    <a:solidFill>
                      <a:srgbClr val="2846A8"/>
                    </a:solidFill>
                    <a:latin typeface="Cambria" panose="02040503050406030204" pitchFamily="18" charset="0"/>
                  </a:rPr>
                  <a:t>#</a:t>
                </a:r>
                <a:r>
                  <a:rPr lang="ro-RO" sz="1200" dirty="0">
                    <a:solidFill>
                      <a:srgbClr val="2846A8"/>
                    </a:solidFill>
                    <a:latin typeface="Cambria" panose="02040503050406030204" pitchFamily="18" charset="0"/>
                  </a:rPr>
                  <a:t>6</a:t>
                </a:r>
                <a:endParaRPr lang="nn-NO" sz="1200" dirty="0">
                  <a:solidFill>
                    <a:srgbClr val="2846A8"/>
                  </a:solidFill>
                  <a:latin typeface="Cambria" panose="02040503050406030204" pitchFamily="18" charset="0"/>
                </a:endParaRPr>
              </a:p>
              <a:p>
                <a:pPr algn="ctr">
                  <a:lnSpc>
                    <a:spcPct val="93000"/>
                  </a:lnSpc>
                </a:pPr>
                <a:r>
                  <a:rPr lang="nn-NO" sz="1200" b="1" dirty="0">
                    <a:solidFill>
                      <a:srgbClr val="2846A8"/>
                    </a:solidFill>
                    <a:latin typeface="Cambria" panose="02040503050406030204" pitchFamily="18" charset="0"/>
                  </a:rPr>
                  <a:t>0.</a:t>
                </a:r>
                <a:r>
                  <a:rPr lang="ro-RO" sz="1200" b="1" dirty="0">
                    <a:solidFill>
                      <a:srgbClr val="2846A8"/>
                    </a:solidFill>
                    <a:latin typeface="Cambria" panose="02040503050406030204" pitchFamily="18" charset="0"/>
                  </a:rPr>
                  <a:t>0479 </a:t>
                </a:r>
                <a:r>
                  <a:rPr lang="nn-NO" sz="1200" b="1" dirty="0">
                    <a:solidFill>
                      <a:srgbClr val="2846A8"/>
                    </a:solidFill>
                    <a:latin typeface="Cambria" panose="02040503050406030204" pitchFamily="18" charset="0"/>
                  </a:rPr>
                  <a:t>€/KWh </a:t>
                </a:r>
              </a:p>
            </p:txBody>
          </p:sp>
          <p:sp>
            <p:nvSpPr>
              <p:cNvPr id="48" name="TextBox 47">
                <a:extLst>
                  <a:ext uri="{FF2B5EF4-FFF2-40B4-BE49-F238E27FC236}">
                    <a16:creationId xmlns:a16="http://schemas.microsoft.com/office/drawing/2014/main" id="{B70E333A-57F9-41CC-A0FC-106E1FD010F7}"/>
                  </a:ext>
                </a:extLst>
              </p:cNvPr>
              <p:cNvSpPr txBox="1"/>
              <p:nvPr/>
            </p:nvSpPr>
            <p:spPr>
              <a:xfrm>
                <a:off x="2725123" y="4283314"/>
                <a:ext cx="1292072" cy="369331"/>
              </a:xfrm>
              <a:prstGeom prst="rect">
                <a:avLst/>
              </a:prstGeom>
              <a:noFill/>
            </p:spPr>
            <p:txBody>
              <a:bodyPr wrap="square" rtlCol="0">
                <a:spAutoFit/>
              </a:bodyPr>
              <a:lstStyle/>
              <a:p>
                <a:pPr algn="ctr"/>
                <a:r>
                  <a:rPr lang="en-US" altLang="ko-KR" sz="1200" b="1" dirty="0">
                    <a:solidFill>
                      <a:srgbClr val="2846A8"/>
                    </a:solidFill>
                    <a:latin typeface="Cambria" panose="02040503050406030204" pitchFamily="18" charset="0"/>
                    <a:ea typeface="Cambria" panose="02040503050406030204" pitchFamily="18" charset="0"/>
                    <a:cs typeface="Arial" pitchFamily="34" charset="0"/>
                  </a:rPr>
                  <a:t>Natural gas prices</a:t>
                </a:r>
              </a:p>
            </p:txBody>
          </p:sp>
        </p:grpSp>
        <p:sp>
          <p:nvSpPr>
            <p:cNvPr id="46" name="TextBox 45"/>
            <p:cNvSpPr txBox="1"/>
            <p:nvPr/>
          </p:nvSpPr>
          <p:spPr>
            <a:xfrm>
              <a:off x="4259673" y="3967921"/>
              <a:ext cx="1832414" cy="128818"/>
            </a:xfrm>
            <a:prstGeom prst="rect">
              <a:avLst/>
            </a:prstGeom>
            <a:noFill/>
            <a:ln w="9525">
              <a:noFill/>
            </a:ln>
          </p:spPr>
          <p:txBody>
            <a:bodyPr wrap="square" lIns="0" tIns="0" rIns="0" bIns="0" rtlCol="0">
              <a:spAutoFit/>
            </a:bodyPr>
            <a:lstStyle/>
            <a:p>
              <a:pPr algn="r">
                <a:lnSpc>
                  <a:spcPct val="93000"/>
                </a:lnSpc>
              </a:pPr>
              <a:r>
                <a:rPr lang="en-US" sz="900" b="0" dirty="0">
                  <a:solidFill>
                    <a:srgbClr val="2846A8"/>
                  </a:solidFill>
                  <a:latin typeface="Cambria" panose="02040503050406030204" pitchFamily="18" charset="0"/>
                  <a:cs typeface="Arial" pitchFamily="34" charset="0"/>
                </a:rPr>
                <a:t>(Source: </a:t>
              </a:r>
              <a:r>
                <a:rPr lang="en-US" sz="900" dirty="0">
                  <a:solidFill>
                    <a:srgbClr val="2846A8"/>
                  </a:solidFill>
                  <a:latin typeface="Cambria" panose="02040503050406030204" pitchFamily="18" charset="0"/>
                  <a:cs typeface="Arial" pitchFamily="34" charset="0"/>
                </a:rPr>
                <a:t>Eurostat dataset, </a:t>
              </a:r>
              <a:r>
                <a:rPr lang="ro-RO" sz="900" dirty="0">
                  <a:solidFill>
                    <a:srgbClr val="2846A8"/>
                  </a:solidFill>
                  <a:latin typeface="Cambria" panose="02040503050406030204" pitchFamily="18" charset="0"/>
                  <a:cs typeface="Arial" pitchFamily="34" charset="0"/>
                </a:rPr>
                <a:t>Dec.</a:t>
              </a:r>
              <a:r>
                <a:rPr lang="en-US" sz="900" dirty="0">
                  <a:solidFill>
                    <a:srgbClr val="2846A8"/>
                  </a:solidFill>
                  <a:latin typeface="Cambria" panose="02040503050406030204" pitchFamily="18" charset="0"/>
                  <a:cs typeface="Arial" pitchFamily="34" charset="0"/>
                </a:rPr>
                <a:t> 2024)</a:t>
              </a:r>
              <a:endParaRPr lang="en-US" sz="900" b="0" dirty="0">
                <a:solidFill>
                  <a:srgbClr val="2846A8"/>
                </a:solidFill>
                <a:latin typeface="Cambria" panose="02040503050406030204" pitchFamily="18" charset="0"/>
                <a:cs typeface="Arial" pitchFamily="34" charset="0"/>
              </a:endParaRPr>
            </a:p>
          </p:txBody>
        </p:sp>
        <p:sp>
          <p:nvSpPr>
            <p:cNvPr id="54" name="TextBox 53"/>
            <p:cNvSpPr txBox="1"/>
            <p:nvPr/>
          </p:nvSpPr>
          <p:spPr>
            <a:xfrm>
              <a:off x="4259673" y="3674994"/>
              <a:ext cx="1832414" cy="257635"/>
            </a:xfrm>
            <a:prstGeom prst="rect">
              <a:avLst/>
            </a:prstGeom>
            <a:noFill/>
            <a:ln w="9525">
              <a:noFill/>
            </a:ln>
          </p:spPr>
          <p:txBody>
            <a:bodyPr wrap="square" lIns="0" tIns="0" rIns="0" bIns="0" rtlCol="0">
              <a:spAutoFit/>
            </a:bodyPr>
            <a:lstStyle/>
            <a:p>
              <a:pPr algn="r">
                <a:lnSpc>
                  <a:spcPct val="93000"/>
                </a:lnSpc>
              </a:pPr>
              <a:r>
                <a:rPr lang="en-US" sz="900" dirty="0">
                  <a:solidFill>
                    <a:srgbClr val="2846A8"/>
                  </a:solidFill>
                  <a:latin typeface="Cambria" panose="02040503050406030204" pitchFamily="18" charset="0"/>
                  <a:cs typeface="Arial" pitchFamily="34" charset="0"/>
                </a:rPr>
                <a:t>*Excluding VAT and other recoverable taxes and levies</a:t>
              </a:r>
            </a:p>
          </p:txBody>
        </p:sp>
        <p:sp>
          <p:nvSpPr>
            <p:cNvPr id="30" name="Oval 29">
              <a:extLst>
                <a:ext uri="{FF2B5EF4-FFF2-40B4-BE49-F238E27FC236}">
                  <a16:creationId xmlns:a16="http://schemas.microsoft.com/office/drawing/2014/main" id="{8D4A6193-179E-477B-A867-7D3F37B4EDE8}"/>
                </a:ext>
              </a:extLst>
            </p:cNvPr>
            <p:cNvSpPr/>
            <p:nvPr/>
          </p:nvSpPr>
          <p:spPr>
            <a:xfrm>
              <a:off x="4813134" y="1980182"/>
              <a:ext cx="702055" cy="702055"/>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w="508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264" name="Group 263"/>
          <p:cNvGrpSpPr/>
          <p:nvPr/>
        </p:nvGrpSpPr>
        <p:grpSpPr>
          <a:xfrm>
            <a:off x="6197252" y="530380"/>
            <a:ext cx="3108929" cy="2165280"/>
            <a:chOff x="6253956" y="574077"/>
            <a:chExt cx="3108929" cy="2138429"/>
          </a:xfrm>
        </p:grpSpPr>
        <p:sp>
          <p:nvSpPr>
            <p:cNvPr id="53" name="TextBox 52">
              <a:extLst>
                <a:ext uri="{FF2B5EF4-FFF2-40B4-BE49-F238E27FC236}">
                  <a16:creationId xmlns:a16="http://schemas.microsoft.com/office/drawing/2014/main" id="{B70E333A-57F9-41CC-A0FC-106E1FD010F7}"/>
                </a:ext>
              </a:extLst>
            </p:cNvPr>
            <p:cNvSpPr txBox="1"/>
            <p:nvPr/>
          </p:nvSpPr>
          <p:spPr>
            <a:xfrm>
              <a:off x="6253956" y="574077"/>
              <a:ext cx="3108929" cy="273564"/>
            </a:xfrm>
            <a:prstGeom prst="rect">
              <a:avLst/>
            </a:prstGeom>
            <a:noFill/>
          </p:spPr>
          <p:txBody>
            <a:bodyPr wrap="square" rtlCol="0">
              <a:spAutoFit/>
            </a:bodyPr>
            <a:lstStyle/>
            <a:p>
              <a:pPr algn="ctr"/>
              <a:r>
                <a:rPr lang="ro-RO" altLang="ko-KR" sz="1200" b="1" dirty="0">
                  <a:solidFill>
                    <a:srgbClr val="2846A8"/>
                  </a:solidFill>
                  <a:latin typeface="Cambria" panose="02040503050406030204" pitchFamily="18" charset="0"/>
                  <a:ea typeface="Cambria" panose="02040503050406030204" pitchFamily="18" charset="0"/>
                  <a:cs typeface="Arial" pitchFamily="34" charset="0"/>
                </a:rPr>
                <a:t>Electricity prices</a:t>
              </a:r>
            </a:p>
          </p:txBody>
        </p:sp>
        <p:sp>
          <p:nvSpPr>
            <p:cNvPr id="51" name="TextBox 50"/>
            <p:cNvSpPr txBox="1"/>
            <p:nvPr/>
          </p:nvSpPr>
          <p:spPr>
            <a:xfrm>
              <a:off x="6579040" y="1819444"/>
              <a:ext cx="2458763" cy="127220"/>
            </a:xfrm>
            <a:prstGeom prst="rect">
              <a:avLst/>
            </a:prstGeom>
            <a:noFill/>
            <a:ln w="9525">
              <a:noFill/>
            </a:ln>
          </p:spPr>
          <p:txBody>
            <a:bodyPr wrap="square" lIns="0" tIns="0" rIns="0" bIns="0" rtlCol="0">
              <a:spAutoFit/>
            </a:bodyPr>
            <a:lstStyle/>
            <a:p>
              <a:pPr algn="r">
                <a:lnSpc>
                  <a:spcPct val="93000"/>
                </a:lnSpc>
              </a:pPr>
              <a:r>
                <a:rPr lang="en-US" sz="900" dirty="0">
                  <a:solidFill>
                    <a:srgbClr val="2846A8"/>
                  </a:solidFill>
                  <a:latin typeface="Cambria" panose="02040503050406030204" pitchFamily="18" charset="0"/>
                  <a:cs typeface="Arial" pitchFamily="34" charset="0"/>
                </a:rPr>
                <a:t>(Source: Eurostat dataset, </a:t>
              </a:r>
              <a:r>
                <a:rPr lang="ro-RO" sz="900" dirty="0">
                  <a:solidFill>
                    <a:srgbClr val="2846A8"/>
                  </a:solidFill>
                  <a:latin typeface="Cambria" panose="02040503050406030204" pitchFamily="18" charset="0"/>
                  <a:cs typeface="Arial" pitchFamily="34" charset="0"/>
                </a:rPr>
                <a:t>Dec.</a:t>
              </a:r>
              <a:r>
                <a:rPr lang="en-US" sz="900" dirty="0">
                  <a:solidFill>
                    <a:srgbClr val="2846A8"/>
                  </a:solidFill>
                  <a:latin typeface="Cambria" panose="02040503050406030204" pitchFamily="18" charset="0"/>
                  <a:cs typeface="Arial" pitchFamily="34" charset="0"/>
                </a:rPr>
                <a:t> 2024)</a:t>
              </a:r>
              <a:endParaRPr lang="en-US" sz="900" b="0" dirty="0">
                <a:solidFill>
                  <a:srgbClr val="2846A8"/>
                </a:solidFill>
                <a:latin typeface="Cambria" panose="02040503050406030204" pitchFamily="18" charset="0"/>
                <a:cs typeface="Arial" pitchFamily="34" charset="0"/>
              </a:endParaRPr>
            </a:p>
          </p:txBody>
        </p:sp>
        <p:sp>
          <p:nvSpPr>
            <p:cNvPr id="28" name="Oval 27">
              <a:extLst>
                <a:ext uri="{FF2B5EF4-FFF2-40B4-BE49-F238E27FC236}">
                  <a16:creationId xmlns:a16="http://schemas.microsoft.com/office/drawing/2014/main" id="{40235C3E-4EE0-4B4E-BD4E-DF369BFCFEF6}"/>
                </a:ext>
              </a:extLst>
            </p:cNvPr>
            <p:cNvSpPr/>
            <p:nvPr/>
          </p:nvSpPr>
          <p:spPr>
            <a:xfrm>
              <a:off x="7482996" y="2005900"/>
              <a:ext cx="731520" cy="706606"/>
            </a:xfrm>
            <a:prstGeom prst="ellipse">
              <a:avLst/>
            </a:prstGeom>
            <a:blipFill>
              <a:blip r:embed="rId6"/>
              <a:stretch>
                <a:fillRect/>
              </a:stretch>
            </a:blipFill>
            <a:ln w="50800">
              <a:solidFill>
                <a:srgbClr val="0940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
        <p:nvSpPr>
          <p:cNvPr id="68" name="TextBox 67"/>
          <p:cNvSpPr txBox="1"/>
          <p:nvPr/>
        </p:nvSpPr>
        <p:spPr>
          <a:xfrm>
            <a:off x="136113" y="356375"/>
            <a:ext cx="1945171" cy="1200329"/>
          </a:xfrm>
          <a:prstGeom prst="rect">
            <a:avLst/>
          </a:prstGeom>
          <a:noFill/>
        </p:spPr>
        <p:txBody>
          <a:bodyPr wrap="square" rtlCol="0" anchor="ctr">
            <a:spAutoFit/>
          </a:bodyPr>
          <a:lstStyle/>
          <a:p>
            <a:r>
              <a:rPr lang="en-US" sz="2400" b="1" dirty="0">
                <a:solidFill>
                  <a:srgbClr val="2846A8"/>
                </a:solidFill>
                <a:latin typeface="Cambria" panose="02040503050406030204" pitchFamily="18" charset="0"/>
                <a:ea typeface="Cambria" panose="02040503050406030204" pitchFamily="18" charset="0"/>
              </a:rPr>
              <a:t>Romania</a:t>
            </a:r>
            <a:r>
              <a:rPr lang="ro-RO" sz="2400" b="1" dirty="0">
                <a:solidFill>
                  <a:srgbClr val="2846A8"/>
                </a:solidFill>
                <a:latin typeface="Cambria" panose="02040503050406030204" pitchFamily="18" charset="0"/>
                <a:ea typeface="Cambria" panose="02040503050406030204" pitchFamily="18" charset="0"/>
              </a:rPr>
              <a:t>,</a:t>
            </a:r>
            <a:endParaRPr lang="en-US" sz="2400" b="1" dirty="0">
              <a:solidFill>
                <a:srgbClr val="2846A8"/>
              </a:solidFill>
              <a:latin typeface="Cambria" panose="02040503050406030204" pitchFamily="18" charset="0"/>
              <a:ea typeface="Cambria" panose="02040503050406030204" pitchFamily="18" charset="0"/>
            </a:endParaRPr>
          </a:p>
          <a:p>
            <a:r>
              <a:rPr lang="en-US" sz="2400" b="1" dirty="0">
                <a:solidFill>
                  <a:srgbClr val="2846A8"/>
                </a:solidFill>
                <a:latin typeface="Cambria" panose="02040503050406030204" pitchFamily="18" charset="0"/>
                <a:ea typeface="Cambria" panose="02040503050406030204" pitchFamily="18" charset="0"/>
              </a:rPr>
              <a:t>competitive market</a:t>
            </a:r>
          </a:p>
        </p:txBody>
      </p:sp>
      <p:sp>
        <p:nvSpPr>
          <p:cNvPr id="69" name="Rectangle 68"/>
          <p:cNvSpPr/>
          <p:nvPr/>
        </p:nvSpPr>
        <p:spPr>
          <a:xfrm>
            <a:off x="6457823" y="731069"/>
            <a:ext cx="2587788" cy="1107996"/>
          </a:xfrm>
          <a:prstGeom prst="rect">
            <a:avLst/>
          </a:prstGeom>
          <a:ln w="12700">
            <a:noFill/>
          </a:ln>
        </p:spPr>
        <p:txBody>
          <a:bodyPr wrap="square">
            <a:spAutoFit/>
          </a:bodyPr>
          <a:lstStyle/>
          <a:p>
            <a:pPr algn="ctr"/>
            <a:r>
              <a:rPr lang="ro-RO" sz="1200">
                <a:solidFill>
                  <a:srgbClr val="2846A8"/>
                </a:solidFill>
                <a:latin typeface="Cambria" panose="02040503050406030204" pitchFamily="18" charset="0"/>
              </a:rPr>
              <a:t>S1 2024</a:t>
            </a:r>
            <a:r>
              <a:rPr lang="en-US" sz="1200">
                <a:solidFill>
                  <a:srgbClr val="2846A8"/>
                </a:solidFill>
                <a:latin typeface="Cambria" panose="02040503050406030204" pitchFamily="18" charset="0"/>
              </a:rPr>
              <a:t>*</a:t>
            </a:r>
            <a:endParaRPr lang="ro-RO" sz="1200" dirty="0">
              <a:solidFill>
                <a:srgbClr val="2846A8"/>
              </a:solidFill>
              <a:latin typeface="Cambria" panose="02040503050406030204" pitchFamily="18" charset="0"/>
            </a:endParaRPr>
          </a:p>
          <a:p>
            <a:pPr algn="ctr"/>
            <a:r>
              <a:rPr lang="ro-RO" sz="1200" dirty="0">
                <a:solidFill>
                  <a:srgbClr val="2846A8"/>
                </a:solidFill>
                <a:latin typeface="Cambria" panose="02040503050406030204" pitchFamily="18" charset="0"/>
              </a:rPr>
              <a:t>EU27 ranking</a:t>
            </a:r>
          </a:p>
          <a:p>
            <a:pPr algn="ctr"/>
            <a:r>
              <a:rPr lang="ro-RO" sz="1200" dirty="0">
                <a:solidFill>
                  <a:srgbClr val="2846A8"/>
                </a:solidFill>
                <a:latin typeface="Cambria" panose="02040503050406030204" pitchFamily="18" charset="0"/>
              </a:rPr>
              <a:t>#11</a:t>
            </a:r>
          </a:p>
          <a:p>
            <a:pPr algn="ctr"/>
            <a:r>
              <a:rPr lang="nn-NO" sz="1200" b="1" dirty="0">
                <a:solidFill>
                  <a:srgbClr val="2846A8"/>
                </a:solidFill>
                <a:latin typeface="Cambria" panose="02040503050406030204" pitchFamily="18" charset="0"/>
              </a:rPr>
              <a:t>0.</a:t>
            </a:r>
            <a:r>
              <a:rPr lang="ro-RO" sz="1200" b="1" dirty="0">
                <a:solidFill>
                  <a:srgbClr val="2846A8"/>
                </a:solidFill>
                <a:latin typeface="Cambria" panose="02040503050406030204" pitchFamily="18" charset="0"/>
              </a:rPr>
              <a:t>1599 </a:t>
            </a:r>
            <a:r>
              <a:rPr lang="nn-NO" sz="1200" b="1" dirty="0">
                <a:solidFill>
                  <a:srgbClr val="2846A8"/>
                </a:solidFill>
                <a:latin typeface="Cambria" panose="02040503050406030204" pitchFamily="18" charset="0"/>
              </a:rPr>
              <a:t>€/KWh </a:t>
            </a:r>
            <a:endParaRPr lang="ro-RO" sz="1200" dirty="0">
              <a:solidFill>
                <a:srgbClr val="2846A8"/>
              </a:solidFill>
              <a:latin typeface="Cambria" panose="02040503050406030204" pitchFamily="18" charset="0"/>
            </a:endParaRPr>
          </a:p>
          <a:p>
            <a:pPr algn="r"/>
            <a:r>
              <a:rPr lang="en-US" sz="900" dirty="0">
                <a:solidFill>
                  <a:srgbClr val="2846A8"/>
                </a:solidFill>
                <a:latin typeface="Cambria" panose="02040503050406030204" pitchFamily="18" charset="0"/>
                <a:cs typeface="Arial" pitchFamily="34" charset="0"/>
              </a:rPr>
              <a:t>*Excluding VAT and other</a:t>
            </a:r>
            <a:endParaRPr lang="ro-RO" sz="900" dirty="0">
              <a:solidFill>
                <a:srgbClr val="2846A8"/>
              </a:solidFill>
              <a:latin typeface="Cambria" panose="02040503050406030204" pitchFamily="18" charset="0"/>
              <a:cs typeface="Arial" pitchFamily="34" charset="0"/>
            </a:endParaRPr>
          </a:p>
          <a:p>
            <a:pPr algn="r"/>
            <a:r>
              <a:rPr lang="en-US" sz="900" dirty="0">
                <a:solidFill>
                  <a:srgbClr val="2846A8"/>
                </a:solidFill>
                <a:latin typeface="Cambria" panose="02040503050406030204" pitchFamily="18" charset="0"/>
                <a:cs typeface="Arial" pitchFamily="34" charset="0"/>
              </a:rPr>
              <a:t>recoverable taxes and levies</a:t>
            </a:r>
            <a:endParaRPr lang="en-US" sz="900" dirty="0">
              <a:solidFill>
                <a:srgbClr val="2846A8"/>
              </a:solidFill>
              <a:latin typeface="Cambria" panose="02040503050406030204" pitchFamily="18"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254177129"/>
              </p:ext>
            </p:extLst>
          </p:nvPr>
        </p:nvGraphicFramePr>
        <p:xfrm>
          <a:off x="1782450" y="1530411"/>
          <a:ext cx="6096000" cy="2311400"/>
        </p:xfrm>
        <a:graphic>
          <a:graphicData uri="http://schemas.openxmlformats.org/drawingml/2006/table">
            <a:tbl>
              <a:tblPr firstRow="1" bandRow="1">
                <a:tableStyleId>{2D5ABB26-0587-4C30-8999-92F81FD0307C}</a:tableStyleId>
              </a:tblPr>
              <a:tblGrid>
                <a:gridCol w="1820559">
                  <a:extLst>
                    <a:ext uri="{9D8B030D-6E8A-4147-A177-3AD203B41FA5}">
                      <a16:colId xmlns:a16="http://schemas.microsoft.com/office/drawing/2014/main" val="20000"/>
                    </a:ext>
                  </a:extLst>
                </a:gridCol>
                <a:gridCol w="1446663">
                  <a:extLst>
                    <a:ext uri="{9D8B030D-6E8A-4147-A177-3AD203B41FA5}">
                      <a16:colId xmlns:a16="http://schemas.microsoft.com/office/drawing/2014/main" val="20001"/>
                    </a:ext>
                  </a:extLst>
                </a:gridCol>
                <a:gridCol w="1405719">
                  <a:extLst>
                    <a:ext uri="{9D8B030D-6E8A-4147-A177-3AD203B41FA5}">
                      <a16:colId xmlns:a16="http://schemas.microsoft.com/office/drawing/2014/main" val="20002"/>
                    </a:ext>
                  </a:extLst>
                </a:gridCol>
                <a:gridCol w="1423059">
                  <a:extLst>
                    <a:ext uri="{9D8B030D-6E8A-4147-A177-3AD203B41FA5}">
                      <a16:colId xmlns:a16="http://schemas.microsoft.com/office/drawing/2014/main" val="20003"/>
                    </a:ext>
                  </a:extLst>
                </a:gridCol>
              </a:tblGrid>
              <a:tr h="370840">
                <a:tc>
                  <a:txBody>
                    <a:bodyPr/>
                    <a:lstStyle/>
                    <a:p>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dirty="0">
                          <a:solidFill>
                            <a:srgbClr val="2846A8"/>
                          </a:solidFill>
                          <a:latin typeface="Cambria" panose="02040503050406030204" pitchFamily="18" charset="0"/>
                          <a:cs typeface="Arial" pitchFamily="34" charset="0"/>
                        </a:rPr>
                        <a:t>BUCHAREST </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i="0" u="none" strike="noStrike" cap="none" dirty="0">
                          <a:solidFill>
                            <a:srgbClr val="2846A8"/>
                          </a:solidFill>
                          <a:latin typeface="Cambria" panose="02040503050406030204" pitchFamily="18" charset="0"/>
                          <a:ea typeface="+mn-ea"/>
                          <a:cs typeface="Arial" pitchFamily="34" charset="0"/>
                          <a:sym typeface="Arial"/>
                        </a:rPr>
                        <a:t>BERLIN</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i="0" u="none" strike="noStrike" cap="none" dirty="0">
                          <a:solidFill>
                            <a:srgbClr val="2846A8"/>
                          </a:solidFill>
                          <a:latin typeface="Cambria" panose="02040503050406030204" pitchFamily="18" charset="0"/>
                          <a:ea typeface="+mn-ea"/>
                          <a:cs typeface="Arial" pitchFamily="34" charset="0"/>
                          <a:sym typeface="Arial"/>
                        </a:rPr>
                        <a:t>LONDON</a:t>
                      </a:r>
                    </a:p>
                  </a:txBody>
                  <a:tcPr anchor="ctr">
                    <a:solidFill>
                      <a:srgbClr val="EDE1E2"/>
                    </a:solidFill>
                  </a:tcPr>
                </a:tc>
                <a:extLst>
                  <a:ext uri="{0D108BD9-81ED-4DB2-BD59-A6C34878D82A}">
                    <a16:rowId xmlns:a16="http://schemas.microsoft.com/office/drawing/2014/main" val="10000"/>
                  </a:ext>
                </a:extLst>
              </a:tr>
              <a:tr h="370840">
                <a:tc>
                  <a:txBody>
                    <a:bodyPr/>
                    <a:lstStyle/>
                    <a:p>
                      <a:r>
                        <a:rPr lang="en-US" sz="1200" b="1" dirty="0">
                          <a:solidFill>
                            <a:srgbClr val="2846A8"/>
                          </a:solidFill>
                          <a:latin typeface="Cambria" panose="02040503050406030204" pitchFamily="18" charset="0"/>
                          <a:ea typeface="Cambria" panose="02040503050406030204" pitchFamily="18" charset="0"/>
                        </a:rPr>
                        <a:t>Consumer Prices*</a:t>
                      </a:r>
                      <a:endParaRPr lang="en-US" b="1" dirty="0"/>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dirty="0">
                          <a:solidFill>
                            <a:srgbClr val="2846A8"/>
                          </a:solidFill>
                          <a:latin typeface="Cambria" panose="02040503050406030204" pitchFamily="18" charset="0"/>
                          <a:cs typeface="Arial" pitchFamily="34" charset="0"/>
                        </a:rPr>
                        <a:t>157</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201</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1"/>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Rent Price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b="0" i="0" u="none" strike="noStrike" cap="none" dirty="0">
                          <a:solidFill>
                            <a:srgbClr val="2846A8"/>
                          </a:solidFill>
                          <a:latin typeface="Cambria" panose="02040503050406030204" pitchFamily="18" charset="0"/>
                          <a:ea typeface="+mn-ea"/>
                          <a:cs typeface="Arial" pitchFamily="34" charset="0"/>
                          <a:sym typeface="Arial"/>
                        </a:rPr>
                        <a:t>226</a:t>
                      </a:r>
                      <a:endParaRPr lang="en-US" sz="1200" dirty="0">
                        <a:solidFill>
                          <a:srgbClr val="2846A8"/>
                        </a:solidFill>
                        <a:latin typeface="Cambria" panose="02040503050406030204" pitchFamily="18" charset="0"/>
                        <a:cs typeface="Arial"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485</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Restaurant Price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dirty="0">
                          <a:solidFill>
                            <a:srgbClr val="2846A8"/>
                          </a:solidFill>
                          <a:latin typeface="Cambria" panose="02040503050406030204" pitchFamily="18" charset="0"/>
                          <a:cs typeface="Arial" pitchFamily="34" charset="0"/>
                        </a:rPr>
                        <a:t>138</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81</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3"/>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Groceries Price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dirty="0">
                          <a:solidFill>
                            <a:srgbClr val="2846A8"/>
                          </a:solidFill>
                          <a:latin typeface="Cambria" panose="02040503050406030204" pitchFamily="18" charset="0"/>
                          <a:cs typeface="Arial" pitchFamily="34" charset="0"/>
                        </a:rPr>
                        <a:t>1</a:t>
                      </a:r>
                      <a:r>
                        <a:rPr lang="en-US" sz="1200" dirty="0">
                          <a:solidFill>
                            <a:srgbClr val="2846A8"/>
                          </a:solidFill>
                          <a:latin typeface="Cambria" panose="02040503050406030204" pitchFamily="18" charset="0"/>
                          <a:cs typeface="Arial" pitchFamily="34" charset="0"/>
                        </a:rPr>
                        <a:t>54</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16</a:t>
                      </a: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8</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4"/>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Standard of living equivalency net salary</a:t>
                      </a:r>
                      <a:endParaRPr lang="en-US" b="1" dirty="0"/>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3015</a:t>
                      </a:r>
                      <a:endPar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5296</a:t>
                      </a:r>
                      <a:endParaRPr lang="en-US" sz="1200" dirty="0">
                        <a:solidFill>
                          <a:srgbClr val="2846A8"/>
                        </a:solidFill>
                        <a:latin typeface="Cambria" panose="02040503050406030204" pitchFamily="18" charset="0"/>
                        <a:cs typeface="Arial"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7</a:t>
                      </a: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928</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5"/>
                  </a:ext>
                </a:extLst>
              </a:tr>
            </a:tbl>
          </a:graphicData>
        </a:graphic>
      </p:graphicFrame>
      <p:sp>
        <p:nvSpPr>
          <p:cNvPr id="40" name="Rectangle 39"/>
          <p:cNvSpPr/>
          <p:nvPr/>
        </p:nvSpPr>
        <p:spPr>
          <a:xfrm>
            <a:off x="1782450" y="4607927"/>
            <a:ext cx="5770875" cy="507831"/>
          </a:xfrm>
          <a:prstGeom prst="rect">
            <a:avLst/>
          </a:prstGeom>
        </p:spPr>
        <p:txBody>
          <a:bodyPr wrap="square">
            <a:spAutoFit/>
          </a:bodyPr>
          <a:lstStyle/>
          <a:p>
            <a:pPr algn="just"/>
            <a:r>
              <a:rPr lang="en-US" sz="900" dirty="0" err="1">
                <a:solidFill>
                  <a:srgbClr val="2846A8"/>
                </a:solidFill>
                <a:latin typeface="Cambria" panose="02040503050406030204" pitchFamily="18" charset="0"/>
                <a:ea typeface="Cambria" panose="02040503050406030204" pitchFamily="18" charset="0"/>
                <a:cs typeface="Arial" panose="020B0604020202020204" pitchFamily="34" charset="0"/>
              </a:rPr>
              <a:t>Numbeo</a:t>
            </a:r>
            <a:r>
              <a:rPr lang="en-US" sz="900" dirty="0">
                <a:solidFill>
                  <a:srgbClr val="2846A8"/>
                </a:solidFill>
                <a:latin typeface="Cambria" panose="02040503050406030204" pitchFamily="18" charset="0"/>
                <a:ea typeface="Cambria" panose="02040503050406030204" pitchFamily="18" charset="0"/>
                <a:cs typeface="Arial" panose="020B0604020202020204" pitchFamily="34" charset="0"/>
              </a:rPr>
              <a:t> is the world’s largest cost of living database. </a:t>
            </a:r>
            <a:r>
              <a:rPr lang="en-US" sz="900" dirty="0" err="1">
                <a:solidFill>
                  <a:srgbClr val="2846A8"/>
                </a:solidFill>
                <a:latin typeface="Cambria" panose="02040503050406030204" pitchFamily="18" charset="0"/>
                <a:ea typeface="Cambria" panose="02040503050406030204" pitchFamily="18" charset="0"/>
                <a:cs typeface="Arial" panose="020B0604020202020204" pitchFamily="34" charset="0"/>
              </a:rPr>
              <a:t>Numbeo</a:t>
            </a:r>
            <a:r>
              <a:rPr lang="en-US" sz="900" dirty="0">
                <a:solidFill>
                  <a:srgbClr val="2846A8"/>
                </a:solidFill>
                <a:latin typeface="Cambria" panose="02040503050406030204" pitchFamily="18" charset="0"/>
                <a:ea typeface="Cambria" panose="02040503050406030204" pitchFamily="18" charset="0"/>
                <a:cs typeface="Arial" panose="020B0604020202020204" pitchFamily="34" charset="0"/>
              </a:rPr>
              <a:t> is also a crowd-sourced global database of quality of life information including housing indicators, perceived crime rates and quality of healthcare, among many other statistics.</a:t>
            </a:r>
          </a:p>
        </p:txBody>
      </p:sp>
      <p:grpSp>
        <p:nvGrpSpPr>
          <p:cNvPr id="44" name="Google Shape;92;p7"/>
          <p:cNvGrpSpPr/>
          <p:nvPr/>
        </p:nvGrpSpPr>
        <p:grpSpPr>
          <a:xfrm>
            <a:off x="-1" y="0"/>
            <a:ext cx="257140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45"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200">
                <a:latin typeface="Cambria" panose="02040503050406030204" pitchFamily="18" charset="0"/>
                <a:ea typeface="Cambria" panose="02040503050406030204" pitchFamily="18" charset="0"/>
              </a:endParaRPr>
            </a:p>
          </p:txBody>
        </p:sp>
        <p:sp>
          <p:nvSpPr>
            <p:cNvPr id="46"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48" name="Google Shape;387;p31"/>
          <p:cNvSpPr txBox="1">
            <a:spLocks noGrp="1"/>
          </p:cNvSpPr>
          <p:nvPr>
            <p:ph type="title"/>
          </p:nvPr>
        </p:nvSpPr>
        <p:spPr>
          <a:xfrm>
            <a:off x="1782450" y="418115"/>
            <a:ext cx="6096000" cy="396300"/>
          </a:xfrm>
          <a:prstGeom prst="rect">
            <a:avLst/>
          </a:prstGeom>
        </p:spPr>
        <p:txBody>
          <a:bodyPr spcFirstLastPara="1" wrap="square" lIns="0" tIns="0" rIns="0" bIns="0" anchor="b" anchorCtr="0">
            <a:noAutofit/>
          </a:bodyPr>
          <a:lstStyle/>
          <a:p>
            <a:pPr lvl="0" algn="ctr"/>
            <a:r>
              <a:rPr lang="en-US" sz="2400" dirty="0">
                <a:solidFill>
                  <a:srgbClr val="2846A8"/>
                </a:solidFill>
                <a:latin typeface="Cambria" panose="02040503050406030204" pitchFamily="18" charset="0"/>
                <a:ea typeface="Cambria" panose="02040503050406030204" pitchFamily="18" charset="0"/>
              </a:rPr>
              <a:t>Value for money</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8450" y="64099"/>
            <a:ext cx="1188720" cy="266260"/>
          </a:xfrm>
          <a:prstGeom prst="rect">
            <a:avLst/>
          </a:prstGeom>
        </p:spPr>
      </p:pic>
      <p:sp>
        <p:nvSpPr>
          <p:cNvPr id="26" name="TextBox 25"/>
          <p:cNvSpPr txBox="1"/>
          <p:nvPr/>
        </p:nvSpPr>
        <p:spPr>
          <a:xfrm>
            <a:off x="1823944" y="4531276"/>
            <a:ext cx="2177143" cy="128818"/>
          </a:xfrm>
          <a:prstGeom prst="rect">
            <a:avLst/>
          </a:prstGeom>
          <a:noFill/>
          <a:ln w="9525">
            <a:noFill/>
          </a:ln>
        </p:spPr>
        <p:txBody>
          <a:bodyPr wrap="square" lIns="0" tIns="0" rIns="0" bIns="0" rtlCol="0">
            <a:spAutoFit/>
          </a:bodyPr>
          <a:lstStyle/>
          <a:p>
            <a:pPr>
              <a:lnSpc>
                <a:spcPct val="93000"/>
              </a:lnSpc>
            </a:pPr>
            <a:r>
              <a:rPr lang="en-US" sz="900" b="0" dirty="0">
                <a:solidFill>
                  <a:srgbClr val="2846A8"/>
                </a:solidFill>
                <a:latin typeface="Cambria" panose="02040503050406030204" pitchFamily="18" charset="0"/>
                <a:cs typeface="Arial" pitchFamily="34" charset="0"/>
              </a:rPr>
              <a:t>*without rent</a:t>
            </a:r>
            <a:endParaRPr lang="en-US" sz="900" b="0" dirty="0">
              <a:solidFill>
                <a:srgbClr val="2846A8"/>
              </a:solidFill>
              <a:latin typeface="+mn-lt"/>
              <a:cs typeface="Arial" pitchFamily="34" charset="0"/>
            </a:endParaRPr>
          </a:p>
        </p:txBody>
      </p:sp>
      <p:sp>
        <p:nvSpPr>
          <p:cNvPr id="30" name="TextBox 29"/>
          <p:cNvSpPr txBox="1"/>
          <p:nvPr/>
        </p:nvSpPr>
        <p:spPr>
          <a:xfrm>
            <a:off x="5503807" y="3997522"/>
            <a:ext cx="1991688" cy="128818"/>
          </a:xfrm>
          <a:prstGeom prst="rect">
            <a:avLst/>
          </a:prstGeom>
          <a:noFill/>
          <a:ln w="9525">
            <a:noFill/>
          </a:ln>
        </p:spPr>
        <p:txBody>
          <a:bodyPr wrap="square" lIns="0" tIns="0" rIns="0" bIns="0" rtlCol="0">
            <a:spAutoFit/>
          </a:bodyPr>
          <a:lstStyle/>
          <a:p>
            <a:pPr>
              <a:lnSpc>
                <a:spcPct val="93000"/>
              </a:lnSpc>
            </a:pPr>
            <a:r>
              <a:rPr lang="en-US" sz="900" b="0" dirty="0">
                <a:solidFill>
                  <a:srgbClr val="2846A8"/>
                </a:solidFill>
                <a:latin typeface="Cambria" panose="02040503050406030204" pitchFamily="18" charset="0"/>
                <a:cs typeface="Arial" pitchFamily="34" charset="0"/>
              </a:rPr>
              <a:t>(Source: Numbeo</a:t>
            </a:r>
            <a:r>
              <a:rPr lang="ro-RO" sz="900" b="0" dirty="0">
                <a:solidFill>
                  <a:srgbClr val="2846A8"/>
                </a:solidFill>
                <a:latin typeface="Cambria" panose="02040503050406030204" pitchFamily="18" charset="0"/>
                <a:cs typeface="Arial" pitchFamily="34" charset="0"/>
              </a:rPr>
              <a:t>,</a:t>
            </a:r>
            <a:r>
              <a:rPr lang="en-US" sz="900" b="0" dirty="0">
                <a:solidFill>
                  <a:srgbClr val="2846A8"/>
                </a:solidFill>
                <a:latin typeface="Cambria" panose="02040503050406030204" pitchFamily="18" charset="0"/>
                <a:cs typeface="Arial" pitchFamily="34" charset="0"/>
              </a:rPr>
              <a:t> January</a:t>
            </a:r>
            <a:r>
              <a:rPr lang="ro-RO" sz="900" dirty="0">
                <a:solidFill>
                  <a:srgbClr val="2846A8"/>
                </a:solidFill>
                <a:latin typeface="Cambria" panose="02040503050406030204" pitchFamily="18" charset="0"/>
                <a:cs typeface="Arial" pitchFamily="34" charset="0"/>
              </a:rPr>
              <a:t> 1</a:t>
            </a:r>
            <a:r>
              <a:rPr lang="en-US" sz="900" dirty="0">
                <a:solidFill>
                  <a:srgbClr val="2846A8"/>
                </a:solidFill>
                <a:latin typeface="Cambria" panose="02040503050406030204" pitchFamily="18" charset="0"/>
                <a:cs typeface="Arial" pitchFamily="34" charset="0"/>
              </a:rPr>
              <a:t>3</a:t>
            </a:r>
            <a:r>
              <a:rPr lang="ro-RO" sz="900" dirty="0">
                <a:solidFill>
                  <a:srgbClr val="2846A8"/>
                </a:solidFill>
                <a:latin typeface="Cambria" panose="02040503050406030204" pitchFamily="18" charset="0"/>
                <a:cs typeface="Arial" pitchFamily="34" charset="0"/>
              </a:rPr>
              <a:t>, </a:t>
            </a:r>
            <a:r>
              <a:rPr lang="en-US" sz="900" b="0" dirty="0">
                <a:solidFill>
                  <a:srgbClr val="2846A8"/>
                </a:solidFill>
                <a:latin typeface="Cambria" panose="02040503050406030204" pitchFamily="18" charset="0"/>
                <a:cs typeface="Arial" pitchFamily="34" charset="0"/>
              </a:rPr>
              <a:t>2025)</a:t>
            </a:r>
          </a:p>
        </p:txBody>
      </p:sp>
    </p:spTree>
    <p:extLst>
      <p:ext uri="{BB962C8B-B14F-4D97-AF65-F5344CB8AC3E}">
        <p14:creationId xmlns:p14="http://schemas.microsoft.com/office/powerpoint/2010/main" val="240419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1782450" y="4607927"/>
            <a:ext cx="5770875" cy="507831"/>
          </a:xfrm>
          <a:prstGeom prst="rect">
            <a:avLst/>
          </a:prstGeom>
        </p:spPr>
        <p:txBody>
          <a:bodyPr wrap="square">
            <a:spAutoFit/>
          </a:bodyPr>
          <a:lstStyle/>
          <a:p>
            <a:pPr algn="just"/>
            <a:r>
              <a:rPr lang="en-US" sz="900" dirty="0" err="1">
                <a:solidFill>
                  <a:srgbClr val="2846A8"/>
                </a:solidFill>
                <a:latin typeface="Cambria" panose="02040503050406030204" pitchFamily="18" charset="0"/>
                <a:ea typeface="Cambria" panose="02040503050406030204" pitchFamily="18" charset="0"/>
                <a:cs typeface="Arial" panose="020B0604020202020204" pitchFamily="34" charset="0"/>
              </a:rPr>
              <a:t>Numbeo</a:t>
            </a:r>
            <a:r>
              <a:rPr lang="en-US" sz="900" dirty="0">
                <a:solidFill>
                  <a:srgbClr val="2846A8"/>
                </a:solidFill>
                <a:latin typeface="Cambria" panose="02040503050406030204" pitchFamily="18" charset="0"/>
                <a:ea typeface="Cambria" panose="02040503050406030204" pitchFamily="18" charset="0"/>
                <a:cs typeface="Arial" panose="020B0604020202020204" pitchFamily="34" charset="0"/>
              </a:rPr>
              <a:t> is the world’s largest cost of living database. </a:t>
            </a:r>
            <a:r>
              <a:rPr lang="en-US" sz="900" dirty="0" err="1">
                <a:solidFill>
                  <a:srgbClr val="2846A8"/>
                </a:solidFill>
                <a:latin typeface="Cambria" panose="02040503050406030204" pitchFamily="18" charset="0"/>
                <a:ea typeface="Cambria" panose="02040503050406030204" pitchFamily="18" charset="0"/>
                <a:cs typeface="Arial" panose="020B0604020202020204" pitchFamily="34" charset="0"/>
              </a:rPr>
              <a:t>Numbeo</a:t>
            </a:r>
            <a:r>
              <a:rPr lang="en-US" sz="900" dirty="0">
                <a:solidFill>
                  <a:srgbClr val="2846A8"/>
                </a:solidFill>
                <a:latin typeface="Cambria" panose="02040503050406030204" pitchFamily="18" charset="0"/>
                <a:ea typeface="Cambria" panose="02040503050406030204" pitchFamily="18" charset="0"/>
                <a:cs typeface="Arial" panose="020B0604020202020204" pitchFamily="34" charset="0"/>
              </a:rPr>
              <a:t> is also a crowd-sourced global database of quality of life information including housing indicators, perceived crime rates and quality of healthcare, among many other statistics.</a:t>
            </a:r>
          </a:p>
        </p:txBody>
      </p:sp>
      <p:grpSp>
        <p:nvGrpSpPr>
          <p:cNvPr id="44" name="Google Shape;92;p7"/>
          <p:cNvGrpSpPr/>
          <p:nvPr/>
        </p:nvGrpSpPr>
        <p:grpSpPr>
          <a:xfrm>
            <a:off x="-1" y="0"/>
            <a:ext cx="257140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45"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200">
                <a:latin typeface="Cambria" panose="02040503050406030204" pitchFamily="18" charset="0"/>
                <a:ea typeface="Cambria" panose="02040503050406030204" pitchFamily="18" charset="0"/>
              </a:endParaRPr>
            </a:p>
          </p:txBody>
        </p:sp>
        <p:sp>
          <p:nvSpPr>
            <p:cNvPr id="46"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48" name="Google Shape;387;p31"/>
          <p:cNvSpPr txBox="1">
            <a:spLocks noGrp="1"/>
          </p:cNvSpPr>
          <p:nvPr>
            <p:ph type="title"/>
          </p:nvPr>
        </p:nvSpPr>
        <p:spPr>
          <a:xfrm>
            <a:off x="1782450" y="418115"/>
            <a:ext cx="6096000" cy="396300"/>
          </a:xfrm>
          <a:prstGeom prst="rect">
            <a:avLst/>
          </a:prstGeom>
        </p:spPr>
        <p:txBody>
          <a:bodyPr spcFirstLastPara="1" wrap="square" lIns="0" tIns="0" rIns="0" bIns="0" anchor="b" anchorCtr="0">
            <a:noAutofit/>
          </a:bodyPr>
          <a:lstStyle/>
          <a:p>
            <a:pPr lvl="0" algn="ctr"/>
            <a:r>
              <a:rPr lang="en-US" sz="2400" dirty="0">
                <a:solidFill>
                  <a:srgbClr val="2846A8"/>
                </a:solidFill>
                <a:latin typeface="Cambria" panose="02040503050406030204" pitchFamily="18" charset="0"/>
                <a:ea typeface="Cambria" panose="02040503050406030204" pitchFamily="18" charset="0"/>
              </a:rPr>
              <a:t>Value for money</a:t>
            </a:r>
          </a:p>
        </p:txBody>
      </p:sp>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8450" y="64099"/>
            <a:ext cx="1188720" cy="266260"/>
          </a:xfrm>
          <a:prstGeom prst="rect">
            <a:avLst/>
          </a:prstGeom>
        </p:spPr>
      </p:pic>
      <p:sp>
        <p:nvSpPr>
          <p:cNvPr id="26" name="TextBox 25"/>
          <p:cNvSpPr txBox="1"/>
          <p:nvPr/>
        </p:nvSpPr>
        <p:spPr>
          <a:xfrm>
            <a:off x="1823944" y="4531276"/>
            <a:ext cx="2177143" cy="128818"/>
          </a:xfrm>
          <a:prstGeom prst="rect">
            <a:avLst/>
          </a:prstGeom>
          <a:noFill/>
          <a:ln w="9525">
            <a:noFill/>
          </a:ln>
        </p:spPr>
        <p:txBody>
          <a:bodyPr wrap="square" lIns="0" tIns="0" rIns="0" bIns="0" rtlCol="0">
            <a:spAutoFit/>
          </a:bodyPr>
          <a:lstStyle/>
          <a:p>
            <a:pPr>
              <a:lnSpc>
                <a:spcPct val="93000"/>
              </a:lnSpc>
            </a:pPr>
            <a:r>
              <a:rPr lang="en-US" sz="900" b="0" dirty="0">
                <a:solidFill>
                  <a:srgbClr val="2846A8"/>
                </a:solidFill>
                <a:latin typeface="Cambria" panose="02040503050406030204" pitchFamily="18" charset="0"/>
                <a:cs typeface="Arial" pitchFamily="34" charset="0"/>
              </a:rPr>
              <a:t>*without rent</a:t>
            </a:r>
            <a:endParaRPr lang="en-US" sz="900" b="0" dirty="0">
              <a:solidFill>
                <a:srgbClr val="2846A8"/>
              </a:solidFill>
              <a:latin typeface="+mn-lt"/>
              <a:cs typeface="Arial" pitchFamily="34"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3209814170"/>
              </p:ext>
            </p:extLst>
          </p:nvPr>
        </p:nvGraphicFramePr>
        <p:xfrm>
          <a:off x="1782450" y="1530411"/>
          <a:ext cx="6096000" cy="2311400"/>
        </p:xfrm>
        <a:graphic>
          <a:graphicData uri="http://schemas.openxmlformats.org/drawingml/2006/table">
            <a:tbl>
              <a:tblPr firstRow="1" bandRow="1">
                <a:tableStyleId>{2D5ABB26-0587-4C30-8999-92F81FD0307C}</a:tableStyleId>
              </a:tblPr>
              <a:tblGrid>
                <a:gridCol w="1820559">
                  <a:extLst>
                    <a:ext uri="{9D8B030D-6E8A-4147-A177-3AD203B41FA5}">
                      <a16:colId xmlns:a16="http://schemas.microsoft.com/office/drawing/2014/main" val="20000"/>
                    </a:ext>
                  </a:extLst>
                </a:gridCol>
                <a:gridCol w="1446663">
                  <a:extLst>
                    <a:ext uri="{9D8B030D-6E8A-4147-A177-3AD203B41FA5}">
                      <a16:colId xmlns:a16="http://schemas.microsoft.com/office/drawing/2014/main" val="20001"/>
                    </a:ext>
                  </a:extLst>
                </a:gridCol>
                <a:gridCol w="1405719">
                  <a:extLst>
                    <a:ext uri="{9D8B030D-6E8A-4147-A177-3AD203B41FA5}">
                      <a16:colId xmlns:a16="http://schemas.microsoft.com/office/drawing/2014/main" val="20002"/>
                    </a:ext>
                  </a:extLst>
                </a:gridCol>
                <a:gridCol w="1423059">
                  <a:extLst>
                    <a:ext uri="{9D8B030D-6E8A-4147-A177-3AD203B41FA5}">
                      <a16:colId xmlns:a16="http://schemas.microsoft.com/office/drawing/2014/main" val="20003"/>
                    </a:ext>
                  </a:extLst>
                </a:gridCol>
              </a:tblGrid>
              <a:tr h="370840">
                <a:tc>
                  <a:txBody>
                    <a:bodyPr/>
                    <a:lstStyle/>
                    <a:p>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dirty="0">
                          <a:solidFill>
                            <a:srgbClr val="2846A8"/>
                          </a:solidFill>
                          <a:latin typeface="Cambria" panose="02040503050406030204" pitchFamily="18" charset="0"/>
                          <a:cs typeface="Arial" pitchFamily="34" charset="0"/>
                        </a:rPr>
                        <a:t>BUCHAREST </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i="0" u="none" strike="noStrike" cap="none" dirty="0">
                          <a:solidFill>
                            <a:srgbClr val="2846A8"/>
                          </a:solidFill>
                          <a:latin typeface="Cambria" panose="02040503050406030204" pitchFamily="18" charset="0"/>
                          <a:ea typeface="+mn-ea"/>
                          <a:cs typeface="Arial" pitchFamily="34" charset="0"/>
                          <a:sym typeface="Arial"/>
                        </a:rPr>
                        <a:t>PARI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300" b="1" i="0" u="none" strike="noStrike" cap="none" dirty="0">
                          <a:solidFill>
                            <a:srgbClr val="2846A8"/>
                          </a:solidFill>
                          <a:latin typeface="Cambria" panose="02040503050406030204" pitchFamily="18" charset="0"/>
                          <a:ea typeface="+mn-ea"/>
                          <a:cs typeface="Arial" pitchFamily="34" charset="0"/>
                          <a:sym typeface="Arial"/>
                        </a:rPr>
                        <a:t>BRUSSELS</a:t>
                      </a:r>
                    </a:p>
                  </a:txBody>
                  <a:tcPr anchor="ctr">
                    <a:solidFill>
                      <a:srgbClr val="EDE1E2"/>
                    </a:solidFill>
                  </a:tcPr>
                </a:tc>
                <a:extLst>
                  <a:ext uri="{0D108BD9-81ED-4DB2-BD59-A6C34878D82A}">
                    <a16:rowId xmlns:a16="http://schemas.microsoft.com/office/drawing/2014/main" val="10000"/>
                  </a:ext>
                </a:extLst>
              </a:tr>
              <a:tr h="370840">
                <a:tc>
                  <a:txBody>
                    <a:bodyPr/>
                    <a:lstStyle/>
                    <a:p>
                      <a:r>
                        <a:rPr lang="en-US" sz="1200" b="1" dirty="0">
                          <a:solidFill>
                            <a:srgbClr val="2846A8"/>
                          </a:solidFill>
                          <a:latin typeface="Cambria" panose="02040503050406030204" pitchFamily="18" charset="0"/>
                          <a:ea typeface="Cambria" panose="02040503050406030204" pitchFamily="18" charset="0"/>
                        </a:rPr>
                        <a:t>Consumer Prices*</a:t>
                      </a:r>
                      <a:endParaRPr lang="en-US" b="1" dirty="0"/>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dirty="0">
                          <a:solidFill>
                            <a:srgbClr val="2846A8"/>
                          </a:solidFill>
                          <a:latin typeface="Cambria" panose="02040503050406030204" pitchFamily="18" charset="0"/>
                          <a:cs typeface="Arial" pitchFamily="34" charset="0"/>
                        </a:rPr>
                        <a:t>179</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dirty="0">
                          <a:solidFill>
                            <a:srgbClr val="2846A8"/>
                          </a:solidFill>
                          <a:latin typeface="Cambria" panose="02040503050406030204" pitchFamily="18" charset="0"/>
                          <a:cs typeface="Arial" pitchFamily="34" charset="0"/>
                        </a:rPr>
                        <a:t>1</a:t>
                      </a:r>
                      <a:r>
                        <a:rPr lang="ro-RO" sz="1200" dirty="0">
                          <a:solidFill>
                            <a:srgbClr val="2846A8"/>
                          </a:solidFill>
                          <a:latin typeface="Cambria" panose="02040503050406030204" pitchFamily="18" charset="0"/>
                          <a:cs typeface="Arial" pitchFamily="34" charset="0"/>
                        </a:rPr>
                        <a:t>6</a:t>
                      </a:r>
                      <a:r>
                        <a:rPr lang="en-US" sz="1200" dirty="0">
                          <a:solidFill>
                            <a:srgbClr val="2846A8"/>
                          </a:solidFill>
                          <a:latin typeface="Cambria" panose="02040503050406030204" pitchFamily="18" charset="0"/>
                          <a:cs typeface="Arial" pitchFamily="34" charset="0"/>
                        </a:rPr>
                        <a:t>3</a:t>
                      </a:r>
                    </a:p>
                  </a:txBody>
                  <a:tcPr anchor="ctr"/>
                </a:tc>
                <a:extLst>
                  <a:ext uri="{0D108BD9-81ED-4DB2-BD59-A6C34878D82A}">
                    <a16:rowId xmlns:a16="http://schemas.microsoft.com/office/drawing/2014/main" val="10001"/>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Rent Price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278</a:t>
                      </a:r>
                      <a:endParaRPr lang="en-US" sz="1200" dirty="0">
                        <a:solidFill>
                          <a:srgbClr val="2846A8"/>
                        </a:solidFill>
                        <a:latin typeface="Cambria" panose="02040503050406030204" pitchFamily="18" charset="0"/>
                        <a:cs typeface="Arial"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b="0" i="0" u="none" strike="noStrike" cap="none" dirty="0">
                          <a:solidFill>
                            <a:srgbClr val="2846A8"/>
                          </a:solidFill>
                          <a:latin typeface="Cambria" panose="02040503050406030204" pitchFamily="18" charset="0"/>
                          <a:ea typeface="+mn-ea"/>
                          <a:cs typeface="Arial" pitchFamily="34" charset="0"/>
                          <a:sym typeface="Arial"/>
                        </a:rPr>
                        <a:t>212</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Restaurant Price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dirty="0">
                          <a:solidFill>
                            <a:srgbClr val="2846A8"/>
                          </a:solidFill>
                          <a:latin typeface="Cambria" panose="02040503050406030204" pitchFamily="18" charset="0"/>
                          <a:cs typeface="Arial" pitchFamily="34" charset="0"/>
                        </a:rPr>
                        <a:t>149</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b="0" i="0" u="none" strike="noStrike" cap="none" dirty="0">
                          <a:solidFill>
                            <a:srgbClr val="2846A8"/>
                          </a:solidFill>
                          <a:latin typeface="Cambria" panose="02040503050406030204" pitchFamily="18" charset="0"/>
                          <a:ea typeface="+mn-ea"/>
                          <a:cs typeface="Arial" pitchFamily="34" charset="0"/>
                          <a:sym typeface="Arial"/>
                        </a:rPr>
                        <a:t>166</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3"/>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Groceries Prices</a:t>
                      </a:r>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100</a:t>
                      </a: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mn-ea"/>
                          <a:cs typeface="Arial" pitchFamily="34" charset="0"/>
                          <a:sym typeface="Arial"/>
                        </a:rPr>
                        <a:t>19</a:t>
                      </a:r>
                      <a:r>
                        <a:rPr lang="en-US" sz="1200" b="0" i="0" u="none" strike="noStrike" cap="none" dirty="0">
                          <a:solidFill>
                            <a:srgbClr val="2846A8"/>
                          </a:solidFill>
                          <a:latin typeface="Cambria" panose="02040503050406030204" pitchFamily="18" charset="0"/>
                          <a:ea typeface="+mn-ea"/>
                          <a:cs typeface="Arial" pitchFamily="34" charset="0"/>
                          <a:sym typeface="Arial"/>
                        </a:rPr>
                        <a:t>6</a:t>
                      </a:r>
                      <a:endParaRPr lang="en-US" sz="1200" dirty="0">
                        <a:solidFill>
                          <a:srgbClr val="2846A8"/>
                        </a:solidFill>
                        <a:latin typeface="Cambria" panose="02040503050406030204" pitchFamily="18" charset="0"/>
                        <a:cs typeface="Arial"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en-US" sz="1200" dirty="0">
                          <a:solidFill>
                            <a:srgbClr val="2846A8"/>
                          </a:solidFill>
                          <a:latin typeface="Cambria" panose="02040503050406030204" pitchFamily="18" charset="0"/>
                          <a:cs typeface="Arial" pitchFamily="34" charset="0"/>
                        </a:rPr>
                        <a:t>1</a:t>
                      </a:r>
                      <a:r>
                        <a:rPr lang="ro-RO" sz="1200" dirty="0">
                          <a:solidFill>
                            <a:srgbClr val="2846A8"/>
                          </a:solidFill>
                          <a:latin typeface="Cambria" panose="02040503050406030204" pitchFamily="18" charset="0"/>
                          <a:cs typeface="Arial" pitchFamily="34" charset="0"/>
                        </a:rPr>
                        <a:t>6</a:t>
                      </a:r>
                      <a:r>
                        <a:rPr lang="en-US" sz="1200" dirty="0">
                          <a:solidFill>
                            <a:srgbClr val="2846A8"/>
                          </a:solidFill>
                          <a:latin typeface="Cambria" panose="02040503050406030204" pitchFamily="18" charset="0"/>
                          <a:cs typeface="Arial" pitchFamily="34" charset="0"/>
                        </a:rPr>
                        <a:t>7</a:t>
                      </a:r>
                    </a:p>
                  </a:txBody>
                  <a:tcPr anchor="ctr"/>
                </a:tc>
                <a:extLst>
                  <a:ext uri="{0D108BD9-81ED-4DB2-BD59-A6C34878D82A}">
                    <a16:rowId xmlns:a16="http://schemas.microsoft.com/office/drawing/2014/main" val="10004"/>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a:solidFill>
                            <a:srgbClr val="2846A8"/>
                          </a:solidFill>
                          <a:latin typeface="Cambria" panose="02040503050406030204" pitchFamily="18" charset="0"/>
                          <a:ea typeface="Cambria" panose="02040503050406030204" pitchFamily="18" charset="0"/>
                          <a:cs typeface="+mn-cs"/>
                          <a:sym typeface="Arial"/>
                        </a:rPr>
                        <a:t>Standard of living equivalency net salary</a:t>
                      </a:r>
                      <a:endParaRPr lang="en-US" b="1" dirty="0"/>
                    </a:p>
                  </a:txBody>
                  <a:tcPr anchor="ctr">
                    <a:solidFill>
                      <a:srgbClr val="EDE1E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3015</a:t>
                      </a:r>
                      <a:endPar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6</a:t>
                      </a: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055</a:t>
                      </a:r>
                      <a:endParaRPr lang="en-US" sz="1200" dirty="0">
                        <a:solidFill>
                          <a:srgbClr val="2846A8"/>
                        </a:solidFill>
                        <a:latin typeface="Cambria" panose="02040503050406030204" pitchFamily="18" charset="0"/>
                        <a:cs typeface="Arial"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a:t>
                      </a:r>
                      <a:r>
                        <a:rPr lang="ro-RO" sz="1200" b="0" i="0" u="none" strike="noStrike" cap="none" dirty="0">
                          <a:solidFill>
                            <a:srgbClr val="2846A8"/>
                          </a:solidFill>
                          <a:latin typeface="Cambria" panose="02040503050406030204" pitchFamily="18" charset="0"/>
                          <a:ea typeface="Cambria" panose="02040503050406030204" pitchFamily="18" charset="0"/>
                          <a:cs typeface="+mn-cs"/>
                          <a:sym typeface="Arial"/>
                        </a:rPr>
                        <a:t>52</a:t>
                      </a:r>
                      <a:r>
                        <a:rPr lang="en-US" sz="1200" b="0" i="0" u="none" strike="noStrike" cap="none" dirty="0">
                          <a:solidFill>
                            <a:srgbClr val="2846A8"/>
                          </a:solidFill>
                          <a:latin typeface="Cambria" panose="02040503050406030204" pitchFamily="18" charset="0"/>
                          <a:ea typeface="Cambria" panose="02040503050406030204" pitchFamily="18" charset="0"/>
                          <a:cs typeface="+mn-cs"/>
                          <a:sym typeface="Arial"/>
                        </a:rPr>
                        <a:t>29</a:t>
                      </a:r>
                      <a:endParaRPr lang="en-US" sz="1200" dirty="0">
                        <a:solidFill>
                          <a:srgbClr val="2846A8"/>
                        </a:solidFill>
                        <a:latin typeface="Cambria" panose="02040503050406030204" pitchFamily="18" charset="0"/>
                        <a:cs typeface="Arial" pitchFamily="34" charset="0"/>
                      </a:endParaRPr>
                    </a:p>
                  </a:txBody>
                  <a:tcPr anchor="ctr"/>
                </a:tc>
                <a:extLst>
                  <a:ext uri="{0D108BD9-81ED-4DB2-BD59-A6C34878D82A}">
                    <a16:rowId xmlns:a16="http://schemas.microsoft.com/office/drawing/2014/main" val="10005"/>
                  </a:ext>
                </a:extLst>
              </a:tr>
            </a:tbl>
          </a:graphicData>
        </a:graphic>
      </p:graphicFrame>
      <p:sp>
        <p:nvSpPr>
          <p:cNvPr id="14" name="TextBox 13"/>
          <p:cNvSpPr txBox="1"/>
          <p:nvPr/>
        </p:nvSpPr>
        <p:spPr>
          <a:xfrm>
            <a:off x="5503807" y="3997522"/>
            <a:ext cx="1991688" cy="128818"/>
          </a:xfrm>
          <a:prstGeom prst="rect">
            <a:avLst/>
          </a:prstGeom>
          <a:noFill/>
          <a:ln w="9525">
            <a:noFill/>
          </a:ln>
        </p:spPr>
        <p:txBody>
          <a:bodyPr wrap="square" lIns="0" tIns="0" rIns="0" bIns="0" rtlCol="0">
            <a:spAutoFit/>
          </a:bodyPr>
          <a:lstStyle/>
          <a:p>
            <a:pPr>
              <a:lnSpc>
                <a:spcPct val="93000"/>
              </a:lnSpc>
            </a:pPr>
            <a:r>
              <a:rPr lang="en-US" sz="900" b="0" dirty="0">
                <a:solidFill>
                  <a:srgbClr val="2846A8"/>
                </a:solidFill>
                <a:latin typeface="Cambria" panose="02040503050406030204" pitchFamily="18" charset="0"/>
                <a:cs typeface="Arial" pitchFamily="34" charset="0"/>
              </a:rPr>
              <a:t>(Source: Numbeo</a:t>
            </a:r>
            <a:r>
              <a:rPr lang="ro-RO" sz="900" b="0" dirty="0">
                <a:solidFill>
                  <a:srgbClr val="2846A8"/>
                </a:solidFill>
                <a:latin typeface="Cambria" panose="02040503050406030204" pitchFamily="18" charset="0"/>
                <a:cs typeface="Arial" pitchFamily="34" charset="0"/>
              </a:rPr>
              <a:t>,</a:t>
            </a:r>
            <a:r>
              <a:rPr lang="en-US" sz="900" b="0" dirty="0">
                <a:solidFill>
                  <a:srgbClr val="2846A8"/>
                </a:solidFill>
                <a:latin typeface="Cambria" panose="02040503050406030204" pitchFamily="18" charset="0"/>
                <a:cs typeface="Arial" pitchFamily="34" charset="0"/>
              </a:rPr>
              <a:t> January</a:t>
            </a:r>
            <a:r>
              <a:rPr lang="ro-RO" sz="900" dirty="0">
                <a:solidFill>
                  <a:srgbClr val="2846A8"/>
                </a:solidFill>
                <a:latin typeface="Cambria" panose="02040503050406030204" pitchFamily="18" charset="0"/>
                <a:cs typeface="Arial" pitchFamily="34" charset="0"/>
              </a:rPr>
              <a:t> 1</a:t>
            </a:r>
            <a:r>
              <a:rPr lang="en-US" sz="900" dirty="0">
                <a:solidFill>
                  <a:srgbClr val="2846A8"/>
                </a:solidFill>
                <a:latin typeface="Cambria" panose="02040503050406030204" pitchFamily="18" charset="0"/>
                <a:cs typeface="Arial" pitchFamily="34" charset="0"/>
              </a:rPr>
              <a:t>3</a:t>
            </a:r>
            <a:r>
              <a:rPr lang="ro-RO" sz="900" dirty="0">
                <a:solidFill>
                  <a:srgbClr val="2846A8"/>
                </a:solidFill>
                <a:latin typeface="Cambria" panose="02040503050406030204" pitchFamily="18" charset="0"/>
                <a:cs typeface="Arial" pitchFamily="34" charset="0"/>
              </a:rPr>
              <a:t>, </a:t>
            </a:r>
            <a:r>
              <a:rPr lang="en-US" sz="900" b="0" dirty="0">
                <a:solidFill>
                  <a:srgbClr val="2846A8"/>
                </a:solidFill>
                <a:latin typeface="Cambria" panose="02040503050406030204" pitchFamily="18" charset="0"/>
                <a:cs typeface="Arial" pitchFamily="34" charset="0"/>
              </a:rPr>
              <a:t>2025)</a:t>
            </a:r>
          </a:p>
        </p:txBody>
      </p:sp>
    </p:spTree>
    <p:extLst>
      <p:ext uri="{BB962C8B-B14F-4D97-AF65-F5344CB8AC3E}">
        <p14:creationId xmlns:p14="http://schemas.microsoft.com/office/powerpoint/2010/main" val="4268836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220"/>
        <p:cNvGrpSpPr/>
        <p:nvPr/>
      </p:nvGrpSpPr>
      <p:grpSpPr>
        <a:xfrm>
          <a:off x="0" y="0"/>
          <a:ext cx="0" cy="0"/>
          <a:chOff x="0" y="0"/>
          <a:chExt cx="0" cy="0"/>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23"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ro-RO" sz="2400" b="1" dirty="0">
                <a:solidFill>
                  <a:srgbClr val="2846A8"/>
                </a:solidFill>
                <a:latin typeface="Cambria" panose="02040503050406030204" pitchFamily="18" charset="0"/>
                <a:ea typeface="Cambria" panose="02040503050406030204" pitchFamily="18" charset="0"/>
              </a:rPr>
              <a:t>T</a:t>
            </a:r>
            <a:r>
              <a:rPr lang="en-US" sz="2400" b="1" dirty="0">
                <a:solidFill>
                  <a:srgbClr val="2846A8"/>
                </a:solidFill>
                <a:latin typeface="Cambria" panose="02040503050406030204" pitchFamily="18" charset="0"/>
                <a:ea typeface="Cambria" panose="02040503050406030204" pitchFamily="18" charset="0"/>
              </a:rPr>
              <a:t>ax system</a:t>
            </a:r>
          </a:p>
        </p:txBody>
      </p:sp>
      <p:sp>
        <p:nvSpPr>
          <p:cNvPr id="119" name="Snip and Round Single Corner Rectangle 118"/>
          <p:cNvSpPr/>
          <p:nvPr/>
        </p:nvSpPr>
        <p:spPr>
          <a:xfrm flipH="1">
            <a:off x="2354551" y="3814822"/>
            <a:ext cx="4434898" cy="1204547"/>
          </a:xfrm>
          <a:prstGeom prst="snip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2223A"/>
              </a:solidFill>
            </a:endParaRPr>
          </a:p>
        </p:txBody>
      </p:sp>
      <p:sp>
        <p:nvSpPr>
          <p:cNvPr id="63" name="TextBox 62">
            <a:extLst>
              <a:ext uri="{FF2B5EF4-FFF2-40B4-BE49-F238E27FC236}">
                <a16:creationId xmlns:a16="http://schemas.microsoft.com/office/drawing/2014/main" id="{F0B23CA1-F664-4600-BA95-38C40337229F}"/>
              </a:ext>
            </a:extLst>
          </p:cNvPr>
          <p:cNvSpPr txBox="1"/>
          <p:nvPr/>
        </p:nvSpPr>
        <p:spPr>
          <a:xfrm>
            <a:off x="740980" y="3767111"/>
            <a:ext cx="7662041" cy="950901"/>
          </a:xfrm>
          <a:prstGeom prst="rect">
            <a:avLst/>
          </a:prstGeom>
          <a:noFill/>
        </p:spPr>
        <p:txBody>
          <a:bodyPr wrap="square" rtlCol="0">
            <a:spAutoFit/>
          </a:bodyPr>
          <a:lstStyle/>
          <a:p>
            <a:pPr algn="just">
              <a:lnSpc>
                <a:spcPct val="93000"/>
              </a:lnSpc>
            </a:pPr>
            <a:r>
              <a:rPr lang="en-US" sz="1200" b="1" dirty="0">
                <a:solidFill>
                  <a:srgbClr val="2846A8"/>
                </a:solidFill>
                <a:latin typeface="Cambria" panose="02040503050406030204" pitchFamily="18" charset="0"/>
                <a:cs typeface="Arial" pitchFamily="34" charset="0"/>
              </a:rPr>
              <a:t>0% income tax </a:t>
            </a:r>
            <a:r>
              <a:rPr lang="en-US" sz="1200" dirty="0">
                <a:solidFill>
                  <a:srgbClr val="2846A8"/>
                </a:solidFill>
                <a:latin typeface="Cambria" panose="02040503050406030204" pitchFamily="18" charset="0"/>
                <a:cs typeface="Arial" pitchFamily="34" charset="0"/>
              </a:rPr>
              <a:t>for employers and employees that exclusively perform </a:t>
            </a:r>
            <a:r>
              <a:rPr lang="en-US" sz="1200" b="1" dirty="0">
                <a:solidFill>
                  <a:srgbClr val="2846A8"/>
                </a:solidFill>
                <a:latin typeface="Cambria" panose="02040503050406030204" pitchFamily="18" charset="0"/>
                <a:cs typeface="Arial" pitchFamily="34" charset="0"/>
              </a:rPr>
              <a:t>R&amp;D</a:t>
            </a:r>
            <a:r>
              <a:rPr lang="en-US" sz="1200" dirty="0">
                <a:solidFill>
                  <a:srgbClr val="2846A8"/>
                </a:solidFill>
                <a:latin typeface="Cambria" panose="02040503050406030204" pitchFamily="18" charset="0"/>
                <a:cs typeface="Arial" pitchFamily="34" charset="0"/>
              </a:rPr>
              <a:t> and innovation activities or related activities, 0% profit tax for the first 10 years of activity</a:t>
            </a:r>
          </a:p>
          <a:p>
            <a:pPr>
              <a:lnSpc>
                <a:spcPct val="93000"/>
              </a:lnSpc>
            </a:pPr>
            <a:r>
              <a:rPr lang="en-US" sz="1200" dirty="0">
                <a:solidFill>
                  <a:srgbClr val="2846A8"/>
                </a:solidFill>
                <a:latin typeface="Cambria" panose="02040503050406030204" pitchFamily="18" charset="0"/>
                <a:cs typeface="Arial" pitchFamily="34" charset="0"/>
              </a:rPr>
              <a:t>Specific deduction for R&amp;D eligible expenses:</a:t>
            </a:r>
          </a:p>
          <a:p>
            <a:pPr marL="169863" lvl="1">
              <a:lnSpc>
                <a:spcPct val="93000"/>
              </a:lnSpc>
            </a:pPr>
            <a:r>
              <a:rPr lang="en-US" sz="1200" dirty="0">
                <a:solidFill>
                  <a:srgbClr val="2846A8"/>
                </a:solidFill>
                <a:latin typeface="Cambria" panose="02040503050406030204" pitchFamily="18" charset="0"/>
                <a:cs typeface="Arial" pitchFamily="34" charset="0"/>
              </a:rPr>
              <a:t>- accelerated depreciation of R&amp;D equipment</a:t>
            </a:r>
          </a:p>
          <a:p>
            <a:pPr marL="169863" lvl="1">
              <a:lnSpc>
                <a:spcPct val="93000"/>
              </a:lnSpc>
            </a:pPr>
            <a:r>
              <a:rPr lang="en-US" sz="1200" dirty="0">
                <a:solidFill>
                  <a:srgbClr val="2846A8"/>
                </a:solidFill>
                <a:latin typeface="Cambria" panose="02040503050406030204" pitchFamily="18" charset="0"/>
                <a:cs typeface="Arial" pitchFamily="34" charset="0"/>
              </a:rPr>
              <a:t>- additional corporate tax deduction of 50% of the eligible expenditure for these activities </a:t>
            </a:r>
          </a:p>
        </p:txBody>
      </p:sp>
      <p:grpSp>
        <p:nvGrpSpPr>
          <p:cNvPr id="2" name="Group 1"/>
          <p:cNvGrpSpPr/>
          <p:nvPr/>
        </p:nvGrpSpPr>
        <p:grpSpPr>
          <a:xfrm>
            <a:off x="525331" y="1148038"/>
            <a:ext cx="8692431" cy="2620001"/>
            <a:chOff x="0" y="1148038"/>
            <a:chExt cx="8692431" cy="2620001"/>
          </a:xfrm>
        </p:grpSpPr>
        <p:sp>
          <p:nvSpPr>
            <p:cNvPr id="52" name="TextBox 51">
              <a:extLst>
                <a:ext uri="{FF2B5EF4-FFF2-40B4-BE49-F238E27FC236}">
                  <a16:creationId xmlns:a16="http://schemas.microsoft.com/office/drawing/2014/main" id="{8104F24E-BFFB-4BCC-9DB6-6CDEB9696882}"/>
                </a:ext>
              </a:extLst>
            </p:cNvPr>
            <p:cNvSpPr txBox="1"/>
            <p:nvPr/>
          </p:nvSpPr>
          <p:spPr>
            <a:xfrm>
              <a:off x="6713209" y="2933161"/>
              <a:ext cx="1979222" cy="276999"/>
            </a:xfrm>
            <a:prstGeom prst="rect">
              <a:avLst/>
            </a:prstGeom>
            <a:noFill/>
          </p:spPr>
          <p:txBody>
            <a:bodyPr wrap="square" lIns="108000" rIns="108000" rtlCol="0">
              <a:spAutoFit/>
            </a:bodyPr>
            <a:lstStyle/>
            <a:p>
              <a:pPr defTabSz="330200">
                <a:buSzPct val="100000"/>
              </a:pPr>
              <a:r>
                <a:rPr lang="en-US" altLang="de-DE" sz="1200" b="1" dirty="0">
                  <a:solidFill>
                    <a:srgbClr val="92223A"/>
                  </a:solidFill>
                  <a:latin typeface="Cambria" panose="02040503050406030204" pitchFamily="18" charset="0"/>
                </a:rPr>
                <a:t>Social Security</a:t>
              </a:r>
            </a:p>
          </p:txBody>
        </p:sp>
        <p:sp>
          <p:nvSpPr>
            <p:cNvPr id="4" name="TextBox 3"/>
            <p:cNvSpPr txBox="1"/>
            <p:nvPr/>
          </p:nvSpPr>
          <p:spPr>
            <a:xfrm>
              <a:off x="3209129" y="2233365"/>
              <a:ext cx="979887" cy="292388"/>
            </a:xfrm>
            <a:prstGeom prst="rect">
              <a:avLst/>
            </a:prstGeom>
            <a:noFill/>
          </p:spPr>
          <p:txBody>
            <a:bodyPr wrap="square" rtlCol="0">
              <a:spAutoFit/>
            </a:bodyPr>
            <a:lstStyle/>
            <a:p>
              <a:pPr algn="ctr"/>
              <a:r>
                <a:rPr lang="en-US" sz="1300" b="1" dirty="0">
                  <a:solidFill>
                    <a:srgbClr val="92223A"/>
                  </a:solidFill>
                  <a:latin typeface="Cambria" panose="02040503050406030204" pitchFamily="18" charset="0"/>
                  <a:ea typeface="Cambria" panose="02040503050406030204" pitchFamily="18" charset="0"/>
                </a:rPr>
                <a:t>Employer</a:t>
              </a:r>
              <a:endParaRPr lang="en-US" sz="1300" dirty="0">
                <a:solidFill>
                  <a:srgbClr val="92223A"/>
                </a:solidFill>
              </a:endParaRPr>
            </a:p>
          </p:txBody>
        </p:sp>
        <p:sp>
          <p:nvSpPr>
            <p:cNvPr id="97" name="TextBox 96"/>
            <p:cNvSpPr txBox="1"/>
            <p:nvPr/>
          </p:nvSpPr>
          <p:spPr>
            <a:xfrm>
              <a:off x="5125366" y="2235879"/>
              <a:ext cx="948671" cy="292388"/>
            </a:xfrm>
            <a:prstGeom prst="rect">
              <a:avLst/>
            </a:prstGeom>
            <a:noFill/>
          </p:spPr>
          <p:txBody>
            <a:bodyPr wrap="square" rtlCol="0">
              <a:spAutoFit/>
            </a:bodyPr>
            <a:lstStyle/>
            <a:p>
              <a:pPr algn="ctr"/>
              <a:r>
                <a:rPr lang="en-US" sz="1300" b="1" dirty="0" err="1">
                  <a:solidFill>
                    <a:srgbClr val="92223A"/>
                  </a:solidFill>
                  <a:latin typeface="Cambria" panose="02040503050406030204" pitchFamily="18" charset="0"/>
                  <a:ea typeface="Cambria" panose="02040503050406030204" pitchFamily="18" charset="0"/>
                </a:rPr>
                <a:t>Employe</a:t>
              </a:r>
              <a:r>
                <a:rPr lang="ro-RO" sz="1300" b="1" dirty="0">
                  <a:solidFill>
                    <a:srgbClr val="92223A"/>
                  </a:solidFill>
                  <a:latin typeface="Cambria" panose="02040503050406030204" pitchFamily="18" charset="0"/>
                  <a:ea typeface="Cambria" panose="02040503050406030204" pitchFamily="18" charset="0"/>
                </a:rPr>
                <a:t>e</a:t>
              </a:r>
              <a:endParaRPr lang="en-US" sz="1300" dirty="0">
                <a:solidFill>
                  <a:srgbClr val="92223A"/>
                </a:solidFill>
              </a:endParaRPr>
            </a:p>
          </p:txBody>
        </p:sp>
        <p:sp>
          <p:nvSpPr>
            <p:cNvPr id="98" name="Oval 97">
              <a:extLst>
                <a:ext uri="{FF2B5EF4-FFF2-40B4-BE49-F238E27FC236}">
                  <a16:creationId xmlns:a16="http://schemas.microsoft.com/office/drawing/2014/main" id="{773AA5A8-DEF7-431D-A337-6BC09AAF1464}"/>
                </a:ext>
              </a:extLst>
            </p:cNvPr>
            <p:cNvSpPr/>
            <p:nvPr/>
          </p:nvSpPr>
          <p:spPr>
            <a:xfrm>
              <a:off x="1760909" y="1498370"/>
              <a:ext cx="638313" cy="635400"/>
            </a:xfrm>
            <a:prstGeom prst="ellipse">
              <a:avLst/>
            </a:prstGeom>
            <a:noFill/>
            <a:ln w="38100">
              <a:solidFill>
                <a:srgbClr val="FF931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cs typeface="Arial" pitchFamily="34" charset="0"/>
              </a:endParaRPr>
            </a:p>
          </p:txBody>
        </p:sp>
        <p:sp>
          <p:nvSpPr>
            <p:cNvPr id="99" name="Oval 98">
              <a:extLst>
                <a:ext uri="{FF2B5EF4-FFF2-40B4-BE49-F238E27FC236}">
                  <a16:creationId xmlns:a16="http://schemas.microsoft.com/office/drawing/2014/main" id="{773AA5A8-DEF7-431D-A337-6BC09AAF1464}"/>
                </a:ext>
              </a:extLst>
            </p:cNvPr>
            <p:cNvSpPr/>
            <p:nvPr/>
          </p:nvSpPr>
          <p:spPr>
            <a:xfrm>
              <a:off x="1769256" y="2788425"/>
              <a:ext cx="638313" cy="635400"/>
            </a:xfrm>
            <a:prstGeom prst="ellipse">
              <a:avLst/>
            </a:prstGeom>
            <a:noFill/>
            <a:ln w="38100">
              <a:solidFill>
                <a:srgbClr val="FF931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cs typeface="Arial" pitchFamily="34" charset="0"/>
              </a:endParaRPr>
            </a:p>
          </p:txBody>
        </p:sp>
        <p:cxnSp>
          <p:nvCxnSpPr>
            <p:cNvPr id="100" name="Straight Connector 99">
              <a:extLst>
                <a:ext uri="{FF2B5EF4-FFF2-40B4-BE49-F238E27FC236}">
                  <a16:creationId xmlns:a16="http://schemas.microsoft.com/office/drawing/2014/main" id="{BA25D584-1664-4290-A5F1-B9978A43C269}"/>
                </a:ext>
              </a:extLst>
            </p:cNvPr>
            <p:cNvCxnSpPr/>
            <p:nvPr/>
          </p:nvCxnSpPr>
          <p:spPr>
            <a:xfrm flipH="1">
              <a:off x="2399222" y="2634417"/>
              <a:ext cx="828051" cy="328723"/>
            </a:xfrm>
            <a:prstGeom prst="line">
              <a:avLst/>
            </a:prstGeom>
            <a:ln w="38100">
              <a:solidFill>
                <a:srgbClr val="FF931D"/>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A25D584-1664-4290-A5F1-B9978A43C269}"/>
                </a:ext>
              </a:extLst>
            </p:cNvPr>
            <p:cNvCxnSpPr/>
            <p:nvPr/>
          </p:nvCxnSpPr>
          <p:spPr>
            <a:xfrm flipH="1" flipV="1">
              <a:off x="2399222" y="1952813"/>
              <a:ext cx="837357" cy="280608"/>
            </a:xfrm>
            <a:prstGeom prst="line">
              <a:avLst/>
            </a:prstGeom>
            <a:ln w="38100">
              <a:solidFill>
                <a:srgbClr val="FF931D"/>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1360D68A-C478-4F70-AB07-B026F79CBBFE}"/>
                </a:ext>
              </a:extLst>
            </p:cNvPr>
            <p:cNvSpPr txBox="1"/>
            <p:nvPr/>
          </p:nvSpPr>
          <p:spPr>
            <a:xfrm>
              <a:off x="0" y="1666874"/>
              <a:ext cx="1822384" cy="276999"/>
            </a:xfrm>
            <a:prstGeom prst="rect">
              <a:avLst/>
            </a:prstGeom>
            <a:noFill/>
          </p:spPr>
          <p:txBody>
            <a:bodyPr wrap="square" lIns="108000" rIns="108000" rtlCol="0">
              <a:spAutoFit/>
            </a:bodyPr>
            <a:lstStyle/>
            <a:p>
              <a:pPr algn="r"/>
              <a:r>
                <a:rPr lang="en-US" altLang="ko-KR" sz="1200" b="1" dirty="0">
                  <a:solidFill>
                    <a:srgbClr val="92223A"/>
                  </a:solidFill>
                  <a:latin typeface="Cambria" panose="02040503050406030204" pitchFamily="18" charset="0"/>
                  <a:ea typeface="Cambria" panose="02040503050406030204" pitchFamily="18" charset="0"/>
                  <a:cs typeface="Arial" pitchFamily="34" charset="0"/>
                </a:rPr>
                <a:t>Reinvested</a:t>
              </a:r>
              <a:r>
                <a:rPr lang="ro-RO" altLang="ko-KR" sz="1200" b="1" dirty="0">
                  <a:solidFill>
                    <a:srgbClr val="92223A"/>
                  </a:solidFill>
                  <a:latin typeface="Cambria" panose="02040503050406030204" pitchFamily="18" charset="0"/>
                  <a:ea typeface="Cambria" panose="02040503050406030204" pitchFamily="18" charset="0"/>
                  <a:cs typeface="Arial" pitchFamily="34" charset="0"/>
                </a:rPr>
                <a:t> </a:t>
              </a:r>
              <a:r>
                <a:rPr lang="en-US" altLang="ko-KR" sz="1200" b="1">
                  <a:solidFill>
                    <a:srgbClr val="92223A"/>
                  </a:solidFill>
                  <a:latin typeface="Cambria" panose="02040503050406030204" pitchFamily="18" charset="0"/>
                  <a:ea typeface="Cambria" panose="02040503050406030204" pitchFamily="18" charset="0"/>
                  <a:cs typeface="Arial" pitchFamily="34" charset="0"/>
                </a:rPr>
                <a:t>Profit </a:t>
              </a:r>
              <a:r>
                <a:rPr lang="en-US" altLang="ko-KR" sz="1200" b="1" dirty="0">
                  <a:solidFill>
                    <a:srgbClr val="92223A"/>
                  </a:solidFill>
                  <a:latin typeface="Cambria" panose="02040503050406030204" pitchFamily="18" charset="0"/>
                  <a:ea typeface="Cambria" panose="02040503050406030204" pitchFamily="18" charset="0"/>
                  <a:cs typeface="Arial" pitchFamily="34" charset="0"/>
                </a:rPr>
                <a:t>T</a:t>
              </a:r>
              <a:r>
                <a:rPr lang="en-US" altLang="ko-KR" sz="1200" b="1">
                  <a:solidFill>
                    <a:srgbClr val="92223A"/>
                  </a:solidFill>
                  <a:latin typeface="Cambria" panose="02040503050406030204" pitchFamily="18" charset="0"/>
                  <a:ea typeface="Cambria" panose="02040503050406030204" pitchFamily="18" charset="0"/>
                  <a:cs typeface="Arial" pitchFamily="34" charset="0"/>
                </a:rPr>
                <a:t>ax</a:t>
              </a:r>
              <a:endParaRPr lang="en-US" altLang="ko-KR" sz="1200" b="1" dirty="0">
                <a:solidFill>
                  <a:srgbClr val="92223A"/>
                </a:solidFill>
                <a:latin typeface="Cambria" panose="02040503050406030204" pitchFamily="18" charset="0"/>
                <a:ea typeface="Cambria" panose="02040503050406030204" pitchFamily="18" charset="0"/>
                <a:cs typeface="Arial" pitchFamily="34" charset="0"/>
              </a:endParaRPr>
            </a:p>
          </p:txBody>
        </p:sp>
        <p:sp>
          <p:nvSpPr>
            <p:cNvPr id="104" name="TextBox 103">
              <a:extLst>
                <a:ext uri="{FF2B5EF4-FFF2-40B4-BE49-F238E27FC236}">
                  <a16:creationId xmlns:a16="http://schemas.microsoft.com/office/drawing/2014/main" id="{1360D68A-C478-4F70-AB07-B026F79CBBFE}"/>
                </a:ext>
              </a:extLst>
            </p:cNvPr>
            <p:cNvSpPr txBox="1"/>
            <p:nvPr/>
          </p:nvSpPr>
          <p:spPr>
            <a:xfrm>
              <a:off x="571123" y="2955328"/>
              <a:ext cx="1282642" cy="276999"/>
            </a:xfrm>
            <a:prstGeom prst="rect">
              <a:avLst/>
            </a:prstGeom>
            <a:noFill/>
          </p:spPr>
          <p:txBody>
            <a:bodyPr wrap="square" lIns="108000" rIns="108000" rtlCol="0">
              <a:spAutoFit/>
            </a:bodyPr>
            <a:lstStyle/>
            <a:p>
              <a:pPr algn="ctr" defTabSz="330200">
                <a:buSzPct val="100000"/>
              </a:pPr>
              <a:r>
                <a:rPr lang="en-US" altLang="de-DE" sz="1200" b="1" dirty="0">
                  <a:solidFill>
                    <a:srgbClr val="92223A"/>
                  </a:solidFill>
                  <a:latin typeface="Cambria" panose="02040503050406030204" pitchFamily="18" charset="0"/>
                </a:rPr>
                <a:t>Social Security</a:t>
              </a:r>
            </a:p>
          </p:txBody>
        </p:sp>
        <p:sp>
          <p:nvSpPr>
            <p:cNvPr id="107" name="TextBox 106"/>
            <p:cNvSpPr txBox="1"/>
            <p:nvPr/>
          </p:nvSpPr>
          <p:spPr>
            <a:xfrm>
              <a:off x="2343616" y="1393241"/>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16%</a:t>
              </a:r>
              <a:endParaRPr lang="en-US" sz="1500" dirty="0">
                <a:solidFill>
                  <a:srgbClr val="92223A"/>
                </a:solidFill>
              </a:endParaRPr>
            </a:p>
          </p:txBody>
        </p:sp>
        <p:sp>
          <p:nvSpPr>
            <p:cNvPr id="108" name="TextBox 107"/>
            <p:cNvSpPr txBox="1"/>
            <p:nvPr/>
          </p:nvSpPr>
          <p:spPr>
            <a:xfrm>
              <a:off x="1616858" y="1643792"/>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0%</a:t>
              </a:r>
              <a:endParaRPr lang="en-US" sz="1500" dirty="0">
                <a:solidFill>
                  <a:srgbClr val="92223A"/>
                </a:solidFill>
              </a:endParaRPr>
            </a:p>
          </p:txBody>
        </p:sp>
        <p:sp>
          <p:nvSpPr>
            <p:cNvPr id="109" name="TextBox 108"/>
            <p:cNvSpPr txBox="1"/>
            <p:nvPr/>
          </p:nvSpPr>
          <p:spPr>
            <a:xfrm>
              <a:off x="1958797" y="2242759"/>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10%</a:t>
              </a:r>
              <a:endParaRPr lang="en-US" sz="1500" dirty="0">
                <a:solidFill>
                  <a:srgbClr val="92223A"/>
                </a:solidFill>
              </a:endParaRPr>
            </a:p>
          </p:txBody>
        </p:sp>
        <p:sp>
          <p:nvSpPr>
            <p:cNvPr id="110" name="TextBox 109"/>
            <p:cNvSpPr txBox="1"/>
            <p:nvPr/>
          </p:nvSpPr>
          <p:spPr>
            <a:xfrm>
              <a:off x="1631212" y="2952117"/>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2.25%</a:t>
              </a:r>
              <a:endParaRPr lang="en-US" sz="1500" dirty="0">
                <a:solidFill>
                  <a:srgbClr val="92223A"/>
                </a:solidFill>
              </a:endParaRPr>
            </a:p>
          </p:txBody>
        </p:sp>
        <p:sp>
          <p:nvSpPr>
            <p:cNvPr id="111" name="TextBox 110"/>
            <p:cNvSpPr txBox="1"/>
            <p:nvPr/>
          </p:nvSpPr>
          <p:spPr>
            <a:xfrm>
              <a:off x="2343616" y="3081199"/>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19%</a:t>
              </a:r>
              <a:endParaRPr lang="en-US" sz="1500" dirty="0">
                <a:solidFill>
                  <a:srgbClr val="92223A"/>
                </a:solidFill>
              </a:endParaRPr>
            </a:p>
          </p:txBody>
        </p:sp>
        <p:sp>
          <p:nvSpPr>
            <p:cNvPr id="113" name="TextBox 112"/>
            <p:cNvSpPr txBox="1"/>
            <p:nvPr/>
          </p:nvSpPr>
          <p:spPr>
            <a:xfrm>
              <a:off x="6021957" y="1381913"/>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10%</a:t>
              </a:r>
              <a:endParaRPr lang="en-US" sz="1500" dirty="0">
                <a:solidFill>
                  <a:srgbClr val="92223A"/>
                </a:solidFill>
              </a:endParaRPr>
            </a:p>
          </p:txBody>
        </p:sp>
        <p:sp>
          <p:nvSpPr>
            <p:cNvPr id="114" name="TextBox 113"/>
            <p:cNvSpPr txBox="1"/>
            <p:nvPr/>
          </p:nvSpPr>
          <p:spPr>
            <a:xfrm>
              <a:off x="6036463" y="3081199"/>
              <a:ext cx="914400" cy="323165"/>
            </a:xfrm>
            <a:prstGeom prst="rect">
              <a:avLst/>
            </a:prstGeom>
            <a:noFill/>
          </p:spPr>
          <p:txBody>
            <a:bodyPr wrap="square" rtlCol="0">
              <a:spAutoFit/>
            </a:bodyPr>
            <a:lstStyle/>
            <a:p>
              <a:pPr algn="ctr"/>
              <a:r>
                <a:rPr lang="ro-RO" sz="1500" b="1" dirty="0">
                  <a:solidFill>
                    <a:srgbClr val="92223A"/>
                  </a:solidFill>
                  <a:latin typeface="Cambria" panose="02040503050406030204" pitchFamily="18" charset="0"/>
                  <a:ea typeface="Cambria" panose="02040503050406030204" pitchFamily="18" charset="0"/>
                </a:rPr>
                <a:t>35%</a:t>
              </a:r>
              <a:endParaRPr lang="en-US" sz="1500" dirty="0">
                <a:solidFill>
                  <a:srgbClr val="92223A"/>
                </a:solidFill>
              </a:endParaRPr>
            </a:p>
          </p:txBody>
        </p:sp>
        <p:sp>
          <p:nvSpPr>
            <p:cNvPr id="25" name="Oval 24">
              <a:extLst>
                <a:ext uri="{FF2B5EF4-FFF2-40B4-BE49-F238E27FC236}">
                  <a16:creationId xmlns:a16="http://schemas.microsoft.com/office/drawing/2014/main" id="{6F0DC0B7-85AA-4BE5-ACE1-D31D3531CCC1}"/>
                </a:ext>
              </a:extLst>
            </p:cNvPr>
            <p:cNvSpPr/>
            <p:nvPr/>
          </p:nvSpPr>
          <p:spPr>
            <a:xfrm>
              <a:off x="3220444" y="1918694"/>
              <a:ext cx="968572" cy="964152"/>
            </a:xfrm>
            <a:prstGeom prst="ellipse">
              <a:avLst/>
            </a:prstGeom>
            <a:noFill/>
            <a:ln w="38100">
              <a:solidFill>
                <a:srgbClr val="FF931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92223A"/>
                </a:solidFill>
                <a:cs typeface="Arial" pitchFamily="34" charset="0"/>
              </a:endParaRPr>
            </a:p>
          </p:txBody>
        </p:sp>
        <p:sp>
          <p:nvSpPr>
            <p:cNvPr id="27" name="Oval 26">
              <a:extLst>
                <a:ext uri="{FF2B5EF4-FFF2-40B4-BE49-F238E27FC236}">
                  <a16:creationId xmlns:a16="http://schemas.microsoft.com/office/drawing/2014/main" id="{1C4F5E65-1C9F-4EEC-8B55-A00AD1833A4C}"/>
                </a:ext>
              </a:extLst>
            </p:cNvPr>
            <p:cNvSpPr/>
            <p:nvPr/>
          </p:nvSpPr>
          <p:spPr>
            <a:xfrm>
              <a:off x="2096841" y="2086952"/>
              <a:ext cx="638313" cy="635400"/>
            </a:xfrm>
            <a:prstGeom prst="ellipse">
              <a:avLst/>
            </a:prstGeom>
            <a:noFill/>
            <a:ln w="38100">
              <a:solidFill>
                <a:srgbClr val="FF931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92223A"/>
                </a:solidFill>
                <a:cs typeface="Arial" pitchFamily="34" charset="0"/>
              </a:endParaRPr>
            </a:p>
          </p:txBody>
        </p:sp>
        <p:sp>
          <p:nvSpPr>
            <p:cNvPr id="28" name="Oval 27">
              <a:extLst>
                <a:ext uri="{FF2B5EF4-FFF2-40B4-BE49-F238E27FC236}">
                  <a16:creationId xmlns:a16="http://schemas.microsoft.com/office/drawing/2014/main" id="{773AA5A8-DEF7-431D-A337-6BC09AAF1464}"/>
                </a:ext>
              </a:extLst>
            </p:cNvPr>
            <p:cNvSpPr/>
            <p:nvPr/>
          </p:nvSpPr>
          <p:spPr>
            <a:xfrm>
              <a:off x="2481660" y="1244882"/>
              <a:ext cx="638313" cy="635400"/>
            </a:xfrm>
            <a:prstGeom prst="ellipse">
              <a:avLst/>
            </a:prstGeom>
            <a:noFill/>
            <a:ln w="38100">
              <a:solidFill>
                <a:srgbClr val="FF931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92223A"/>
                </a:solidFill>
                <a:cs typeface="Arial" pitchFamily="34" charset="0"/>
              </a:endParaRPr>
            </a:p>
          </p:txBody>
        </p:sp>
        <p:sp>
          <p:nvSpPr>
            <p:cNvPr id="29" name="Oval 28">
              <a:extLst>
                <a:ext uri="{FF2B5EF4-FFF2-40B4-BE49-F238E27FC236}">
                  <a16:creationId xmlns:a16="http://schemas.microsoft.com/office/drawing/2014/main" id="{FE6574F6-EE91-47EE-B109-E3D3BA1DD3C2}"/>
                </a:ext>
              </a:extLst>
            </p:cNvPr>
            <p:cNvSpPr/>
            <p:nvPr/>
          </p:nvSpPr>
          <p:spPr>
            <a:xfrm>
              <a:off x="2481660" y="2929022"/>
              <a:ext cx="638313" cy="635400"/>
            </a:xfrm>
            <a:prstGeom prst="ellipse">
              <a:avLst/>
            </a:prstGeom>
            <a:noFill/>
            <a:ln w="38100">
              <a:solidFill>
                <a:srgbClr val="FF931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92223A"/>
                </a:solidFill>
                <a:cs typeface="Arial" pitchFamily="34" charset="0"/>
              </a:endParaRPr>
            </a:p>
          </p:txBody>
        </p:sp>
        <p:cxnSp>
          <p:nvCxnSpPr>
            <p:cNvPr id="30" name="Straight Connector 29">
              <a:extLst>
                <a:ext uri="{FF2B5EF4-FFF2-40B4-BE49-F238E27FC236}">
                  <a16:creationId xmlns:a16="http://schemas.microsoft.com/office/drawing/2014/main" id="{B4500236-17DB-46D0-9E44-762AE71C3375}"/>
                </a:ext>
              </a:extLst>
            </p:cNvPr>
            <p:cNvCxnSpPr>
              <a:stCxn id="25" idx="1"/>
              <a:endCxn id="28" idx="5"/>
            </p:cNvCxnSpPr>
            <p:nvPr/>
          </p:nvCxnSpPr>
          <p:spPr>
            <a:xfrm flipH="1" flipV="1">
              <a:off x="3026495" y="1787230"/>
              <a:ext cx="335793" cy="272661"/>
            </a:xfrm>
            <a:prstGeom prst="line">
              <a:avLst/>
            </a:prstGeom>
            <a:ln w="38100">
              <a:solidFill>
                <a:srgbClr val="FF931D"/>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A25D584-1664-4290-A5F1-B9978A43C269}"/>
                </a:ext>
              </a:extLst>
            </p:cNvPr>
            <p:cNvCxnSpPr>
              <a:stCxn id="25" idx="2"/>
              <a:endCxn id="27" idx="6"/>
            </p:cNvCxnSpPr>
            <p:nvPr/>
          </p:nvCxnSpPr>
          <p:spPr>
            <a:xfrm flipH="1">
              <a:off x="2735154" y="2400770"/>
              <a:ext cx="485289" cy="3882"/>
            </a:xfrm>
            <a:prstGeom prst="line">
              <a:avLst/>
            </a:prstGeom>
            <a:ln w="38100">
              <a:solidFill>
                <a:srgbClr val="FF931D"/>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744A533-5ED7-433D-A546-42B79B1087D0}"/>
                </a:ext>
              </a:extLst>
            </p:cNvPr>
            <p:cNvCxnSpPr>
              <a:stCxn id="25" idx="3"/>
              <a:endCxn id="29" idx="7"/>
            </p:cNvCxnSpPr>
            <p:nvPr/>
          </p:nvCxnSpPr>
          <p:spPr>
            <a:xfrm flipH="1">
              <a:off x="3026495" y="2741649"/>
              <a:ext cx="335793" cy="280425"/>
            </a:xfrm>
            <a:prstGeom prst="line">
              <a:avLst/>
            </a:prstGeom>
            <a:ln w="38100">
              <a:solidFill>
                <a:srgbClr val="FF931D"/>
              </a:solidFill>
              <a:tailEnd type="triangle"/>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F2A36087-C768-46FF-B415-A77C15ACCFBA}"/>
                </a:ext>
              </a:extLst>
            </p:cNvPr>
            <p:cNvSpPr/>
            <p:nvPr/>
          </p:nvSpPr>
          <p:spPr>
            <a:xfrm flipH="1">
              <a:off x="5105464" y="1922444"/>
              <a:ext cx="968573" cy="964152"/>
            </a:xfrm>
            <a:prstGeom prst="ellipse">
              <a:avLst/>
            </a:prstGeom>
            <a:noFill/>
            <a:ln w="38100">
              <a:solidFill>
                <a:srgbClr val="005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rgbClr val="92223A"/>
                </a:solidFill>
                <a:cs typeface="Arial" pitchFamily="34" charset="0"/>
              </a:endParaRPr>
            </a:p>
          </p:txBody>
        </p:sp>
        <p:sp>
          <p:nvSpPr>
            <p:cNvPr id="36" name="Oval 35">
              <a:extLst>
                <a:ext uri="{FF2B5EF4-FFF2-40B4-BE49-F238E27FC236}">
                  <a16:creationId xmlns:a16="http://schemas.microsoft.com/office/drawing/2014/main" id="{7F93C77B-743B-4270-8C51-91A0E12AF486}"/>
                </a:ext>
              </a:extLst>
            </p:cNvPr>
            <p:cNvSpPr/>
            <p:nvPr/>
          </p:nvSpPr>
          <p:spPr>
            <a:xfrm flipH="1">
              <a:off x="6174506" y="2932771"/>
              <a:ext cx="638314" cy="635400"/>
            </a:xfrm>
            <a:prstGeom prst="ellipse">
              <a:avLst/>
            </a:prstGeom>
            <a:noFill/>
            <a:ln w="38100">
              <a:solidFill>
                <a:srgbClr val="005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92223A"/>
                </a:solidFill>
                <a:cs typeface="Arial" pitchFamily="34" charset="0"/>
              </a:endParaRPr>
            </a:p>
          </p:txBody>
        </p:sp>
        <p:cxnSp>
          <p:nvCxnSpPr>
            <p:cNvPr id="37" name="Straight Connector 36">
              <a:extLst>
                <a:ext uri="{FF2B5EF4-FFF2-40B4-BE49-F238E27FC236}">
                  <a16:creationId xmlns:a16="http://schemas.microsoft.com/office/drawing/2014/main" id="{DF6953C4-7805-42DB-AEDB-081526A5B588}"/>
                </a:ext>
              </a:extLst>
            </p:cNvPr>
            <p:cNvCxnSpPr>
              <a:stCxn id="34" idx="1"/>
            </p:cNvCxnSpPr>
            <p:nvPr/>
          </p:nvCxnSpPr>
          <p:spPr>
            <a:xfrm flipV="1">
              <a:off x="5932192" y="1790980"/>
              <a:ext cx="335793" cy="272661"/>
            </a:xfrm>
            <a:prstGeom prst="line">
              <a:avLst/>
            </a:prstGeom>
            <a:ln w="38100">
              <a:solidFill>
                <a:srgbClr val="005400"/>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E86DCBF-1F4C-4F97-BAC3-7E9BFC6E50E8}"/>
                </a:ext>
              </a:extLst>
            </p:cNvPr>
            <p:cNvCxnSpPr>
              <a:stCxn id="34" idx="3"/>
              <a:endCxn id="36" idx="7"/>
            </p:cNvCxnSpPr>
            <p:nvPr/>
          </p:nvCxnSpPr>
          <p:spPr>
            <a:xfrm>
              <a:off x="5932192" y="2745398"/>
              <a:ext cx="335793" cy="280425"/>
            </a:xfrm>
            <a:prstGeom prst="line">
              <a:avLst/>
            </a:prstGeom>
            <a:ln w="38100">
              <a:solidFill>
                <a:srgbClr val="005400"/>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42F70D7C-7973-4D9B-9288-78574CF498C3}"/>
                </a:ext>
              </a:extLst>
            </p:cNvPr>
            <p:cNvSpPr/>
            <p:nvPr/>
          </p:nvSpPr>
          <p:spPr>
            <a:xfrm flipH="1">
              <a:off x="6163894" y="1241129"/>
              <a:ext cx="638314" cy="635400"/>
            </a:xfrm>
            <a:prstGeom prst="ellipse">
              <a:avLst/>
            </a:prstGeom>
            <a:noFill/>
            <a:ln w="38100">
              <a:solidFill>
                <a:srgbClr val="0054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rgbClr val="92223A"/>
                </a:solidFill>
                <a:cs typeface="Arial" pitchFamily="34" charset="0"/>
              </a:endParaRPr>
            </a:p>
          </p:txBody>
        </p:sp>
        <p:sp>
          <p:nvSpPr>
            <p:cNvPr id="43" name="Right Arrow 57">
              <a:extLst>
                <a:ext uri="{FF2B5EF4-FFF2-40B4-BE49-F238E27FC236}">
                  <a16:creationId xmlns:a16="http://schemas.microsoft.com/office/drawing/2014/main" id="{FC7EB4FB-DB23-418E-B73D-ABF3F22532D4}"/>
                </a:ext>
              </a:extLst>
            </p:cNvPr>
            <p:cNvSpPr/>
            <p:nvPr/>
          </p:nvSpPr>
          <p:spPr>
            <a:xfrm>
              <a:off x="4560420" y="2492068"/>
              <a:ext cx="472068" cy="416588"/>
            </a:xfrm>
            <a:prstGeom prst="rightArrow">
              <a:avLst/>
            </a:prstGeom>
            <a:solidFill>
              <a:schemeClr val="bg1"/>
            </a:solidFill>
            <a:ln w="38100">
              <a:solidFill>
                <a:srgbClr val="FF9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solidFill>
                  <a:srgbClr val="92223A"/>
                </a:solidFill>
              </a:endParaRPr>
            </a:p>
          </p:txBody>
        </p:sp>
        <p:sp>
          <p:nvSpPr>
            <p:cNvPr id="46" name="TextBox 45">
              <a:extLst>
                <a:ext uri="{FF2B5EF4-FFF2-40B4-BE49-F238E27FC236}">
                  <a16:creationId xmlns:a16="http://schemas.microsoft.com/office/drawing/2014/main" id="{C2A7911E-2133-4F60-B6A3-71CCCA6698BF}"/>
                </a:ext>
              </a:extLst>
            </p:cNvPr>
            <p:cNvSpPr txBox="1"/>
            <p:nvPr/>
          </p:nvSpPr>
          <p:spPr>
            <a:xfrm>
              <a:off x="6681901" y="1148038"/>
              <a:ext cx="1595614" cy="276999"/>
            </a:xfrm>
            <a:prstGeom prst="rect">
              <a:avLst/>
            </a:prstGeom>
            <a:noFill/>
          </p:spPr>
          <p:txBody>
            <a:bodyPr wrap="square" lIns="108000" rIns="108000" rtlCol="0">
              <a:spAutoFit/>
            </a:bodyPr>
            <a:lstStyle/>
            <a:p>
              <a:r>
                <a:rPr lang="en-US" altLang="ko-KR" sz="1200" b="1" dirty="0">
                  <a:solidFill>
                    <a:srgbClr val="92223A"/>
                  </a:solidFill>
                  <a:latin typeface="Cambria" panose="02040503050406030204" pitchFamily="18" charset="0"/>
                  <a:ea typeface="Cambria" panose="02040503050406030204" pitchFamily="18" charset="0"/>
                  <a:cs typeface="Arial" pitchFamily="34" charset="0"/>
                </a:rPr>
                <a:t>Income Tax</a:t>
              </a:r>
            </a:p>
          </p:txBody>
        </p:sp>
        <p:sp>
          <p:nvSpPr>
            <p:cNvPr id="55" name="TextBox 54">
              <a:extLst>
                <a:ext uri="{FF2B5EF4-FFF2-40B4-BE49-F238E27FC236}">
                  <a16:creationId xmlns:a16="http://schemas.microsoft.com/office/drawing/2014/main" id="{1360D68A-C478-4F70-AB07-B026F79CBBFE}"/>
                </a:ext>
              </a:extLst>
            </p:cNvPr>
            <p:cNvSpPr txBox="1"/>
            <p:nvPr/>
          </p:nvSpPr>
          <p:spPr>
            <a:xfrm>
              <a:off x="104897" y="1149350"/>
              <a:ext cx="2497069" cy="276999"/>
            </a:xfrm>
            <a:prstGeom prst="rect">
              <a:avLst/>
            </a:prstGeom>
            <a:noFill/>
          </p:spPr>
          <p:txBody>
            <a:bodyPr wrap="square" lIns="108000" rIns="108000" rtlCol="0">
              <a:spAutoFit/>
            </a:bodyPr>
            <a:lstStyle/>
            <a:p>
              <a:pPr algn="r"/>
              <a:r>
                <a:rPr lang="ro-RO" altLang="ko-KR" sz="1200" b="1" dirty="0">
                  <a:solidFill>
                    <a:srgbClr val="92223A"/>
                  </a:solidFill>
                  <a:latin typeface="Cambria" panose="02040503050406030204" pitchFamily="18" charset="0"/>
                  <a:ea typeface="Cambria" panose="02040503050406030204" pitchFamily="18" charset="0"/>
                  <a:cs typeface="Arial" pitchFamily="34" charset="0"/>
                </a:rPr>
                <a:t>Standard </a:t>
              </a:r>
              <a:r>
                <a:rPr lang="en-US" altLang="ko-KR" sz="1200" b="1" dirty="0">
                  <a:solidFill>
                    <a:srgbClr val="92223A"/>
                  </a:solidFill>
                  <a:latin typeface="Cambria" panose="02040503050406030204" pitchFamily="18" charset="0"/>
                  <a:ea typeface="Cambria" panose="02040503050406030204" pitchFamily="18" charset="0"/>
                  <a:cs typeface="Arial" pitchFamily="34" charset="0"/>
                </a:rPr>
                <a:t>Corporate Income Tax</a:t>
              </a:r>
            </a:p>
          </p:txBody>
        </p:sp>
        <p:sp>
          <p:nvSpPr>
            <p:cNvPr id="58" name="TextBox 57">
              <a:extLst>
                <a:ext uri="{FF2B5EF4-FFF2-40B4-BE49-F238E27FC236}">
                  <a16:creationId xmlns:a16="http://schemas.microsoft.com/office/drawing/2014/main" id="{F9A9196E-7295-41DF-8A89-4F39836B8B44}"/>
                </a:ext>
              </a:extLst>
            </p:cNvPr>
            <p:cNvSpPr txBox="1"/>
            <p:nvPr/>
          </p:nvSpPr>
          <p:spPr>
            <a:xfrm>
              <a:off x="588528" y="2255841"/>
              <a:ext cx="1565988" cy="276999"/>
            </a:xfrm>
            <a:prstGeom prst="rect">
              <a:avLst/>
            </a:prstGeom>
            <a:noFill/>
          </p:spPr>
          <p:txBody>
            <a:bodyPr wrap="square" lIns="108000" rIns="108000" rtlCol="0">
              <a:spAutoFit/>
            </a:bodyPr>
            <a:lstStyle/>
            <a:p>
              <a:pPr algn="r"/>
              <a:r>
                <a:rPr lang="en-US" altLang="ko-KR" sz="1200" b="1" dirty="0">
                  <a:solidFill>
                    <a:srgbClr val="92223A"/>
                  </a:solidFill>
                  <a:latin typeface="Cambria" panose="02040503050406030204" pitchFamily="18" charset="0"/>
                  <a:ea typeface="Cambria" panose="02040503050406030204" pitchFamily="18" charset="0"/>
                  <a:cs typeface="Arial" pitchFamily="34" charset="0"/>
                </a:rPr>
                <a:t>Dividend</a:t>
              </a:r>
              <a:r>
                <a:rPr lang="ro-RO" altLang="ko-KR" sz="1200" b="1" dirty="0">
                  <a:solidFill>
                    <a:srgbClr val="92223A"/>
                  </a:solidFill>
                  <a:latin typeface="Cambria" panose="02040503050406030204" pitchFamily="18" charset="0"/>
                  <a:ea typeface="Cambria" panose="02040503050406030204" pitchFamily="18" charset="0"/>
                  <a:cs typeface="Arial" pitchFamily="34" charset="0"/>
                </a:rPr>
                <a:t> </a:t>
              </a:r>
              <a:r>
                <a:rPr lang="en-US" altLang="ko-KR" sz="1200" b="1" dirty="0">
                  <a:solidFill>
                    <a:srgbClr val="92223A"/>
                  </a:solidFill>
                  <a:latin typeface="Cambria" panose="02040503050406030204" pitchFamily="18" charset="0"/>
                  <a:ea typeface="Cambria" panose="02040503050406030204" pitchFamily="18" charset="0"/>
                  <a:cs typeface="Arial" pitchFamily="34" charset="0"/>
                </a:rPr>
                <a:t>Tax Rate</a:t>
              </a:r>
            </a:p>
          </p:txBody>
        </p:sp>
        <p:sp>
          <p:nvSpPr>
            <p:cNvPr id="61" name="TextBox 60">
              <a:extLst>
                <a:ext uri="{FF2B5EF4-FFF2-40B4-BE49-F238E27FC236}">
                  <a16:creationId xmlns:a16="http://schemas.microsoft.com/office/drawing/2014/main" id="{EC021982-7516-4249-93D9-C6431A060E86}"/>
                </a:ext>
              </a:extLst>
            </p:cNvPr>
            <p:cNvSpPr txBox="1"/>
            <p:nvPr/>
          </p:nvSpPr>
          <p:spPr>
            <a:xfrm>
              <a:off x="1535372" y="3491040"/>
              <a:ext cx="1197589" cy="276999"/>
            </a:xfrm>
            <a:prstGeom prst="rect">
              <a:avLst/>
            </a:prstGeom>
            <a:noFill/>
          </p:spPr>
          <p:txBody>
            <a:bodyPr wrap="square" lIns="108000" rIns="108000" rtlCol="0">
              <a:spAutoFit/>
            </a:bodyPr>
            <a:lstStyle/>
            <a:p>
              <a:pPr algn="ctr" defTabSz="330200">
                <a:buSzPct val="100000"/>
              </a:pPr>
              <a:r>
                <a:rPr lang="en-US" altLang="de-DE" sz="1200" b="1" dirty="0">
                  <a:solidFill>
                    <a:srgbClr val="92223A"/>
                  </a:solidFill>
                  <a:latin typeface="Cambria" panose="02040503050406030204" pitchFamily="18" charset="0"/>
                </a:rPr>
                <a:t>Standard</a:t>
              </a:r>
              <a:r>
                <a:rPr lang="ro-RO" altLang="de-DE" sz="1200" b="1" dirty="0">
                  <a:solidFill>
                    <a:srgbClr val="92223A"/>
                  </a:solidFill>
                  <a:latin typeface="Cambria" panose="02040503050406030204" pitchFamily="18" charset="0"/>
                </a:rPr>
                <a:t> </a:t>
              </a:r>
              <a:r>
                <a:rPr lang="en-US" altLang="de-DE" sz="1200" b="1" dirty="0">
                  <a:solidFill>
                    <a:srgbClr val="92223A"/>
                  </a:solidFill>
                  <a:latin typeface="Cambria" panose="02040503050406030204" pitchFamily="18" charset="0"/>
                </a:rPr>
                <a:t>VAT</a:t>
              </a:r>
            </a:p>
          </p:txBody>
        </p:sp>
        <p:sp>
          <p:nvSpPr>
            <p:cNvPr id="116" name="Right Arrow 57">
              <a:extLst>
                <a:ext uri="{FF2B5EF4-FFF2-40B4-BE49-F238E27FC236}">
                  <a16:creationId xmlns:a16="http://schemas.microsoft.com/office/drawing/2014/main" id="{FC7EB4FB-DB23-418E-B73D-ABF3F22532D4}"/>
                </a:ext>
              </a:extLst>
            </p:cNvPr>
            <p:cNvSpPr/>
            <p:nvPr/>
          </p:nvSpPr>
          <p:spPr>
            <a:xfrm rot="10800000">
              <a:off x="4336257" y="1980165"/>
              <a:ext cx="472068" cy="416588"/>
            </a:xfrm>
            <a:prstGeom prst="rightArrow">
              <a:avLst/>
            </a:prstGeom>
            <a:solidFill>
              <a:schemeClr val="bg1"/>
            </a:solidFill>
            <a:ln w="38100">
              <a:solidFill>
                <a:srgbClr val="005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Tree>
    <p:extLst>
      <p:ext uri="{BB962C8B-B14F-4D97-AF65-F5344CB8AC3E}">
        <p14:creationId xmlns:p14="http://schemas.microsoft.com/office/powerpoint/2010/main" val="228566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8"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Comparative tax in EU</a:t>
            </a:r>
          </a:p>
        </p:txBody>
      </p:sp>
      <p:sp>
        <p:nvSpPr>
          <p:cNvPr id="9" name="Rectangle 8"/>
          <p:cNvSpPr/>
          <p:nvPr/>
        </p:nvSpPr>
        <p:spPr>
          <a:xfrm>
            <a:off x="0" y="3958581"/>
            <a:ext cx="7093609" cy="549381"/>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a:t>
            </a:r>
            <a:r>
              <a:rPr lang="en-US" sz="900" dirty="0">
                <a:solidFill>
                  <a:srgbClr val="2846A8"/>
                </a:solidFill>
                <a:latin typeface="Cambria" panose="02040503050406030204" pitchFamily="18" charset="0"/>
              </a:rPr>
              <a:t> Taxsummaries.pwc.com, EY)</a:t>
            </a:r>
          </a:p>
          <a:p>
            <a:pPr>
              <a:lnSpc>
                <a:spcPct val="110000"/>
              </a:lnSpc>
              <a:buClr>
                <a:srgbClr val="99CC00"/>
              </a:buClr>
            </a:pPr>
            <a:r>
              <a:rPr lang="en-US" sz="900" dirty="0">
                <a:solidFill>
                  <a:srgbClr val="2846A8"/>
                </a:solidFill>
                <a:latin typeface="Cambria" panose="02040503050406030204" pitchFamily="18" charset="0"/>
              </a:rPr>
              <a:t>(Notes: Estonia, Latvia, Hungary</a:t>
            </a:r>
            <a:r>
              <a:rPr lang="ro-RO" sz="900" dirty="0">
                <a:solidFill>
                  <a:srgbClr val="2846A8"/>
                </a:solidFill>
                <a:latin typeface="Cambria" panose="02040503050406030204" pitchFamily="18" charset="0"/>
              </a:rPr>
              <a:t>, </a:t>
            </a:r>
            <a:r>
              <a:rPr lang="en-US" sz="900" dirty="0">
                <a:solidFill>
                  <a:srgbClr val="2846A8"/>
                </a:solidFill>
                <a:latin typeface="Cambria" panose="02040503050406030204" pitchFamily="18" charset="0"/>
              </a:rPr>
              <a:t>Malta and Cyprus - no dividend tax for non-resident companies;</a:t>
            </a:r>
          </a:p>
          <a:p>
            <a:pPr>
              <a:lnSpc>
                <a:spcPct val="110000"/>
              </a:lnSpc>
              <a:buClr>
                <a:srgbClr val="99CC00"/>
              </a:buClr>
            </a:pPr>
            <a:r>
              <a:rPr lang="en-US" sz="900" dirty="0">
                <a:solidFill>
                  <a:srgbClr val="2846A8"/>
                </a:solidFill>
                <a:latin typeface="Cambria" panose="02040503050406030204" pitchFamily="18" charset="0"/>
              </a:rPr>
              <a:t>Finnish corporations paying certain types of income are required to apply a 20%, 15%, or 35% WHT on payments to foreign corporation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graphicFrame>
        <p:nvGraphicFramePr>
          <p:cNvPr id="15" name="Chart 14"/>
          <p:cNvGraphicFramePr>
            <a:graphicFrameLocks/>
          </p:cNvGraphicFramePr>
          <p:nvPr>
            <p:extLst>
              <p:ext uri="{D42A27DB-BD31-4B8C-83A1-F6EECF244321}">
                <p14:modId xmlns:p14="http://schemas.microsoft.com/office/powerpoint/2010/main" val="558455036"/>
              </p:ext>
            </p:extLst>
          </p:nvPr>
        </p:nvGraphicFramePr>
        <p:xfrm>
          <a:off x="263712" y="662775"/>
          <a:ext cx="8648130" cy="12087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extLst>
              <p:ext uri="{D42A27DB-BD31-4B8C-83A1-F6EECF244321}">
                <p14:modId xmlns:p14="http://schemas.microsoft.com/office/powerpoint/2010/main" val="2913764987"/>
              </p:ext>
            </p:extLst>
          </p:nvPr>
        </p:nvGraphicFramePr>
        <p:xfrm>
          <a:off x="139603" y="1721104"/>
          <a:ext cx="8908317" cy="10897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6" name="Chart 25"/>
          <p:cNvGraphicFramePr>
            <a:graphicFrameLocks/>
          </p:cNvGraphicFramePr>
          <p:nvPr>
            <p:extLst>
              <p:ext uri="{D42A27DB-BD31-4B8C-83A1-F6EECF244321}">
                <p14:modId xmlns:p14="http://schemas.microsoft.com/office/powerpoint/2010/main" val="565711507"/>
              </p:ext>
            </p:extLst>
          </p:nvPr>
        </p:nvGraphicFramePr>
        <p:xfrm>
          <a:off x="139603" y="2621757"/>
          <a:ext cx="8896349" cy="140965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952945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8" name="Google Shape;387;p31"/>
          <p:cNvSpPr txBox="1">
            <a:spLocks/>
          </p:cNvSpPr>
          <p:nvPr/>
        </p:nvSpPr>
        <p:spPr>
          <a:xfrm>
            <a:off x="1373212" y="416900"/>
            <a:ext cx="7005148"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vestment support</a:t>
            </a:r>
          </a:p>
        </p:txBody>
      </p:sp>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35" name="Google Shape;583;p46"/>
          <p:cNvSpPr txBox="1"/>
          <p:nvPr/>
        </p:nvSpPr>
        <p:spPr>
          <a:xfrm>
            <a:off x="1513754" y="1924077"/>
            <a:ext cx="6188624" cy="3074032"/>
          </a:xfrm>
          <a:custGeom>
            <a:avLst/>
            <a:gdLst>
              <a:gd name="connsiteX0" fmla="*/ 0 w 2149387"/>
              <a:gd name="connsiteY0" fmla="*/ 291911 h 1751430"/>
              <a:gd name="connsiteX1" fmla="*/ 291911 w 2149387"/>
              <a:gd name="connsiteY1" fmla="*/ 0 h 1751430"/>
              <a:gd name="connsiteX2" fmla="*/ 1857476 w 2149387"/>
              <a:gd name="connsiteY2" fmla="*/ 0 h 1751430"/>
              <a:gd name="connsiteX3" fmla="*/ 2149387 w 2149387"/>
              <a:gd name="connsiteY3" fmla="*/ 291911 h 1751430"/>
              <a:gd name="connsiteX4" fmla="*/ 2149387 w 2149387"/>
              <a:gd name="connsiteY4" fmla="*/ 1459519 h 1751430"/>
              <a:gd name="connsiteX5" fmla="*/ 1857476 w 2149387"/>
              <a:gd name="connsiteY5" fmla="*/ 1751430 h 1751430"/>
              <a:gd name="connsiteX6" fmla="*/ 291911 w 2149387"/>
              <a:gd name="connsiteY6" fmla="*/ 1751430 h 1751430"/>
              <a:gd name="connsiteX7" fmla="*/ 0 w 2149387"/>
              <a:gd name="connsiteY7" fmla="*/ 1459519 h 1751430"/>
              <a:gd name="connsiteX8" fmla="*/ 0 w 2149387"/>
              <a:gd name="connsiteY8" fmla="*/ 291911 h 1751430"/>
              <a:gd name="connsiteX0" fmla="*/ 297531 w 2446918"/>
              <a:gd name="connsiteY0" fmla="*/ 291911 h 1751430"/>
              <a:gd name="connsiteX1" fmla="*/ 36708 w 2446918"/>
              <a:gd name="connsiteY1" fmla="*/ 6824 h 1751430"/>
              <a:gd name="connsiteX2" fmla="*/ 2155007 w 2446918"/>
              <a:gd name="connsiteY2" fmla="*/ 0 h 1751430"/>
              <a:gd name="connsiteX3" fmla="*/ 2446918 w 2446918"/>
              <a:gd name="connsiteY3" fmla="*/ 291911 h 1751430"/>
              <a:gd name="connsiteX4" fmla="*/ 2446918 w 2446918"/>
              <a:gd name="connsiteY4" fmla="*/ 1459519 h 1751430"/>
              <a:gd name="connsiteX5" fmla="*/ 2155007 w 2446918"/>
              <a:gd name="connsiteY5" fmla="*/ 1751430 h 1751430"/>
              <a:gd name="connsiteX6" fmla="*/ 589442 w 2446918"/>
              <a:gd name="connsiteY6" fmla="*/ 1751430 h 1751430"/>
              <a:gd name="connsiteX7" fmla="*/ 297531 w 2446918"/>
              <a:gd name="connsiteY7" fmla="*/ 1459519 h 1751430"/>
              <a:gd name="connsiteX8" fmla="*/ 297531 w 2446918"/>
              <a:gd name="connsiteY8" fmla="*/ 291911 h 175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6918" h="1751430">
                <a:moveTo>
                  <a:pt x="297531" y="291911"/>
                </a:moveTo>
                <a:cubicBezTo>
                  <a:pt x="297531" y="130693"/>
                  <a:pt x="-124510" y="6824"/>
                  <a:pt x="36708" y="6824"/>
                </a:cubicBezTo>
                <a:lnTo>
                  <a:pt x="2155007" y="0"/>
                </a:lnTo>
                <a:cubicBezTo>
                  <a:pt x="2316225" y="0"/>
                  <a:pt x="2446918" y="130693"/>
                  <a:pt x="2446918" y="291911"/>
                </a:cubicBezTo>
                <a:lnTo>
                  <a:pt x="2446918" y="1459519"/>
                </a:lnTo>
                <a:cubicBezTo>
                  <a:pt x="2446918" y="1620737"/>
                  <a:pt x="2316225" y="1751430"/>
                  <a:pt x="2155007" y="1751430"/>
                </a:cubicBezTo>
                <a:lnTo>
                  <a:pt x="589442" y="1751430"/>
                </a:lnTo>
                <a:cubicBezTo>
                  <a:pt x="428224" y="1751430"/>
                  <a:pt x="297531" y="1620737"/>
                  <a:pt x="297531" y="1459519"/>
                </a:cubicBezTo>
                <a:lnTo>
                  <a:pt x="297531" y="291911"/>
                </a:lnTo>
                <a:close/>
              </a:path>
            </a:pathLst>
          </a:custGeom>
          <a:solidFill>
            <a:srgbClr val="E9DBBD">
              <a:alpha val="44000"/>
            </a:srgb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sz="1200" b="1" dirty="0">
              <a:solidFill>
                <a:srgbClr val="2846A8"/>
              </a:solidFill>
              <a:latin typeface="Cambria" panose="02040503050406030204" pitchFamily="18" charset="0"/>
              <a:ea typeface="Cambria" panose="02040503050406030204" pitchFamily="18" charset="0"/>
            </a:endParaRPr>
          </a:p>
        </p:txBody>
      </p:sp>
      <p:sp>
        <p:nvSpPr>
          <p:cNvPr id="2" name="TextBox 1"/>
          <p:cNvSpPr txBox="1"/>
          <p:nvPr/>
        </p:nvSpPr>
        <p:spPr>
          <a:xfrm>
            <a:off x="2334588" y="2696583"/>
            <a:ext cx="5113234" cy="1015663"/>
          </a:xfrm>
          <a:prstGeom prst="rect">
            <a:avLst/>
          </a:prstGeom>
          <a:noFill/>
        </p:spPr>
        <p:txBody>
          <a:bodyPr wrap="square" rtlCol="0">
            <a:spAutoFit/>
          </a:bodyPr>
          <a:lstStyle/>
          <a:p>
            <a:pPr>
              <a:buClr>
                <a:srgbClr val="2846A8"/>
              </a:buClr>
            </a:pPr>
            <a:r>
              <a:rPr lang="en-US" sz="1200" b="1" dirty="0">
                <a:solidFill>
                  <a:srgbClr val="2846A8"/>
                </a:solidFill>
                <a:latin typeface="Cambria" panose="02040503050406030204" pitchFamily="18" charset="0"/>
                <a:ea typeface="Cambria" panose="02040503050406030204" pitchFamily="18" charset="0"/>
              </a:rPr>
              <a:t>Eligible expenses:</a:t>
            </a:r>
          </a:p>
          <a:p>
            <a:pPr marL="171450" indent="-171450" algn="just">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any type of new constructions</a:t>
            </a:r>
          </a:p>
          <a:p>
            <a:pPr marL="171450" indent="-171450" algn="just">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technical installations, new machines and equipment</a:t>
            </a:r>
          </a:p>
          <a:p>
            <a:pPr marL="171450" indent="-171450" algn="just">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depreciable assets associated with the initial investment such as patents, licenses, know-how or other intellectual property rights   </a:t>
            </a:r>
            <a:endParaRPr lang="en-US" dirty="0"/>
          </a:p>
        </p:txBody>
      </p:sp>
      <p:sp>
        <p:nvSpPr>
          <p:cNvPr id="37" name="TextBox 36"/>
          <p:cNvSpPr txBox="1"/>
          <p:nvPr/>
        </p:nvSpPr>
        <p:spPr>
          <a:xfrm>
            <a:off x="2334588" y="978504"/>
            <a:ext cx="4998924" cy="292388"/>
          </a:xfrm>
          <a:prstGeom prst="rect">
            <a:avLst/>
          </a:prstGeom>
          <a:noFill/>
        </p:spPr>
        <p:txBody>
          <a:bodyPr wrap="square" rtlCol="0">
            <a:spAutoFit/>
          </a:bodyPr>
          <a:lstStyle/>
          <a:p>
            <a:pPr algn="ctr"/>
            <a:r>
              <a:rPr lang="en-US" sz="1300" b="1" dirty="0">
                <a:solidFill>
                  <a:srgbClr val="2846A8"/>
                </a:solidFill>
                <a:latin typeface="Cambria" panose="02040503050406030204" pitchFamily="18" charset="0"/>
                <a:ea typeface="Cambria" panose="02040503050406030204" pitchFamily="18" charset="0"/>
              </a:rPr>
              <a:t>STATE AID - GD 300 / 2024</a:t>
            </a:r>
          </a:p>
        </p:txBody>
      </p:sp>
      <p:sp>
        <p:nvSpPr>
          <p:cNvPr id="13" name="TextBox 12"/>
          <p:cNvSpPr txBox="1"/>
          <p:nvPr/>
        </p:nvSpPr>
        <p:spPr>
          <a:xfrm>
            <a:off x="2335970" y="3671377"/>
            <a:ext cx="5111851" cy="646331"/>
          </a:xfrm>
          <a:prstGeom prst="rect">
            <a:avLst/>
          </a:prstGeom>
          <a:noFill/>
        </p:spPr>
        <p:txBody>
          <a:bodyPr wrap="square" rtlCol="0">
            <a:spAutoFit/>
          </a:bodyPr>
          <a:lstStyle/>
          <a:p>
            <a:pPr algn="just">
              <a:buClr>
                <a:srgbClr val="2846A8"/>
              </a:buClr>
            </a:pPr>
            <a:r>
              <a:rPr lang="en-US" sz="1200" dirty="0">
                <a:solidFill>
                  <a:srgbClr val="2846A8"/>
                </a:solidFill>
                <a:latin typeface="Cambria" panose="02040503050406030204" pitchFamily="18" charset="0"/>
                <a:ea typeface="Cambria" panose="02040503050406030204" pitchFamily="18" charset="0"/>
              </a:rPr>
              <a:t>The beneficiary must secure a financial contribution of at least 25% of the eligible costs, either through his own resources or through external financing, in a form that is not subject to any other public aid.</a:t>
            </a:r>
            <a:endParaRPr lang="en-US" dirty="0"/>
          </a:p>
        </p:txBody>
      </p:sp>
      <p:sp>
        <p:nvSpPr>
          <p:cNvPr id="14" name="TextBox 13"/>
          <p:cNvSpPr txBox="1"/>
          <p:nvPr/>
        </p:nvSpPr>
        <p:spPr>
          <a:xfrm>
            <a:off x="2335971" y="4373529"/>
            <a:ext cx="5111850" cy="276999"/>
          </a:xfrm>
          <a:prstGeom prst="rect">
            <a:avLst/>
          </a:prstGeom>
          <a:noFill/>
        </p:spPr>
        <p:txBody>
          <a:bodyPr wrap="square" rtlCol="0">
            <a:spAutoFit/>
          </a:bodyPr>
          <a:lstStyle/>
          <a:p>
            <a:pPr algn="just">
              <a:buClr>
                <a:srgbClr val="2846A8"/>
              </a:buClr>
            </a:pPr>
            <a:r>
              <a:rPr lang="en-US" sz="1200" dirty="0">
                <a:solidFill>
                  <a:srgbClr val="2846A8"/>
                </a:solidFill>
                <a:latin typeface="Cambria" panose="02040503050406030204" pitchFamily="18" charset="0"/>
                <a:ea typeface="Cambria" panose="02040503050406030204" pitchFamily="18" charset="0"/>
              </a:rPr>
              <a:t>The investment must be maintained for at least 5 years after its completion.</a:t>
            </a:r>
            <a:endParaRPr lang="en-US" dirty="0"/>
          </a:p>
        </p:txBody>
      </p:sp>
      <p:sp>
        <p:nvSpPr>
          <p:cNvPr id="15" name="TextBox 14"/>
          <p:cNvSpPr txBox="1"/>
          <p:nvPr/>
        </p:nvSpPr>
        <p:spPr>
          <a:xfrm>
            <a:off x="2334588" y="1518891"/>
            <a:ext cx="4998924"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ea typeface="Cambria" panose="02040503050406030204" pitchFamily="18" charset="0"/>
              </a:rPr>
              <a:t>Annual Budget: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r>
              <a:rPr lang="en-US"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150 Mill.</a:t>
            </a:r>
            <a:endParaRPr lang="en-US" sz="1200" dirty="0">
              <a:solidFill>
                <a:srgbClr val="2846A8"/>
              </a:solidFill>
              <a:latin typeface="Cambria" panose="02040503050406030204" pitchFamily="18" charset="0"/>
              <a:ea typeface="Cambria" panose="02040503050406030204" pitchFamily="18" charset="0"/>
              <a:cs typeface="Arial" pitchFamily="34" charset="0"/>
            </a:endParaRPr>
          </a:p>
        </p:txBody>
      </p:sp>
      <p:sp>
        <p:nvSpPr>
          <p:cNvPr id="33" name="TextBox 32"/>
          <p:cNvSpPr txBox="1"/>
          <p:nvPr/>
        </p:nvSpPr>
        <p:spPr>
          <a:xfrm>
            <a:off x="2376324" y="1307466"/>
            <a:ext cx="4998923"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ea typeface="Cambria" panose="02040503050406030204" pitchFamily="18" charset="0"/>
              </a:rPr>
              <a:t>20</a:t>
            </a:r>
            <a:r>
              <a:rPr lang="ro-RO" sz="1200" dirty="0">
                <a:solidFill>
                  <a:srgbClr val="2846A8"/>
                </a:solidFill>
                <a:latin typeface="Cambria" panose="02040503050406030204" pitchFamily="18" charset="0"/>
                <a:ea typeface="Cambria" panose="02040503050406030204" pitchFamily="18" charset="0"/>
              </a:rPr>
              <a:t>2</a:t>
            </a:r>
            <a:r>
              <a:rPr lang="en-US" sz="1200" dirty="0">
                <a:solidFill>
                  <a:srgbClr val="2846A8"/>
                </a:solidFill>
                <a:latin typeface="Cambria" panose="02040503050406030204" pitchFamily="18" charset="0"/>
                <a:ea typeface="Cambria" panose="02040503050406030204" pitchFamily="18" charset="0"/>
              </a:rPr>
              <a:t>4-202</a:t>
            </a:r>
            <a:r>
              <a:rPr lang="ro-RO" sz="1200" dirty="0">
                <a:solidFill>
                  <a:srgbClr val="2846A8"/>
                </a:solidFill>
                <a:latin typeface="Cambria" panose="02040503050406030204" pitchFamily="18" charset="0"/>
                <a:ea typeface="Cambria" panose="02040503050406030204" pitchFamily="18" charset="0"/>
              </a:rPr>
              <a:t>6</a:t>
            </a:r>
            <a:r>
              <a:rPr lang="en-US" sz="1200" dirty="0">
                <a:solidFill>
                  <a:srgbClr val="2846A8"/>
                </a:solidFill>
                <a:latin typeface="Cambria" panose="02040503050406030204" pitchFamily="18" charset="0"/>
                <a:ea typeface="Cambria" panose="02040503050406030204" pitchFamily="18" charset="0"/>
              </a:rPr>
              <a:t> Total Budget: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r>
              <a:rPr lang="en-US"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450 Mill.</a:t>
            </a:r>
            <a:endParaRPr lang="en-US" sz="1200" dirty="0">
              <a:solidFill>
                <a:srgbClr val="2846A8"/>
              </a:solidFill>
              <a:latin typeface="Cambria" panose="02040503050406030204" pitchFamily="18" charset="0"/>
              <a:ea typeface="Cambria" panose="02040503050406030204" pitchFamily="18" charset="0"/>
              <a:cs typeface="Arial" pitchFamily="34" charset="0"/>
            </a:endParaRPr>
          </a:p>
        </p:txBody>
      </p:sp>
      <p:sp>
        <p:nvSpPr>
          <p:cNvPr id="12" name="TextBox 11"/>
          <p:cNvSpPr txBox="1"/>
          <p:nvPr/>
        </p:nvSpPr>
        <p:spPr>
          <a:xfrm>
            <a:off x="2327463" y="1949378"/>
            <a:ext cx="5120360" cy="461665"/>
          </a:xfrm>
          <a:prstGeom prst="rect">
            <a:avLst/>
          </a:prstGeom>
          <a:noFill/>
        </p:spPr>
        <p:txBody>
          <a:bodyPr wrap="square" rtlCol="0">
            <a:spAutoFit/>
          </a:bodyPr>
          <a:lstStyle/>
          <a:p>
            <a:pPr algn="ctr">
              <a:buClr>
                <a:srgbClr val="2846A8"/>
              </a:buClr>
            </a:pPr>
            <a:r>
              <a:rPr lang="en-US" sz="1200" dirty="0">
                <a:solidFill>
                  <a:srgbClr val="2846A8"/>
                </a:solidFill>
                <a:latin typeface="Cambria" panose="02040503050406030204" pitchFamily="18" charset="0"/>
                <a:ea typeface="Cambria" panose="02040503050406030204" pitchFamily="18" charset="0"/>
              </a:rPr>
              <a:t>Financial support aimed at regional development through</a:t>
            </a:r>
            <a:endParaRPr lang="en-US" sz="1200" dirty="0"/>
          </a:p>
          <a:p>
            <a:pPr algn="ctr">
              <a:buClr>
                <a:srgbClr val="2846A8"/>
              </a:buClr>
            </a:pPr>
            <a:r>
              <a:rPr lang="en-US" sz="1200" dirty="0">
                <a:solidFill>
                  <a:srgbClr val="2846A8"/>
                </a:solidFill>
                <a:latin typeface="Cambria" panose="02040503050406030204" pitchFamily="18" charset="0"/>
                <a:ea typeface="Cambria" panose="02040503050406030204" pitchFamily="18" charset="0"/>
              </a:rPr>
              <a:t>investment stimulation</a:t>
            </a:r>
            <a:endParaRPr lang="en-US" dirty="0"/>
          </a:p>
        </p:txBody>
      </p:sp>
      <p:sp>
        <p:nvSpPr>
          <p:cNvPr id="16" name="TextBox 15"/>
          <p:cNvSpPr txBox="1"/>
          <p:nvPr/>
        </p:nvSpPr>
        <p:spPr>
          <a:xfrm>
            <a:off x="2376323" y="1725833"/>
            <a:ext cx="4998924"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ea typeface="Cambria" panose="02040503050406030204" pitchFamily="18" charset="0"/>
              </a:rPr>
              <a:t>Managed by: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The Ministry of Finance</a:t>
            </a:r>
          </a:p>
        </p:txBody>
      </p:sp>
      <p:sp>
        <p:nvSpPr>
          <p:cNvPr id="3" name="TextBox 2">
            <a:extLst>
              <a:ext uri="{FF2B5EF4-FFF2-40B4-BE49-F238E27FC236}">
                <a16:creationId xmlns:a16="http://schemas.microsoft.com/office/drawing/2014/main" id="{AFE85761-BADD-44D1-5166-2B388DC507E7}"/>
              </a:ext>
            </a:extLst>
          </p:cNvPr>
          <p:cNvSpPr txBox="1"/>
          <p:nvPr/>
        </p:nvSpPr>
        <p:spPr>
          <a:xfrm>
            <a:off x="2693772" y="2406993"/>
            <a:ext cx="4193059" cy="276999"/>
          </a:xfrm>
          <a:prstGeom prst="rect">
            <a:avLst/>
          </a:prstGeom>
          <a:noFill/>
        </p:spPr>
        <p:txBody>
          <a:bodyPr wrap="square" rtlCol="0">
            <a:spAutoFit/>
          </a:bodyPr>
          <a:lstStyle/>
          <a:p>
            <a:pPr algn="ctr"/>
            <a:r>
              <a:rPr lang="en-US" sz="1200" b="1" dirty="0">
                <a:solidFill>
                  <a:srgbClr val="2846A8"/>
                </a:solidFill>
                <a:latin typeface="Cambria" panose="02040503050406030204" pitchFamily="18" charset="0"/>
                <a:ea typeface="Cambria" panose="02040503050406030204" pitchFamily="18" charset="0"/>
              </a:rPr>
              <a:t>Minimum € 10 Mill. in eligible costs</a:t>
            </a:r>
            <a:endParaRPr lang="en-US" sz="1200" dirty="0"/>
          </a:p>
        </p:txBody>
      </p:sp>
    </p:spTree>
    <p:extLst>
      <p:ext uri="{BB962C8B-B14F-4D97-AF65-F5344CB8AC3E}">
        <p14:creationId xmlns:p14="http://schemas.microsoft.com/office/powerpoint/2010/main" val="1743411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6307708" y="4834381"/>
            <a:ext cx="2468880" cy="128818"/>
          </a:xfrm>
          <a:prstGeom prst="rect">
            <a:avLst/>
          </a:prstGeom>
          <a:noFill/>
          <a:ln w="9525">
            <a:noFill/>
          </a:ln>
        </p:spPr>
        <p:txBody>
          <a:bodyPr wrap="square" lIns="0" tIns="0" rIns="0" bIns="0" rtlCol="0">
            <a:spAutoFit/>
          </a:bodyPr>
          <a:lstStyle/>
          <a:p>
            <a:pPr>
              <a:lnSpc>
                <a:spcPct val="93000"/>
              </a:lnSpc>
            </a:pPr>
            <a:r>
              <a:rPr lang="en-US" sz="900" dirty="0">
                <a:solidFill>
                  <a:srgbClr val="2846A8"/>
                </a:solidFill>
                <a:latin typeface="Cambria" panose="02040503050406030204" pitchFamily="18" charset="0"/>
                <a:cs typeface="Arial" pitchFamily="34" charset="0"/>
              </a:rPr>
              <a:t>(Source: The Official Monitor, April 4</a:t>
            </a:r>
            <a:r>
              <a:rPr lang="en-US" sz="900" baseline="30000" dirty="0">
                <a:solidFill>
                  <a:srgbClr val="2846A8"/>
                </a:solidFill>
                <a:latin typeface="Cambria" panose="02040503050406030204" pitchFamily="18" charset="0"/>
                <a:cs typeface="Arial" pitchFamily="34" charset="0"/>
              </a:rPr>
              <a:t>th</a:t>
            </a:r>
            <a:r>
              <a:rPr lang="en-US" sz="900" dirty="0">
                <a:solidFill>
                  <a:srgbClr val="2846A8"/>
                </a:solidFill>
                <a:latin typeface="Cambria" panose="02040503050406030204" pitchFamily="18" charset="0"/>
                <a:cs typeface="Arial" pitchFamily="34" charset="0"/>
              </a:rPr>
              <a:t>, 2023)</a:t>
            </a:r>
          </a:p>
        </p:txBody>
      </p:sp>
      <p:grpSp>
        <p:nvGrpSpPr>
          <p:cNvPr id="3" name="Group 2"/>
          <p:cNvGrpSpPr/>
          <p:nvPr/>
        </p:nvGrpSpPr>
        <p:grpSpPr>
          <a:xfrm>
            <a:off x="1924950" y="1104186"/>
            <a:ext cx="5488423" cy="3693453"/>
            <a:chOff x="243637" y="1390639"/>
            <a:chExt cx="5312337" cy="3551804"/>
          </a:xfrm>
        </p:grpSpPr>
        <p:grpSp>
          <p:nvGrpSpPr>
            <p:cNvPr id="104" name="Group 103"/>
            <p:cNvGrpSpPr/>
            <p:nvPr/>
          </p:nvGrpSpPr>
          <p:grpSpPr>
            <a:xfrm>
              <a:off x="243637" y="1390639"/>
              <a:ext cx="5312337" cy="3551804"/>
              <a:chOff x="2298850" y="2557007"/>
              <a:chExt cx="5185596" cy="3383280"/>
            </a:xfrm>
          </p:grpSpPr>
          <p:sp>
            <p:nvSpPr>
              <p:cNvPr id="105" name="Freeform 10"/>
              <p:cNvSpPr>
                <a:spLocks/>
              </p:cNvSpPr>
              <p:nvPr/>
            </p:nvSpPr>
            <p:spPr bwMode="auto">
              <a:xfrm>
                <a:off x="6076120" y="3467890"/>
                <a:ext cx="594693" cy="711356"/>
              </a:xfrm>
              <a:custGeom>
                <a:avLst/>
                <a:gdLst>
                  <a:gd name="T0" fmla="*/ 2147483646 w 504"/>
                  <a:gd name="T1" fmla="*/ 2147483646 h 656"/>
                  <a:gd name="T2" fmla="*/ 2147483646 w 504"/>
                  <a:gd name="T3" fmla="*/ 2147483646 h 656"/>
                  <a:gd name="T4" fmla="*/ 2147483646 w 504"/>
                  <a:gd name="T5" fmla="*/ 2147483646 h 656"/>
                  <a:gd name="T6" fmla="*/ 2147483646 w 504"/>
                  <a:gd name="T7" fmla="*/ 2147483646 h 656"/>
                  <a:gd name="T8" fmla="*/ 2147483646 w 504"/>
                  <a:gd name="T9" fmla="*/ 2147483646 h 656"/>
                  <a:gd name="T10" fmla="*/ 2147483646 w 504"/>
                  <a:gd name="T11" fmla="*/ 2147483646 h 656"/>
                  <a:gd name="T12" fmla="*/ 2147483646 w 504"/>
                  <a:gd name="T13" fmla="*/ 2147483646 h 656"/>
                  <a:gd name="T14" fmla="*/ 2147483646 w 504"/>
                  <a:gd name="T15" fmla="*/ 2147483646 h 656"/>
                  <a:gd name="T16" fmla="*/ 2147483646 w 504"/>
                  <a:gd name="T17" fmla="*/ 0 h 656"/>
                  <a:gd name="T18" fmla="*/ 2147483646 w 504"/>
                  <a:gd name="T19" fmla="*/ 2147483646 h 656"/>
                  <a:gd name="T20" fmla="*/ 2147483646 w 504"/>
                  <a:gd name="T21" fmla="*/ 2147483646 h 656"/>
                  <a:gd name="T22" fmla="*/ 2147483646 w 504"/>
                  <a:gd name="T23" fmla="*/ 2147483646 h 656"/>
                  <a:gd name="T24" fmla="*/ 2147483646 w 504"/>
                  <a:gd name="T25" fmla="*/ 2147483646 h 656"/>
                  <a:gd name="T26" fmla="*/ 2147483646 w 504"/>
                  <a:gd name="T27" fmla="*/ 2147483646 h 656"/>
                  <a:gd name="T28" fmla="*/ 0 w 504"/>
                  <a:gd name="T29" fmla="*/ 2147483646 h 656"/>
                  <a:gd name="T30" fmla="*/ 2147483646 w 504"/>
                  <a:gd name="T31" fmla="*/ 2147483646 h 656"/>
                  <a:gd name="T32" fmla="*/ 2147483646 w 504"/>
                  <a:gd name="T33" fmla="*/ 2147483646 h 656"/>
                  <a:gd name="T34" fmla="*/ 2147483646 w 504"/>
                  <a:gd name="T35" fmla="*/ 2147483646 h 656"/>
                  <a:gd name="T36" fmla="*/ 2147483646 w 504"/>
                  <a:gd name="T37" fmla="*/ 2147483646 h 656"/>
                  <a:gd name="T38" fmla="*/ 2147483646 w 504"/>
                  <a:gd name="T39" fmla="*/ 2147483646 h 656"/>
                  <a:gd name="T40" fmla="*/ 2147483646 w 504"/>
                  <a:gd name="T41" fmla="*/ 2147483646 h 656"/>
                  <a:gd name="T42" fmla="*/ 2147483646 w 504"/>
                  <a:gd name="T43" fmla="*/ 2147483646 h 656"/>
                  <a:gd name="T44" fmla="*/ 2147483646 w 504"/>
                  <a:gd name="T45" fmla="*/ 2147483646 h 656"/>
                  <a:gd name="T46" fmla="*/ 2147483646 w 504"/>
                  <a:gd name="T47" fmla="*/ 2147483646 h 656"/>
                  <a:gd name="T48" fmla="*/ 2147483646 w 504"/>
                  <a:gd name="T49" fmla="*/ 2147483646 h 656"/>
                  <a:gd name="T50" fmla="*/ 2147483646 w 504"/>
                  <a:gd name="T51" fmla="*/ 2147483646 h 656"/>
                  <a:gd name="T52" fmla="*/ 2147483646 w 504"/>
                  <a:gd name="T53" fmla="*/ 2147483646 h 656"/>
                  <a:gd name="T54" fmla="*/ 2147483646 w 504"/>
                  <a:gd name="T55" fmla="*/ 2147483646 h 656"/>
                  <a:gd name="T56" fmla="*/ 2147483646 w 504"/>
                  <a:gd name="T57" fmla="*/ 2147483646 h 656"/>
                  <a:gd name="T58" fmla="*/ 2147483646 w 504"/>
                  <a:gd name="T59" fmla="*/ 2147483646 h 656"/>
                  <a:gd name="T60" fmla="*/ 2147483646 w 504"/>
                  <a:gd name="T61" fmla="*/ 2147483646 h 656"/>
                  <a:gd name="T62" fmla="*/ 2147483646 w 504"/>
                  <a:gd name="T63" fmla="*/ 2147483646 h 656"/>
                  <a:gd name="T64" fmla="*/ 2147483646 w 504"/>
                  <a:gd name="T65" fmla="*/ 2147483646 h 656"/>
                  <a:gd name="T66" fmla="*/ 2147483646 w 504"/>
                  <a:gd name="T67" fmla="*/ 2147483646 h 656"/>
                  <a:gd name="T68" fmla="*/ 2147483646 w 504"/>
                  <a:gd name="T69" fmla="*/ 2147483646 h 656"/>
                  <a:gd name="T70" fmla="*/ 2147483646 w 504"/>
                  <a:gd name="T71" fmla="*/ 2147483646 h 656"/>
                  <a:gd name="T72" fmla="*/ 2147483646 w 504"/>
                  <a:gd name="T73" fmla="*/ 2147483646 h 656"/>
                  <a:gd name="T74" fmla="*/ 2147483646 w 504"/>
                  <a:gd name="T75" fmla="*/ 2147483646 h 656"/>
                  <a:gd name="T76" fmla="*/ 2147483646 w 504"/>
                  <a:gd name="T77" fmla="*/ 2147483646 h 656"/>
                  <a:gd name="T78" fmla="*/ 2147483646 w 504"/>
                  <a:gd name="T79" fmla="*/ 2147483646 h 656"/>
                  <a:gd name="T80" fmla="*/ 2147483646 w 504"/>
                  <a:gd name="T81" fmla="*/ 2147483646 h 656"/>
                  <a:gd name="T82" fmla="*/ 2147483646 w 504"/>
                  <a:gd name="T83" fmla="*/ 2147483646 h 6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4"/>
                  <a:gd name="T127" fmla="*/ 0 h 656"/>
                  <a:gd name="T128" fmla="*/ 504 w 504"/>
                  <a:gd name="T129" fmla="*/ 656 h 6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4" h="656">
                    <a:moveTo>
                      <a:pt x="432" y="88"/>
                    </a:moveTo>
                    <a:lnTo>
                      <a:pt x="392" y="96"/>
                    </a:lnTo>
                    <a:lnTo>
                      <a:pt x="360" y="72"/>
                    </a:lnTo>
                    <a:lnTo>
                      <a:pt x="344" y="120"/>
                    </a:lnTo>
                    <a:lnTo>
                      <a:pt x="304" y="80"/>
                    </a:lnTo>
                    <a:lnTo>
                      <a:pt x="296" y="24"/>
                    </a:lnTo>
                    <a:lnTo>
                      <a:pt x="256" y="64"/>
                    </a:lnTo>
                    <a:lnTo>
                      <a:pt x="240" y="8"/>
                    </a:lnTo>
                    <a:lnTo>
                      <a:pt x="200" y="0"/>
                    </a:lnTo>
                    <a:lnTo>
                      <a:pt x="200" y="48"/>
                    </a:lnTo>
                    <a:lnTo>
                      <a:pt x="136" y="80"/>
                    </a:lnTo>
                    <a:lnTo>
                      <a:pt x="96" y="40"/>
                    </a:lnTo>
                    <a:lnTo>
                      <a:pt x="64" y="72"/>
                    </a:lnTo>
                    <a:lnTo>
                      <a:pt x="8" y="80"/>
                    </a:lnTo>
                    <a:lnTo>
                      <a:pt x="0" y="112"/>
                    </a:lnTo>
                    <a:lnTo>
                      <a:pt x="8" y="152"/>
                    </a:lnTo>
                    <a:lnTo>
                      <a:pt x="48" y="184"/>
                    </a:lnTo>
                    <a:lnTo>
                      <a:pt x="40" y="256"/>
                    </a:lnTo>
                    <a:lnTo>
                      <a:pt x="120" y="376"/>
                    </a:lnTo>
                    <a:lnTo>
                      <a:pt x="128" y="416"/>
                    </a:lnTo>
                    <a:lnTo>
                      <a:pt x="160" y="464"/>
                    </a:lnTo>
                    <a:lnTo>
                      <a:pt x="160" y="544"/>
                    </a:lnTo>
                    <a:lnTo>
                      <a:pt x="160" y="584"/>
                    </a:lnTo>
                    <a:lnTo>
                      <a:pt x="184" y="592"/>
                    </a:lnTo>
                    <a:lnTo>
                      <a:pt x="184" y="656"/>
                    </a:lnTo>
                    <a:lnTo>
                      <a:pt x="232" y="624"/>
                    </a:lnTo>
                    <a:lnTo>
                      <a:pt x="240" y="576"/>
                    </a:lnTo>
                    <a:lnTo>
                      <a:pt x="312" y="568"/>
                    </a:lnTo>
                    <a:lnTo>
                      <a:pt x="344" y="536"/>
                    </a:lnTo>
                    <a:lnTo>
                      <a:pt x="376" y="568"/>
                    </a:lnTo>
                    <a:lnTo>
                      <a:pt x="456" y="576"/>
                    </a:lnTo>
                    <a:lnTo>
                      <a:pt x="464" y="528"/>
                    </a:lnTo>
                    <a:lnTo>
                      <a:pt x="432" y="496"/>
                    </a:lnTo>
                    <a:lnTo>
                      <a:pt x="456" y="464"/>
                    </a:lnTo>
                    <a:lnTo>
                      <a:pt x="480" y="440"/>
                    </a:lnTo>
                    <a:lnTo>
                      <a:pt x="472" y="416"/>
                    </a:lnTo>
                    <a:lnTo>
                      <a:pt x="504" y="344"/>
                    </a:lnTo>
                    <a:lnTo>
                      <a:pt x="472" y="312"/>
                    </a:lnTo>
                    <a:lnTo>
                      <a:pt x="496" y="248"/>
                    </a:lnTo>
                    <a:lnTo>
                      <a:pt x="488" y="208"/>
                    </a:lnTo>
                    <a:lnTo>
                      <a:pt x="456" y="152"/>
                    </a:lnTo>
                    <a:lnTo>
                      <a:pt x="432" y="88"/>
                    </a:lnTo>
                    <a:close/>
                  </a:path>
                </a:pathLst>
              </a:custGeom>
              <a:solidFill>
                <a:srgbClr val="9950A8"/>
              </a:solidFill>
              <a:ln w="9525">
                <a:solidFill>
                  <a:schemeClr val="bg1"/>
                </a:solidFill>
                <a:round/>
                <a:headEnd/>
                <a:tailEnd/>
              </a:ln>
            </p:spPr>
            <p:txBody>
              <a:bodyPr/>
              <a:lstStyle/>
              <a:p>
                <a:endParaRPr lang="en-US" sz="1050"/>
              </a:p>
            </p:txBody>
          </p:sp>
          <p:sp>
            <p:nvSpPr>
              <p:cNvPr id="106" name="Freeform 4"/>
              <p:cNvSpPr>
                <a:spLocks/>
              </p:cNvSpPr>
              <p:nvPr/>
            </p:nvSpPr>
            <p:spPr bwMode="auto">
              <a:xfrm>
                <a:off x="5476206" y="2557007"/>
                <a:ext cx="678842" cy="581230"/>
              </a:xfrm>
              <a:custGeom>
                <a:avLst/>
                <a:gdLst>
                  <a:gd name="T0" fmla="*/ 0 w 576"/>
                  <a:gd name="T1" fmla="*/ 2147483646 h 536"/>
                  <a:gd name="T2" fmla="*/ 2147483646 w 576"/>
                  <a:gd name="T3" fmla="*/ 2147483646 h 536"/>
                  <a:gd name="T4" fmla="*/ 2147483646 w 576"/>
                  <a:gd name="T5" fmla="*/ 2147483646 h 536"/>
                  <a:gd name="T6" fmla="*/ 2147483646 w 576"/>
                  <a:gd name="T7" fmla="*/ 2147483646 h 536"/>
                  <a:gd name="T8" fmla="*/ 2147483646 w 576"/>
                  <a:gd name="T9" fmla="*/ 2147483646 h 536"/>
                  <a:gd name="T10" fmla="*/ 2147483646 w 576"/>
                  <a:gd name="T11" fmla="*/ 2147483646 h 536"/>
                  <a:gd name="T12" fmla="*/ 2147483646 w 576"/>
                  <a:gd name="T13" fmla="*/ 2147483646 h 536"/>
                  <a:gd name="T14" fmla="*/ 2147483646 w 576"/>
                  <a:gd name="T15" fmla="*/ 0 h 536"/>
                  <a:gd name="T16" fmla="*/ 2147483646 w 576"/>
                  <a:gd name="T17" fmla="*/ 2147483646 h 536"/>
                  <a:gd name="T18" fmla="*/ 2147483646 w 576"/>
                  <a:gd name="T19" fmla="*/ 2147483646 h 536"/>
                  <a:gd name="T20" fmla="*/ 2147483646 w 576"/>
                  <a:gd name="T21" fmla="*/ 2147483646 h 536"/>
                  <a:gd name="T22" fmla="*/ 2147483646 w 576"/>
                  <a:gd name="T23" fmla="*/ 2147483646 h 536"/>
                  <a:gd name="T24" fmla="*/ 2147483646 w 576"/>
                  <a:gd name="T25" fmla="*/ 2147483646 h 536"/>
                  <a:gd name="T26" fmla="*/ 2147483646 w 576"/>
                  <a:gd name="T27" fmla="*/ 2147483646 h 536"/>
                  <a:gd name="T28" fmla="*/ 2147483646 w 576"/>
                  <a:gd name="T29" fmla="*/ 2147483646 h 536"/>
                  <a:gd name="T30" fmla="*/ 2147483646 w 576"/>
                  <a:gd name="T31" fmla="*/ 2147483646 h 536"/>
                  <a:gd name="T32" fmla="*/ 2147483646 w 576"/>
                  <a:gd name="T33" fmla="*/ 2147483646 h 536"/>
                  <a:gd name="T34" fmla="*/ 2147483646 w 576"/>
                  <a:gd name="T35" fmla="*/ 2147483646 h 536"/>
                  <a:gd name="T36" fmla="*/ 2147483646 w 576"/>
                  <a:gd name="T37" fmla="*/ 2147483646 h 536"/>
                  <a:gd name="T38" fmla="*/ 2147483646 w 576"/>
                  <a:gd name="T39" fmla="*/ 2147483646 h 536"/>
                  <a:gd name="T40" fmla="*/ 2147483646 w 576"/>
                  <a:gd name="T41" fmla="*/ 2147483646 h 536"/>
                  <a:gd name="T42" fmla="*/ 2147483646 w 576"/>
                  <a:gd name="T43" fmla="*/ 2147483646 h 536"/>
                  <a:gd name="T44" fmla="*/ 2147483646 w 576"/>
                  <a:gd name="T45" fmla="*/ 2147483646 h 536"/>
                  <a:gd name="T46" fmla="*/ 2147483646 w 576"/>
                  <a:gd name="T47" fmla="*/ 2147483646 h 536"/>
                  <a:gd name="T48" fmla="*/ 2147483646 w 576"/>
                  <a:gd name="T49" fmla="*/ 2147483646 h 536"/>
                  <a:gd name="T50" fmla="*/ 2147483646 w 576"/>
                  <a:gd name="T51" fmla="*/ 2147483646 h 536"/>
                  <a:gd name="T52" fmla="*/ 2147483646 w 576"/>
                  <a:gd name="T53" fmla="*/ 2147483646 h 536"/>
                  <a:gd name="T54" fmla="*/ 2147483646 w 576"/>
                  <a:gd name="T55" fmla="*/ 2147483646 h 536"/>
                  <a:gd name="T56" fmla="*/ 2147483646 w 576"/>
                  <a:gd name="T57" fmla="*/ 2147483646 h 536"/>
                  <a:gd name="T58" fmla="*/ 2147483646 w 576"/>
                  <a:gd name="T59" fmla="*/ 2147483646 h 536"/>
                  <a:gd name="T60" fmla="*/ 2147483646 w 576"/>
                  <a:gd name="T61" fmla="*/ 2147483646 h 536"/>
                  <a:gd name="T62" fmla="*/ 2147483646 w 576"/>
                  <a:gd name="T63" fmla="*/ 2147483646 h 536"/>
                  <a:gd name="T64" fmla="*/ 2147483646 w 576"/>
                  <a:gd name="T65" fmla="*/ 2147483646 h 536"/>
                  <a:gd name="T66" fmla="*/ 2147483646 w 576"/>
                  <a:gd name="T67" fmla="*/ 2147483646 h 536"/>
                  <a:gd name="T68" fmla="*/ 2147483646 w 576"/>
                  <a:gd name="T69" fmla="*/ 2147483646 h 536"/>
                  <a:gd name="T70" fmla="*/ 2147483646 w 576"/>
                  <a:gd name="T71" fmla="*/ 2147483646 h 536"/>
                  <a:gd name="T72" fmla="*/ 2147483646 w 576"/>
                  <a:gd name="T73" fmla="*/ 2147483646 h 536"/>
                  <a:gd name="T74" fmla="*/ 2147483646 w 576"/>
                  <a:gd name="T75" fmla="*/ 2147483646 h 536"/>
                  <a:gd name="T76" fmla="*/ 0 w 576"/>
                  <a:gd name="T77" fmla="*/ 2147483646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6"/>
                  <a:gd name="T118" fmla="*/ 0 h 536"/>
                  <a:gd name="T119" fmla="*/ 576 w 576"/>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6" h="536">
                    <a:moveTo>
                      <a:pt x="0" y="192"/>
                    </a:moveTo>
                    <a:lnTo>
                      <a:pt x="48" y="168"/>
                    </a:lnTo>
                    <a:lnTo>
                      <a:pt x="72" y="128"/>
                    </a:lnTo>
                    <a:lnTo>
                      <a:pt x="96" y="64"/>
                    </a:lnTo>
                    <a:lnTo>
                      <a:pt x="96" y="40"/>
                    </a:lnTo>
                    <a:lnTo>
                      <a:pt x="184" y="32"/>
                    </a:lnTo>
                    <a:lnTo>
                      <a:pt x="200" y="32"/>
                    </a:lnTo>
                    <a:lnTo>
                      <a:pt x="256" y="0"/>
                    </a:lnTo>
                    <a:lnTo>
                      <a:pt x="344" y="16"/>
                    </a:lnTo>
                    <a:lnTo>
                      <a:pt x="360" y="48"/>
                    </a:lnTo>
                    <a:lnTo>
                      <a:pt x="392" y="32"/>
                    </a:lnTo>
                    <a:lnTo>
                      <a:pt x="392" y="80"/>
                    </a:lnTo>
                    <a:lnTo>
                      <a:pt x="424" y="72"/>
                    </a:lnTo>
                    <a:lnTo>
                      <a:pt x="424" y="112"/>
                    </a:lnTo>
                    <a:lnTo>
                      <a:pt x="472" y="184"/>
                    </a:lnTo>
                    <a:lnTo>
                      <a:pt x="472" y="232"/>
                    </a:lnTo>
                    <a:lnTo>
                      <a:pt x="496" y="248"/>
                    </a:lnTo>
                    <a:lnTo>
                      <a:pt x="520" y="280"/>
                    </a:lnTo>
                    <a:lnTo>
                      <a:pt x="536" y="344"/>
                    </a:lnTo>
                    <a:lnTo>
                      <a:pt x="536" y="384"/>
                    </a:lnTo>
                    <a:lnTo>
                      <a:pt x="576" y="424"/>
                    </a:lnTo>
                    <a:lnTo>
                      <a:pt x="504" y="464"/>
                    </a:lnTo>
                    <a:lnTo>
                      <a:pt x="456" y="456"/>
                    </a:lnTo>
                    <a:lnTo>
                      <a:pt x="432" y="512"/>
                    </a:lnTo>
                    <a:lnTo>
                      <a:pt x="400" y="488"/>
                    </a:lnTo>
                    <a:lnTo>
                      <a:pt x="304" y="488"/>
                    </a:lnTo>
                    <a:lnTo>
                      <a:pt x="328" y="512"/>
                    </a:lnTo>
                    <a:lnTo>
                      <a:pt x="280" y="512"/>
                    </a:lnTo>
                    <a:lnTo>
                      <a:pt x="224" y="536"/>
                    </a:lnTo>
                    <a:lnTo>
                      <a:pt x="208" y="504"/>
                    </a:lnTo>
                    <a:lnTo>
                      <a:pt x="240" y="472"/>
                    </a:lnTo>
                    <a:lnTo>
                      <a:pt x="184" y="376"/>
                    </a:lnTo>
                    <a:lnTo>
                      <a:pt x="184" y="328"/>
                    </a:lnTo>
                    <a:lnTo>
                      <a:pt x="136" y="288"/>
                    </a:lnTo>
                    <a:lnTo>
                      <a:pt x="120" y="312"/>
                    </a:lnTo>
                    <a:lnTo>
                      <a:pt x="64" y="240"/>
                    </a:lnTo>
                    <a:lnTo>
                      <a:pt x="40" y="248"/>
                    </a:lnTo>
                    <a:lnTo>
                      <a:pt x="8" y="216"/>
                    </a:lnTo>
                    <a:lnTo>
                      <a:pt x="0" y="192"/>
                    </a:lnTo>
                    <a:close/>
                  </a:path>
                </a:pathLst>
              </a:custGeom>
              <a:solidFill>
                <a:srgbClr val="9950A8"/>
              </a:solidFill>
              <a:ln w="9525">
                <a:solidFill>
                  <a:schemeClr val="bg1"/>
                </a:solidFill>
                <a:round/>
                <a:headEnd/>
                <a:tailEnd/>
              </a:ln>
            </p:spPr>
            <p:txBody>
              <a:bodyPr/>
              <a:lstStyle/>
              <a:p>
                <a:endParaRPr lang="en-US" sz="1050"/>
              </a:p>
            </p:txBody>
          </p:sp>
          <p:sp>
            <p:nvSpPr>
              <p:cNvPr id="107" name="Freeform 5"/>
              <p:cNvSpPr>
                <a:spLocks/>
              </p:cNvSpPr>
              <p:nvPr/>
            </p:nvSpPr>
            <p:spPr bwMode="auto">
              <a:xfrm>
                <a:off x="5721343" y="3016786"/>
                <a:ext cx="857981" cy="581230"/>
              </a:xfrm>
              <a:custGeom>
                <a:avLst/>
                <a:gdLst>
                  <a:gd name="T0" fmla="*/ 2147483646 w 728"/>
                  <a:gd name="T1" fmla="*/ 0 h 536"/>
                  <a:gd name="T2" fmla="*/ 2147483646 w 728"/>
                  <a:gd name="T3" fmla="*/ 2147483646 h 536"/>
                  <a:gd name="T4" fmla="*/ 2147483646 w 728"/>
                  <a:gd name="T5" fmla="*/ 2147483646 h 536"/>
                  <a:gd name="T6" fmla="*/ 2147483646 w 728"/>
                  <a:gd name="T7" fmla="*/ 2147483646 h 536"/>
                  <a:gd name="T8" fmla="*/ 2147483646 w 728"/>
                  <a:gd name="T9" fmla="*/ 2147483646 h 536"/>
                  <a:gd name="T10" fmla="*/ 2147483646 w 728"/>
                  <a:gd name="T11" fmla="*/ 2147483646 h 536"/>
                  <a:gd name="T12" fmla="*/ 2147483646 w 728"/>
                  <a:gd name="T13" fmla="*/ 2147483646 h 536"/>
                  <a:gd name="T14" fmla="*/ 2147483646 w 728"/>
                  <a:gd name="T15" fmla="*/ 2147483646 h 536"/>
                  <a:gd name="T16" fmla="*/ 2147483646 w 728"/>
                  <a:gd name="T17" fmla="*/ 2147483646 h 536"/>
                  <a:gd name="T18" fmla="*/ 2147483646 w 728"/>
                  <a:gd name="T19" fmla="*/ 2147483646 h 536"/>
                  <a:gd name="T20" fmla="*/ 2147483646 w 728"/>
                  <a:gd name="T21" fmla="*/ 2147483646 h 536"/>
                  <a:gd name="T22" fmla="*/ 0 w 728"/>
                  <a:gd name="T23" fmla="*/ 2147483646 h 536"/>
                  <a:gd name="T24" fmla="*/ 2147483646 w 728"/>
                  <a:gd name="T25" fmla="*/ 2147483646 h 536"/>
                  <a:gd name="T26" fmla="*/ 2147483646 w 728"/>
                  <a:gd name="T27" fmla="*/ 2147483646 h 536"/>
                  <a:gd name="T28" fmla="*/ 2147483646 w 728"/>
                  <a:gd name="T29" fmla="*/ 2147483646 h 536"/>
                  <a:gd name="T30" fmla="*/ 2147483646 w 728"/>
                  <a:gd name="T31" fmla="*/ 2147483646 h 536"/>
                  <a:gd name="T32" fmla="*/ 2147483646 w 728"/>
                  <a:gd name="T33" fmla="*/ 2147483646 h 536"/>
                  <a:gd name="T34" fmla="*/ 2147483646 w 728"/>
                  <a:gd name="T35" fmla="*/ 2147483646 h 536"/>
                  <a:gd name="T36" fmla="*/ 2147483646 w 728"/>
                  <a:gd name="T37" fmla="*/ 2147483646 h 536"/>
                  <a:gd name="T38" fmla="*/ 2147483646 w 728"/>
                  <a:gd name="T39" fmla="*/ 2147483646 h 536"/>
                  <a:gd name="T40" fmla="*/ 2147483646 w 728"/>
                  <a:gd name="T41" fmla="*/ 2147483646 h 536"/>
                  <a:gd name="T42" fmla="*/ 2147483646 w 728"/>
                  <a:gd name="T43" fmla="*/ 2147483646 h 536"/>
                  <a:gd name="T44" fmla="*/ 2147483646 w 728"/>
                  <a:gd name="T45" fmla="*/ 2147483646 h 536"/>
                  <a:gd name="T46" fmla="*/ 2147483646 w 728"/>
                  <a:gd name="T47" fmla="*/ 2147483646 h 536"/>
                  <a:gd name="T48" fmla="*/ 2147483646 w 728"/>
                  <a:gd name="T49" fmla="*/ 2147483646 h 536"/>
                  <a:gd name="T50" fmla="*/ 2147483646 w 728"/>
                  <a:gd name="T51" fmla="*/ 2147483646 h 536"/>
                  <a:gd name="T52" fmla="*/ 2147483646 w 728"/>
                  <a:gd name="T53" fmla="*/ 2147483646 h 536"/>
                  <a:gd name="T54" fmla="*/ 2147483646 w 728"/>
                  <a:gd name="T55" fmla="*/ 2147483646 h 536"/>
                  <a:gd name="T56" fmla="*/ 2147483646 w 728"/>
                  <a:gd name="T57" fmla="*/ 2147483646 h 536"/>
                  <a:gd name="T58" fmla="*/ 2147483646 w 728"/>
                  <a:gd name="T59" fmla="*/ 2147483646 h 536"/>
                  <a:gd name="T60" fmla="*/ 2147483646 w 728"/>
                  <a:gd name="T61" fmla="*/ 2147483646 h 536"/>
                  <a:gd name="T62" fmla="*/ 2147483646 w 728"/>
                  <a:gd name="T63" fmla="*/ 2147483646 h 536"/>
                  <a:gd name="T64" fmla="*/ 2147483646 w 728"/>
                  <a:gd name="T65" fmla="*/ 2147483646 h 536"/>
                  <a:gd name="T66" fmla="*/ 2147483646 w 728"/>
                  <a:gd name="T67" fmla="*/ 2147483646 h 536"/>
                  <a:gd name="T68" fmla="*/ 2147483646 w 728"/>
                  <a:gd name="T69" fmla="*/ 2147483646 h 536"/>
                  <a:gd name="T70" fmla="*/ 2147483646 w 728"/>
                  <a:gd name="T71" fmla="*/ 2147483646 h 536"/>
                  <a:gd name="T72" fmla="*/ 2147483646 w 728"/>
                  <a:gd name="T73" fmla="*/ 2147483646 h 536"/>
                  <a:gd name="T74" fmla="*/ 2147483646 w 728"/>
                  <a:gd name="T75" fmla="*/ 2147483646 h 536"/>
                  <a:gd name="T76" fmla="*/ 2147483646 w 728"/>
                  <a:gd name="T77" fmla="*/ 2147483646 h 536"/>
                  <a:gd name="T78" fmla="*/ 2147483646 w 728"/>
                  <a:gd name="T79" fmla="*/ 2147483646 h 536"/>
                  <a:gd name="T80" fmla="*/ 2147483646 w 728"/>
                  <a:gd name="T81" fmla="*/ 2147483646 h 536"/>
                  <a:gd name="T82" fmla="*/ 2147483646 w 728"/>
                  <a:gd name="T83" fmla="*/ 2147483646 h 536"/>
                  <a:gd name="T84" fmla="*/ 2147483646 w 728"/>
                  <a:gd name="T85" fmla="*/ 2147483646 h 536"/>
                  <a:gd name="T86" fmla="*/ 2147483646 w 728"/>
                  <a:gd name="T87" fmla="*/ 2147483646 h 536"/>
                  <a:gd name="T88" fmla="*/ 2147483646 w 728"/>
                  <a:gd name="T89" fmla="*/ 2147483646 h 536"/>
                  <a:gd name="T90" fmla="*/ 2147483646 w 728"/>
                  <a:gd name="T91" fmla="*/ 2147483646 h 536"/>
                  <a:gd name="T92" fmla="*/ 2147483646 w 728"/>
                  <a:gd name="T93" fmla="*/ 2147483646 h 536"/>
                  <a:gd name="T94" fmla="*/ 2147483646 w 728"/>
                  <a:gd name="T95" fmla="*/ 0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8"/>
                  <a:gd name="T145" fmla="*/ 0 h 536"/>
                  <a:gd name="T146" fmla="*/ 728 w 728"/>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8" h="536">
                    <a:moveTo>
                      <a:pt x="368" y="0"/>
                    </a:moveTo>
                    <a:lnTo>
                      <a:pt x="296" y="40"/>
                    </a:lnTo>
                    <a:lnTo>
                      <a:pt x="248" y="32"/>
                    </a:lnTo>
                    <a:lnTo>
                      <a:pt x="224" y="88"/>
                    </a:lnTo>
                    <a:lnTo>
                      <a:pt x="192" y="64"/>
                    </a:lnTo>
                    <a:lnTo>
                      <a:pt x="96" y="64"/>
                    </a:lnTo>
                    <a:lnTo>
                      <a:pt x="120" y="88"/>
                    </a:lnTo>
                    <a:lnTo>
                      <a:pt x="72" y="88"/>
                    </a:lnTo>
                    <a:lnTo>
                      <a:pt x="80" y="152"/>
                    </a:lnTo>
                    <a:lnTo>
                      <a:pt x="48" y="144"/>
                    </a:lnTo>
                    <a:lnTo>
                      <a:pt x="48" y="176"/>
                    </a:lnTo>
                    <a:lnTo>
                      <a:pt x="0" y="160"/>
                    </a:lnTo>
                    <a:lnTo>
                      <a:pt x="16" y="240"/>
                    </a:lnTo>
                    <a:lnTo>
                      <a:pt x="48" y="312"/>
                    </a:lnTo>
                    <a:lnTo>
                      <a:pt x="80" y="352"/>
                    </a:lnTo>
                    <a:lnTo>
                      <a:pt x="128" y="352"/>
                    </a:lnTo>
                    <a:lnTo>
                      <a:pt x="152" y="392"/>
                    </a:lnTo>
                    <a:lnTo>
                      <a:pt x="216" y="384"/>
                    </a:lnTo>
                    <a:lnTo>
                      <a:pt x="272" y="344"/>
                    </a:lnTo>
                    <a:lnTo>
                      <a:pt x="296" y="392"/>
                    </a:lnTo>
                    <a:lnTo>
                      <a:pt x="248" y="424"/>
                    </a:lnTo>
                    <a:lnTo>
                      <a:pt x="304" y="496"/>
                    </a:lnTo>
                    <a:lnTo>
                      <a:pt x="360" y="488"/>
                    </a:lnTo>
                    <a:lnTo>
                      <a:pt x="392" y="456"/>
                    </a:lnTo>
                    <a:lnTo>
                      <a:pt x="432" y="496"/>
                    </a:lnTo>
                    <a:lnTo>
                      <a:pt x="496" y="464"/>
                    </a:lnTo>
                    <a:lnTo>
                      <a:pt x="496" y="416"/>
                    </a:lnTo>
                    <a:lnTo>
                      <a:pt x="536" y="424"/>
                    </a:lnTo>
                    <a:lnTo>
                      <a:pt x="552" y="480"/>
                    </a:lnTo>
                    <a:lnTo>
                      <a:pt x="592" y="440"/>
                    </a:lnTo>
                    <a:lnTo>
                      <a:pt x="600" y="496"/>
                    </a:lnTo>
                    <a:lnTo>
                      <a:pt x="640" y="536"/>
                    </a:lnTo>
                    <a:lnTo>
                      <a:pt x="656" y="488"/>
                    </a:lnTo>
                    <a:lnTo>
                      <a:pt x="688" y="512"/>
                    </a:lnTo>
                    <a:lnTo>
                      <a:pt x="728" y="504"/>
                    </a:lnTo>
                    <a:lnTo>
                      <a:pt x="704" y="400"/>
                    </a:lnTo>
                    <a:lnTo>
                      <a:pt x="656" y="376"/>
                    </a:lnTo>
                    <a:lnTo>
                      <a:pt x="616" y="352"/>
                    </a:lnTo>
                    <a:lnTo>
                      <a:pt x="600" y="320"/>
                    </a:lnTo>
                    <a:lnTo>
                      <a:pt x="560" y="312"/>
                    </a:lnTo>
                    <a:lnTo>
                      <a:pt x="560" y="256"/>
                    </a:lnTo>
                    <a:lnTo>
                      <a:pt x="528" y="208"/>
                    </a:lnTo>
                    <a:lnTo>
                      <a:pt x="480" y="208"/>
                    </a:lnTo>
                    <a:lnTo>
                      <a:pt x="464" y="160"/>
                    </a:lnTo>
                    <a:lnTo>
                      <a:pt x="464" y="96"/>
                    </a:lnTo>
                    <a:lnTo>
                      <a:pt x="424" y="88"/>
                    </a:lnTo>
                    <a:lnTo>
                      <a:pt x="400" y="48"/>
                    </a:lnTo>
                    <a:lnTo>
                      <a:pt x="368" y="0"/>
                    </a:lnTo>
                    <a:close/>
                  </a:path>
                </a:pathLst>
              </a:custGeom>
              <a:solidFill>
                <a:srgbClr val="4670F8"/>
              </a:solidFill>
              <a:ln w="9525">
                <a:solidFill>
                  <a:schemeClr val="bg1"/>
                </a:solidFill>
                <a:round/>
                <a:headEnd/>
                <a:tailEnd/>
              </a:ln>
            </p:spPr>
            <p:txBody>
              <a:bodyPr/>
              <a:lstStyle/>
              <a:p>
                <a:endParaRPr lang="en-US" sz="1050"/>
              </a:p>
            </p:txBody>
          </p:sp>
          <p:sp>
            <p:nvSpPr>
              <p:cNvPr id="108" name="Freeform 7"/>
              <p:cNvSpPr>
                <a:spLocks/>
              </p:cNvSpPr>
              <p:nvPr/>
            </p:nvSpPr>
            <p:spPr bwMode="auto">
              <a:xfrm>
                <a:off x="5268782" y="3207638"/>
                <a:ext cx="810839" cy="555205"/>
              </a:xfrm>
              <a:custGeom>
                <a:avLst/>
                <a:gdLst>
                  <a:gd name="T0" fmla="*/ 2147483646 w 688"/>
                  <a:gd name="T1" fmla="*/ 2147483646 h 512"/>
                  <a:gd name="T2" fmla="*/ 2147483646 w 688"/>
                  <a:gd name="T3" fmla="*/ 2147483646 h 512"/>
                  <a:gd name="T4" fmla="*/ 2147483646 w 688"/>
                  <a:gd name="T5" fmla="*/ 2147483646 h 512"/>
                  <a:gd name="T6" fmla="*/ 2147483646 w 688"/>
                  <a:gd name="T7" fmla="*/ 2147483646 h 512"/>
                  <a:gd name="T8" fmla="*/ 2147483646 w 688"/>
                  <a:gd name="T9" fmla="*/ 2147483646 h 512"/>
                  <a:gd name="T10" fmla="*/ 2147483646 w 688"/>
                  <a:gd name="T11" fmla="*/ 2147483646 h 512"/>
                  <a:gd name="T12" fmla="*/ 2147483646 w 688"/>
                  <a:gd name="T13" fmla="*/ 2147483646 h 512"/>
                  <a:gd name="T14" fmla="*/ 2147483646 w 688"/>
                  <a:gd name="T15" fmla="*/ 2147483646 h 512"/>
                  <a:gd name="T16" fmla="*/ 2147483646 w 688"/>
                  <a:gd name="T17" fmla="*/ 2147483646 h 512"/>
                  <a:gd name="T18" fmla="*/ 2147483646 w 688"/>
                  <a:gd name="T19" fmla="*/ 2147483646 h 512"/>
                  <a:gd name="T20" fmla="*/ 2147483646 w 688"/>
                  <a:gd name="T21" fmla="*/ 2147483646 h 512"/>
                  <a:gd name="T22" fmla="*/ 2147483646 w 688"/>
                  <a:gd name="T23" fmla="*/ 2147483646 h 512"/>
                  <a:gd name="T24" fmla="*/ 2147483646 w 688"/>
                  <a:gd name="T25" fmla="*/ 2147483646 h 512"/>
                  <a:gd name="T26" fmla="*/ 2147483646 w 688"/>
                  <a:gd name="T27" fmla="*/ 2147483646 h 512"/>
                  <a:gd name="T28" fmla="*/ 2147483646 w 688"/>
                  <a:gd name="T29" fmla="*/ 0 h 512"/>
                  <a:gd name="T30" fmla="*/ 2147483646 w 688"/>
                  <a:gd name="T31" fmla="*/ 2147483646 h 512"/>
                  <a:gd name="T32" fmla="*/ 2147483646 w 688"/>
                  <a:gd name="T33" fmla="*/ 2147483646 h 512"/>
                  <a:gd name="T34" fmla="*/ 0 w 688"/>
                  <a:gd name="T35" fmla="*/ 2147483646 h 512"/>
                  <a:gd name="T36" fmla="*/ 2147483646 w 688"/>
                  <a:gd name="T37" fmla="*/ 2147483646 h 512"/>
                  <a:gd name="T38" fmla="*/ 2147483646 w 688"/>
                  <a:gd name="T39" fmla="*/ 2147483646 h 512"/>
                  <a:gd name="T40" fmla="*/ 2147483646 w 688"/>
                  <a:gd name="T41" fmla="*/ 2147483646 h 512"/>
                  <a:gd name="T42" fmla="*/ 2147483646 w 688"/>
                  <a:gd name="T43" fmla="*/ 2147483646 h 512"/>
                  <a:gd name="T44" fmla="*/ 2147483646 w 688"/>
                  <a:gd name="T45" fmla="*/ 2147483646 h 512"/>
                  <a:gd name="T46" fmla="*/ 2147483646 w 688"/>
                  <a:gd name="T47" fmla="*/ 2147483646 h 512"/>
                  <a:gd name="T48" fmla="*/ 2147483646 w 688"/>
                  <a:gd name="T49" fmla="*/ 2147483646 h 512"/>
                  <a:gd name="T50" fmla="*/ 2147483646 w 688"/>
                  <a:gd name="T51" fmla="*/ 2147483646 h 512"/>
                  <a:gd name="T52" fmla="*/ 2147483646 w 688"/>
                  <a:gd name="T53" fmla="*/ 2147483646 h 512"/>
                  <a:gd name="T54" fmla="*/ 2147483646 w 688"/>
                  <a:gd name="T55" fmla="*/ 2147483646 h 512"/>
                  <a:gd name="T56" fmla="*/ 2147483646 w 688"/>
                  <a:gd name="T57" fmla="*/ 2147483646 h 512"/>
                  <a:gd name="T58" fmla="*/ 2147483646 w 688"/>
                  <a:gd name="T59" fmla="*/ 2147483646 h 512"/>
                  <a:gd name="T60" fmla="*/ 2147483646 w 688"/>
                  <a:gd name="T61" fmla="*/ 2147483646 h 512"/>
                  <a:gd name="T62" fmla="*/ 2147483646 w 688"/>
                  <a:gd name="T63" fmla="*/ 2147483646 h 512"/>
                  <a:gd name="T64" fmla="*/ 2147483646 w 688"/>
                  <a:gd name="T65" fmla="*/ 2147483646 h 512"/>
                  <a:gd name="T66" fmla="*/ 2147483646 w 688"/>
                  <a:gd name="T67" fmla="*/ 2147483646 h 512"/>
                  <a:gd name="T68" fmla="*/ 2147483646 w 688"/>
                  <a:gd name="T69" fmla="*/ 2147483646 h 512"/>
                  <a:gd name="T70" fmla="*/ 2147483646 w 688"/>
                  <a:gd name="T71" fmla="*/ 2147483646 h 512"/>
                  <a:gd name="T72" fmla="*/ 2147483646 w 688"/>
                  <a:gd name="T73" fmla="*/ 2147483646 h 512"/>
                  <a:gd name="T74" fmla="*/ 2147483646 w 688"/>
                  <a:gd name="T75" fmla="*/ 2147483646 h 512"/>
                  <a:gd name="T76" fmla="*/ 2147483646 w 688"/>
                  <a:gd name="T77" fmla="*/ 2147483646 h 512"/>
                  <a:gd name="T78" fmla="*/ 2147483646 w 688"/>
                  <a:gd name="T79" fmla="*/ 2147483646 h 512"/>
                  <a:gd name="T80" fmla="*/ 2147483646 w 688"/>
                  <a:gd name="T81" fmla="*/ 2147483646 h 512"/>
                  <a:gd name="T82" fmla="*/ 2147483646 w 688"/>
                  <a:gd name="T83" fmla="*/ 2147483646 h 512"/>
                  <a:gd name="T84" fmla="*/ 2147483646 w 688"/>
                  <a:gd name="T85" fmla="*/ 2147483646 h 5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8"/>
                  <a:gd name="T130" fmla="*/ 0 h 512"/>
                  <a:gd name="T131" fmla="*/ 688 w 688"/>
                  <a:gd name="T132" fmla="*/ 512 h 5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8" h="512">
                    <a:moveTo>
                      <a:pt x="688" y="320"/>
                    </a:moveTo>
                    <a:lnTo>
                      <a:pt x="632" y="248"/>
                    </a:lnTo>
                    <a:lnTo>
                      <a:pt x="680" y="216"/>
                    </a:lnTo>
                    <a:lnTo>
                      <a:pt x="656" y="168"/>
                    </a:lnTo>
                    <a:lnTo>
                      <a:pt x="600" y="208"/>
                    </a:lnTo>
                    <a:lnTo>
                      <a:pt x="536" y="216"/>
                    </a:lnTo>
                    <a:lnTo>
                      <a:pt x="512" y="176"/>
                    </a:lnTo>
                    <a:lnTo>
                      <a:pt x="464" y="176"/>
                    </a:lnTo>
                    <a:lnTo>
                      <a:pt x="432" y="136"/>
                    </a:lnTo>
                    <a:lnTo>
                      <a:pt x="400" y="64"/>
                    </a:lnTo>
                    <a:lnTo>
                      <a:pt x="336" y="8"/>
                    </a:lnTo>
                    <a:lnTo>
                      <a:pt x="216" y="8"/>
                    </a:lnTo>
                    <a:lnTo>
                      <a:pt x="152" y="16"/>
                    </a:lnTo>
                    <a:lnTo>
                      <a:pt x="104" y="40"/>
                    </a:lnTo>
                    <a:lnTo>
                      <a:pt x="48" y="0"/>
                    </a:lnTo>
                    <a:lnTo>
                      <a:pt x="64" y="64"/>
                    </a:lnTo>
                    <a:lnTo>
                      <a:pt x="8" y="112"/>
                    </a:lnTo>
                    <a:lnTo>
                      <a:pt x="0" y="168"/>
                    </a:lnTo>
                    <a:lnTo>
                      <a:pt x="32" y="192"/>
                    </a:lnTo>
                    <a:lnTo>
                      <a:pt x="40" y="256"/>
                    </a:lnTo>
                    <a:lnTo>
                      <a:pt x="72" y="256"/>
                    </a:lnTo>
                    <a:lnTo>
                      <a:pt x="80" y="304"/>
                    </a:lnTo>
                    <a:lnTo>
                      <a:pt x="48" y="280"/>
                    </a:lnTo>
                    <a:lnTo>
                      <a:pt x="40" y="336"/>
                    </a:lnTo>
                    <a:lnTo>
                      <a:pt x="64" y="344"/>
                    </a:lnTo>
                    <a:lnTo>
                      <a:pt x="64" y="456"/>
                    </a:lnTo>
                    <a:lnTo>
                      <a:pt x="96" y="512"/>
                    </a:lnTo>
                    <a:lnTo>
                      <a:pt x="120" y="480"/>
                    </a:lnTo>
                    <a:lnTo>
                      <a:pt x="144" y="480"/>
                    </a:lnTo>
                    <a:lnTo>
                      <a:pt x="168" y="456"/>
                    </a:lnTo>
                    <a:lnTo>
                      <a:pt x="200" y="480"/>
                    </a:lnTo>
                    <a:lnTo>
                      <a:pt x="256" y="432"/>
                    </a:lnTo>
                    <a:lnTo>
                      <a:pt x="280" y="464"/>
                    </a:lnTo>
                    <a:lnTo>
                      <a:pt x="392" y="440"/>
                    </a:lnTo>
                    <a:lnTo>
                      <a:pt x="440" y="384"/>
                    </a:lnTo>
                    <a:lnTo>
                      <a:pt x="520" y="384"/>
                    </a:lnTo>
                    <a:lnTo>
                      <a:pt x="552" y="352"/>
                    </a:lnTo>
                    <a:lnTo>
                      <a:pt x="576" y="392"/>
                    </a:lnTo>
                    <a:lnTo>
                      <a:pt x="624" y="376"/>
                    </a:lnTo>
                    <a:lnTo>
                      <a:pt x="648" y="408"/>
                    </a:lnTo>
                    <a:lnTo>
                      <a:pt x="688" y="392"/>
                    </a:lnTo>
                    <a:lnTo>
                      <a:pt x="680" y="352"/>
                    </a:lnTo>
                    <a:lnTo>
                      <a:pt x="688" y="320"/>
                    </a:lnTo>
                    <a:close/>
                  </a:path>
                </a:pathLst>
              </a:custGeom>
              <a:solidFill>
                <a:srgbClr val="9950A8"/>
              </a:solidFill>
              <a:ln w="9525">
                <a:solidFill>
                  <a:schemeClr val="bg1"/>
                </a:solidFill>
                <a:round/>
                <a:headEnd/>
                <a:tailEnd/>
              </a:ln>
            </p:spPr>
            <p:txBody>
              <a:bodyPr/>
              <a:lstStyle/>
              <a:p>
                <a:endParaRPr lang="en-US" sz="1050"/>
              </a:p>
            </p:txBody>
          </p:sp>
          <p:sp>
            <p:nvSpPr>
              <p:cNvPr id="109" name="Freeform 8"/>
              <p:cNvSpPr>
                <a:spLocks/>
              </p:cNvSpPr>
              <p:nvPr/>
            </p:nvSpPr>
            <p:spPr bwMode="auto">
              <a:xfrm>
                <a:off x="4835078" y="3329089"/>
                <a:ext cx="744840" cy="789432"/>
              </a:xfrm>
              <a:custGeom>
                <a:avLst/>
                <a:gdLst>
                  <a:gd name="T0" fmla="*/ 2147483646 w 632"/>
                  <a:gd name="T1" fmla="*/ 2147483646 h 728"/>
                  <a:gd name="T2" fmla="*/ 2147483646 w 632"/>
                  <a:gd name="T3" fmla="*/ 0 h 728"/>
                  <a:gd name="T4" fmla="*/ 2147483646 w 632"/>
                  <a:gd name="T5" fmla="*/ 2147483646 h 728"/>
                  <a:gd name="T6" fmla="*/ 2147483646 w 632"/>
                  <a:gd name="T7" fmla="*/ 2147483646 h 728"/>
                  <a:gd name="T8" fmla="*/ 2147483646 w 632"/>
                  <a:gd name="T9" fmla="*/ 2147483646 h 728"/>
                  <a:gd name="T10" fmla="*/ 2147483646 w 632"/>
                  <a:gd name="T11" fmla="*/ 2147483646 h 728"/>
                  <a:gd name="T12" fmla="*/ 2147483646 w 632"/>
                  <a:gd name="T13" fmla="*/ 2147483646 h 728"/>
                  <a:gd name="T14" fmla="*/ 2147483646 w 632"/>
                  <a:gd name="T15" fmla="*/ 2147483646 h 728"/>
                  <a:gd name="T16" fmla="*/ 2147483646 w 632"/>
                  <a:gd name="T17" fmla="*/ 2147483646 h 728"/>
                  <a:gd name="T18" fmla="*/ 2147483646 w 632"/>
                  <a:gd name="T19" fmla="*/ 2147483646 h 728"/>
                  <a:gd name="T20" fmla="*/ 2147483646 w 632"/>
                  <a:gd name="T21" fmla="*/ 2147483646 h 728"/>
                  <a:gd name="T22" fmla="*/ 2147483646 w 632"/>
                  <a:gd name="T23" fmla="*/ 2147483646 h 728"/>
                  <a:gd name="T24" fmla="*/ 2147483646 w 632"/>
                  <a:gd name="T25" fmla="*/ 2147483646 h 728"/>
                  <a:gd name="T26" fmla="*/ 2147483646 w 632"/>
                  <a:gd name="T27" fmla="*/ 2147483646 h 728"/>
                  <a:gd name="T28" fmla="*/ 2147483646 w 632"/>
                  <a:gd name="T29" fmla="*/ 2147483646 h 728"/>
                  <a:gd name="T30" fmla="*/ 2147483646 w 632"/>
                  <a:gd name="T31" fmla="*/ 2147483646 h 728"/>
                  <a:gd name="T32" fmla="*/ 2147483646 w 632"/>
                  <a:gd name="T33" fmla="*/ 2147483646 h 728"/>
                  <a:gd name="T34" fmla="*/ 2147483646 w 632"/>
                  <a:gd name="T35" fmla="*/ 2147483646 h 728"/>
                  <a:gd name="T36" fmla="*/ 2147483646 w 632"/>
                  <a:gd name="T37" fmla="*/ 2147483646 h 728"/>
                  <a:gd name="T38" fmla="*/ 2147483646 w 632"/>
                  <a:gd name="T39" fmla="*/ 2147483646 h 728"/>
                  <a:gd name="T40" fmla="*/ 2147483646 w 632"/>
                  <a:gd name="T41" fmla="*/ 2147483646 h 728"/>
                  <a:gd name="T42" fmla="*/ 2147483646 w 632"/>
                  <a:gd name="T43" fmla="*/ 2147483646 h 728"/>
                  <a:gd name="T44" fmla="*/ 2147483646 w 632"/>
                  <a:gd name="T45" fmla="*/ 2147483646 h 728"/>
                  <a:gd name="T46" fmla="*/ 2147483646 w 632"/>
                  <a:gd name="T47" fmla="*/ 2147483646 h 728"/>
                  <a:gd name="T48" fmla="*/ 2147483646 w 632"/>
                  <a:gd name="T49" fmla="*/ 2147483646 h 728"/>
                  <a:gd name="T50" fmla="*/ 2147483646 w 632"/>
                  <a:gd name="T51" fmla="*/ 2147483646 h 728"/>
                  <a:gd name="T52" fmla="*/ 2147483646 w 632"/>
                  <a:gd name="T53" fmla="*/ 2147483646 h 728"/>
                  <a:gd name="T54" fmla="*/ 2147483646 w 632"/>
                  <a:gd name="T55" fmla="*/ 2147483646 h 728"/>
                  <a:gd name="T56" fmla="*/ 2147483646 w 632"/>
                  <a:gd name="T57" fmla="*/ 2147483646 h 728"/>
                  <a:gd name="T58" fmla="*/ 2147483646 w 632"/>
                  <a:gd name="T59" fmla="*/ 2147483646 h 728"/>
                  <a:gd name="T60" fmla="*/ 2147483646 w 632"/>
                  <a:gd name="T61" fmla="*/ 2147483646 h 728"/>
                  <a:gd name="T62" fmla="*/ 2147483646 w 632"/>
                  <a:gd name="T63" fmla="*/ 2147483646 h 728"/>
                  <a:gd name="T64" fmla="*/ 2147483646 w 632"/>
                  <a:gd name="T65" fmla="*/ 2147483646 h 728"/>
                  <a:gd name="T66" fmla="*/ 2147483646 w 632"/>
                  <a:gd name="T67" fmla="*/ 2147483646 h 728"/>
                  <a:gd name="T68" fmla="*/ 0 w 632"/>
                  <a:gd name="T69" fmla="*/ 2147483646 h 728"/>
                  <a:gd name="T70" fmla="*/ 2147483646 w 632"/>
                  <a:gd name="T71" fmla="*/ 2147483646 h 728"/>
                  <a:gd name="T72" fmla="*/ 2147483646 w 632"/>
                  <a:gd name="T73" fmla="*/ 2147483646 h 728"/>
                  <a:gd name="T74" fmla="*/ 2147483646 w 632"/>
                  <a:gd name="T75" fmla="*/ 2147483646 h 728"/>
                  <a:gd name="T76" fmla="*/ 2147483646 w 632"/>
                  <a:gd name="T77" fmla="*/ 2147483646 h 728"/>
                  <a:gd name="T78" fmla="*/ 2147483646 w 632"/>
                  <a:gd name="T79" fmla="*/ 2147483646 h 728"/>
                  <a:gd name="T80" fmla="*/ 2147483646 w 632"/>
                  <a:gd name="T81" fmla="*/ 2147483646 h 728"/>
                  <a:gd name="T82" fmla="*/ 2147483646 w 632"/>
                  <a:gd name="T83" fmla="*/ 2147483646 h 728"/>
                  <a:gd name="T84" fmla="*/ 2147483646 w 632"/>
                  <a:gd name="T85" fmla="*/ 2147483646 h 728"/>
                  <a:gd name="T86" fmla="*/ 2147483646 w 632"/>
                  <a:gd name="T87" fmla="*/ 2147483646 h 728"/>
                  <a:gd name="T88" fmla="*/ 2147483646 w 632"/>
                  <a:gd name="T89" fmla="*/ 2147483646 h 728"/>
                  <a:gd name="T90" fmla="*/ 2147483646 w 632"/>
                  <a:gd name="T91" fmla="*/ 2147483646 h 7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2"/>
                  <a:gd name="T139" fmla="*/ 0 h 728"/>
                  <a:gd name="T140" fmla="*/ 632 w 632"/>
                  <a:gd name="T141" fmla="*/ 728 h 7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2" h="728">
                    <a:moveTo>
                      <a:pt x="176" y="56"/>
                    </a:moveTo>
                    <a:lnTo>
                      <a:pt x="216" y="0"/>
                    </a:lnTo>
                    <a:lnTo>
                      <a:pt x="296" y="8"/>
                    </a:lnTo>
                    <a:lnTo>
                      <a:pt x="280" y="64"/>
                    </a:lnTo>
                    <a:lnTo>
                      <a:pt x="368" y="56"/>
                    </a:lnTo>
                    <a:lnTo>
                      <a:pt x="400" y="80"/>
                    </a:lnTo>
                    <a:lnTo>
                      <a:pt x="408" y="144"/>
                    </a:lnTo>
                    <a:lnTo>
                      <a:pt x="440" y="144"/>
                    </a:lnTo>
                    <a:lnTo>
                      <a:pt x="448" y="192"/>
                    </a:lnTo>
                    <a:lnTo>
                      <a:pt x="416" y="168"/>
                    </a:lnTo>
                    <a:lnTo>
                      <a:pt x="408" y="224"/>
                    </a:lnTo>
                    <a:lnTo>
                      <a:pt x="432" y="232"/>
                    </a:lnTo>
                    <a:lnTo>
                      <a:pt x="432" y="344"/>
                    </a:lnTo>
                    <a:lnTo>
                      <a:pt x="464" y="400"/>
                    </a:lnTo>
                    <a:lnTo>
                      <a:pt x="488" y="368"/>
                    </a:lnTo>
                    <a:lnTo>
                      <a:pt x="512" y="368"/>
                    </a:lnTo>
                    <a:lnTo>
                      <a:pt x="528" y="432"/>
                    </a:lnTo>
                    <a:lnTo>
                      <a:pt x="560" y="472"/>
                    </a:lnTo>
                    <a:lnTo>
                      <a:pt x="528" y="504"/>
                    </a:lnTo>
                    <a:lnTo>
                      <a:pt x="520" y="544"/>
                    </a:lnTo>
                    <a:lnTo>
                      <a:pt x="576" y="552"/>
                    </a:lnTo>
                    <a:lnTo>
                      <a:pt x="560" y="584"/>
                    </a:lnTo>
                    <a:lnTo>
                      <a:pt x="632" y="584"/>
                    </a:lnTo>
                    <a:lnTo>
                      <a:pt x="632" y="648"/>
                    </a:lnTo>
                    <a:lnTo>
                      <a:pt x="600" y="712"/>
                    </a:lnTo>
                    <a:lnTo>
                      <a:pt x="424" y="728"/>
                    </a:lnTo>
                    <a:lnTo>
                      <a:pt x="376" y="680"/>
                    </a:lnTo>
                    <a:lnTo>
                      <a:pt x="352" y="600"/>
                    </a:lnTo>
                    <a:lnTo>
                      <a:pt x="296" y="632"/>
                    </a:lnTo>
                    <a:lnTo>
                      <a:pt x="240" y="720"/>
                    </a:lnTo>
                    <a:lnTo>
                      <a:pt x="192" y="680"/>
                    </a:lnTo>
                    <a:lnTo>
                      <a:pt x="168" y="696"/>
                    </a:lnTo>
                    <a:lnTo>
                      <a:pt x="120" y="664"/>
                    </a:lnTo>
                    <a:lnTo>
                      <a:pt x="40" y="632"/>
                    </a:lnTo>
                    <a:lnTo>
                      <a:pt x="0" y="552"/>
                    </a:lnTo>
                    <a:lnTo>
                      <a:pt x="32" y="544"/>
                    </a:lnTo>
                    <a:lnTo>
                      <a:pt x="32" y="496"/>
                    </a:lnTo>
                    <a:lnTo>
                      <a:pt x="112" y="424"/>
                    </a:lnTo>
                    <a:lnTo>
                      <a:pt x="112" y="392"/>
                    </a:lnTo>
                    <a:lnTo>
                      <a:pt x="160" y="376"/>
                    </a:lnTo>
                    <a:lnTo>
                      <a:pt x="176" y="328"/>
                    </a:lnTo>
                    <a:lnTo>
                      <a:pt x="208" y="312"/>
                    </a:lnTo>
                    <a:lnTo>
                      <a:pt x="168" y="216"/>
                    </a:lnTo>
                    <a:lnTo>
                      <a:pt x="200" y="152"/>
                    </a:lnTo>
                    <a:lnTo>
                      <a:pt x="192" y="104"/>
                    </a:lnTo>
                    <a:lnTo>
                      <a:pt x="176" y="56"/>
                    </a:lnTo>
                    <a:close/>
                  </a:path>
                </a:pathLst>
              </a:custGeom>
              <a:solidFill>
                <a:srgbClr val="4670F8"/>
              </a:solidFill>
              <a:ln w="9525">
                <a:solidFill>
                  <a:schemeClr val="bg1"/>
                </a:solidFill>
                <a:round/>
                <a:headEnd/>
                <a:tailEnd/>
              </a:ln>
            </p:spPr>
            <p:txBody>
              <a:bodyPr/>
              <a:lstStyle/>
              <a:p>
                <a:endParaRPr lang="en-US" sz="1050"/>
              </a:p>
            </p:txBody>
          </p:sp>
          <p:sp>
            <p:nvSpPr>
              <p:cNvPr id="110" name="Freeform 9"/>
              <p:cNvSpPr>
                <a:spLocks/>
              </p:cNvSpPr>
              <p:nvPr/>
            </p:nvSpPr>
            <p:spPr bwMode="auto">
              <a:xfrm>
                <a:off x="5438493" y="3589341"/>
                <a:ext cx="820267" cy="572555"/>
              </a:xfrm>
              <a:custGeom>
                <a:avLst/>
                <a:gdLst>
                  <a:gd name="T0" fmla="*/ 2147483646 w 696"/>
                  <a:gd name="T1" fmla="*/ 2147483646 h 528"/>
                  <a:gd name="T2" fmla="*/ 2147483646 w 696"/>
                  <a:gd name="T3" fmla="*/ 2147483646 h 528"/>
                  <a:gd name="T4" fmla="*/ 2147483646 w 696"/>
                  <a:gd name="T5" fmla="*/ 2147483646 h 528"/>
                  <a:gd name="T6" fmla="*/ 2147483646 w 696"/>
                  <a:gd name="T7" fmla="*/ 2147483646 h 528"/>
                  <a:gd name="T8" fmla="*/ 2147483646 w 696"/>
                  <a:gd name="T9" fmla="*/ 2147483646 h 528"/>
                  <a:gd name="T10" fmla="*/ 2147483646 w 696"/>
                  <a:gd name="T11" fmla="*/ 2147483646 h 528"/>
                  <a:gd name="T12" fmla="*/ 2147483646 w 696"/>
                  <a:gd name="T13" fmla="*/ 2147483646 h 528"/>
                  <a:gd name="T14" fmla="*/ 2147483646 w 696"/>
                  <a:gd name="T15" fmla="*/ 2147483646 h 528"/>
                  <a:gd name="T16" fmla="*/ 0 w 696"/>
                  <a:gd name="T17" fmla="*/ 2147483646 h 528"/>
                  <a:gd name="T18" fmla="*/ 2147483646 w 696"/>
                  <a:gd name="T19" fmla="*/ 2147483646 h 528"/>
                  <a:gd name="T20" fmla="*/ 2147483646 w 696"/>
                  <a:gd name="T21" fmla="*/ 2147483646 h 528"/>
                  <a:gd name="T22" fmla="*/ 2147483646 w 696"/>
                  <a:gd name="T23" fmla="*/ 2147483646 h 528"/>
                  <a:gd name="T24" fmla="*/ 2147483646 w 696"/>
                  <a:gd name="T25" fmla="*/ 2147483646 h 528"/>
                  <a:gd name="T26" fmla="*/ 2147483646 w 696"/>
                  <a:gd name="T27" fmla="*/ 2147483646 h 528"/>
                  <a:gd name="T28" fmla="*/ 2147483646 w 696"/>
                  <a:gd name="T29" fmla="*/ 2147483646 h 528"/>
                  <a:gd name="T30" fmla="*/ 2147483646 w 696"/>
                  <a:gd name="T31" fmla="*/ 2147483646 h 528"/>
                  <a:gd name="T32" fmla="*/ 2147483646 w 696"/>
                  <a:gd name="T33" fmla="*/ 0 h 528"/>
                  <a:gd name="T34" fmla="*/ 2147483646 w 696"/>
                  <a:gd name="T35" fmla="*/ 2147483646 h 528"/>
                  <a:gd name="T36" fmla="*/ 2147483646 w 696"/>
                  <a:gd name="T37" fmla="*/ 2147483646 h 528"/>
                  <a:gd name="T38" fmla="*/ 2147483646 w 696"/>
                  <a:gd name="T39" fmla="*/ 2147483646 h 528"/>
                  <a:gd name="T40" fmla="*/ 2147483646 w 696"/>
                  <a:gd name="T41" fmla="*/ 2147483646 h 528"/>
                  <a:gd name="T42" fmla="*/ 2147483646 w 696"/>
                  <a:gd name="T43" fmla="*/ 2147483646 h 528"/>
                  <a:gd name="T44" fmla="*/ 2147483646 w 696"/>
                  <a:gd name="T45" fmla="*/ 2147483646 h 528"/>
                  <a:gd name="T46" fmla="*/ 2147483646 w 696"/>
                  <a:gd name="T47" fmla="*/ 2147483646 h 528"/>
                  <a:gd name="T48" fmla="*/ 2147483646 w 696"/>
                  <a:gd name="T49" fmla="*/ 2147483646 h 528"/>
                  <a:gd name="T50" fmla="*/ 2147483646 w 696"/>
                  <a:gd name="T51" fmla="*/ 2147483646 h 528"/>
                  <a:gd name="T52" fmla="*/ 2147483646 w 696"/>
                  <a:gd name="T53" fmla="*/ 2147483646 h 528"/>
                  <a:gd name="T54" fmla="*/ 2147483646 w 696"/>
                  <a:gd name="T55" fmla="*/ 2147483646 h 528"/>
                  <a:gd name="T56" fmla="*/ 2147483646 w 696"/>
                  <a:gd name="T57" fmla="*/ 2147483646 h 528"/>
                  <a:gd name="T58" fmla="*/ 2147483646 w 696"/>
                  <a:gd name="T59" fmla="*/ 2147483646 h 528"/>
                  <a:gd name="T60" fmla="*/ 2147483646 w 696"/>
                  <a:gd name="T61" fmla="*/ 2147483646 h 528"/>
                  <a:gd name="T62" fmla="*/ 2147483646 w 696"/>
                  <a:gd name="T63" fmla="*/ 2147483646 h 528"/>
                  <a:gd name="T64" fmla="*/ 2147483646 w 696"/>
                  <a:gd name="T65" fmla="*/ 2147483646 h 528"/>
                  <a:gd name="T66" fmla="*/ 2147483646 w 696"/>
                  <a:gd name="T67" fmla="*/ 2147483646 h 528"/>
                  <a:gd name="T68" fmla="*/ 2147483646 w 696"/>
                  <a:gd name="T69" fmla="*/ 2147483646 h 528"/>
                  <a:gd name="T70" fmla="*/ 2147483646 w 696"/>
                  <a:gd name="T71" fmla="*/ 2147483646 h 528"/>
                  <a:gd name="T72" fmla="*/ 2147483646 w 696"/>
                  <a:gd name="T73" fmla="*/ 2147483646 h 528"/>
                  <a:gd name="T74" fmla="*/ 2147483646 w 696"/>
                  <a:gd name="T75" fmla="*/ 2147483646 h 5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6"/>
                  <a:gd name="T115" fmla="*/ 0 h 528"/>
                  <a:gd name="T116" fmla="*/ 696 w 696"/>
                  <a:gd name="T117" fmla="*/ 528 h 5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6" h="528">
                    <a:moveTo>
                      <a:pt x="120" y="408"/>
                    </a:moveTo>
                    <a:lnTo>
                      <a:pt x="120" y="344"/>
                    </a:lnTo>
                    <a:lnTo>
                      <a:pt x="48" y="344"/>
                    </a:lnTo>
                    <a:lnTo>
                      <a:pt x="64" y="312"/>
                    </a:lnTo>
                    <a:lnTo>
                      <a:pt x="8" y="304"/>
                    </a:lnTo>
                    <a:lnTo>
                      <a:pt x="16" y="264"/>
                    </a:lnTo>
                    <a:lnTo>
                      <a:pt x="48" y="232"/>
                    </a:lnTo>
                    <a:lnTo>
                      <a:pt x="16" y="192"/>
                    </a:lnTo>
                    <a:lnTo>
                      <a:pt x="0" y="128"/>
                    </a:lnTo>
                    <a:lnTo>
                      <a:pt x="24" y="104"/>
                    </a:lnTo>
                    <a:lnTo>
                      <a:pt x="56" y="128"/>
                    </a:lnTo>
                    <a:lnTo>
                      <a:pt x="112" y="80"/>
                    </a:lnTo>
                    <a:lnTo>
                      <a:pt x="136" y="112"/>
                    </a:lnTo>
                    <a:lnTo>
                      <a:pt x="248" y="88"/>
                    </a:lnTo>
                    <a:lnTo>
                      <a:pt x="296" y="32"/>
                    </a:lnTo>
                    <a:lnTo>
                      <a:pt x="376" y="32"/>
                    </a:lnTo>
                    <a:lnTo>
                      <a:pt x="408" y="0"/>
                    </a:lnTo>
                    <a:lnTo>
                      <a:pt x="432" y="40"/>
                    </a:lnTo>
                    <a:lnTo>
                      <a:pt x="480" y="24"/>
                    </a:lnTo>
                    <a:lnTo>
                      <a:pt x="504" y="56"/>
                    </a:lnTo>
                    <a:lnTo>
                      <a:pt x="544" y="40"/>
                    </a:lnTo>
                    <a:lnTo>
                      <a:pt x="584" y="72"/>
                    </a:lnTo>
                    <a:lnTo>
                      <a:pt x="576" y="144"/>
                    </a:lnTo>
                    <a:lnTo>
                      <a:pt x="656" y="264"/>
                    </a:lnTo>
                    <a:lnTo>
                      <a:pt x="664" y="304"/>
                    </a:lnTo>
                    <a:lnTo>
                      <a:pt x="696" y="352"/>
                    </a:lnTo>
                    <a:lnTo>
                      <a:pt x="696" y="432"/>
                    </a:lnTo>
                    <a:lnTo>
                      <a:pt x="648" y="424"/>
                    </a:lnTo>
                    <a:lnTo>
                      <a:pt x="624" y="448"/>
                    </a:lnTo>
                    <a:lnTo>
                      <a:pt x="576" y="432"/>
                    </a:lnTo>
                    <a:lnTo>
                      <a:pt x="512" y="456"/>
                    </a:lnTo>
                    <a:lnTo>
                      <a:pt x="440" y="504"/>
                    </a:lnTo>
                    <a:lnTo>
                      <a:pt x="336" y="488"/>
                    </a:lnTo>
                    <a:lnTo>
                      <a:pt x="272" y="528"/>
                    </a:lnTo>
                    <a:lnTo>
                      <a:pt x="192" y="512"/>
                    </a:lnTo>
                    <a:lnTo>
                      <a:pt x="160" y="472"/>
                    </a:lnTo>
                    <a:lnTo>
                      <a:pt x="152" y="408"/>
                    </a:lnTo>
                    <a:lnTo>
                      <a:pt x="120" y="408"/>
                    </a:lnTo>
                    <a:close/>
                  </a:path>
                </a:pathLst>
              </a:custGeom>
              <a:solidFill>
                <a:srgbClr val="9950A8"/>
              </a:solidFill>
              <a:ln w="9525">
                <a:solidFill>
                  <a:schemeClr val="bg1"/>
                </a:solidFill>
                <a:round/>
                <a:headEnd/>
                <a:tailEnd/>
              </a:ln>
            </p:spPr>
            <p:txBody>
              <a:bodyPr/>
              <a:lstStyle/>
              <a:p>
                <a:endParaRPr lang="en-US" sz="1050"/>
              </a:p>
            </p:txBody>
          </p:sp>
          <p:sp>
            <p:nvSpPr>
              <p:cNvPr id="111" name="Freeform 110"/>
              <p:cNvSpPr>
                <a:spLocks/>
              </p:cNvSpPr>
              <p:nvPr/>
            </p:nvSpPr>
            <p:spPr bwMode="auto">
              <a:xfrm>
                <a:off x="3845100" y="2730509"/>
                <a:ext cx="1074832" cy="494479"/>
              </a:xfrm>
              <a:custGeom>
                <a:avLst/>
                <a:gdLst>
                  <a:gd name="T0" fmla="*/ 2147483646 w 912"/>
                  <a:gd name="T1" fmla="*/ 2147483646 h 456"/>
                  <a:gd name="T2" fmla="*/ 2147483646 w 912"/>
                  <a:gd name="T3" fmla="*/ 2147483646 h 456"/>
                  <a:gd name="T4" fmla="*/ 2147483646 w 912"/>
                  <a:gd name="T5" fmla="*/ 2147483646 h 456"/>
                  <a:gd name="T6" fmla="*/ 2147483646 w 912"/>
                  <a:gd name="T7" fmla="*/ 2147483646 h 456"/>
                  <a:gd name="T8" fmla="*/ 2147483646 w 912"/>
                  <a:gd name="T9" fmla="*/ 2147483646 h 456"/>
                  <a:gd name="T10" fmla="*/ 2147483646 w 912"/>
                  <a:gd name="T11" fmla="*/ 2147483646 h 456"/>
                  <a:gd name="T12" fmla="*/ 2147483646 w 912"/>
                  <a:gd name="T13" fmla="*/ 2147483646 h 456"/>
                  <a:gd name="T14" fmla="*/ 2147483646 w 912"/>
                  <a:gd name="T15" fmla="*/ 2147483646 h 456"/>
                  <a:gd name="T16" fmla="*/ 2147483646 w 912"/>
                  <a:gd name="T17" fmla="*/ 2147483646 h 456"/>
                  <a:gd name="T18" fmla="*/ 2147483646 w 912"/>
                  <a:gd name="T19" fmla="*/ 2147483646 h 456"/>
                  <a:gd name="T20" fmla="*/ 2147483646 w 912"/>
                  <a:gd name="T21" fmla="*/ 2147483646 h 456"/>
                  <a:gd name="T22" fmla="*/ 2147483646 w 912"/>
                  <a:gd name="T23" fmla="*/ 2147483646 h 456"/>
                  <a:gd name="T24" fmla="*/ 2147483646 w 912"/>
                  <a:gd name="T25" fmla="*/ 2147483646 h 456"/>
                  <a:gd name="T26" fmla="*/ 2147483646 w 912"/>
                  <a:gd name="T27" fmla="*/ 2147483646 h 456"/>
                  <a:gd name="T28" fmla="*/ 2147483646 w 912"/>
                  <a:gd name="T29" fmla="*/ 2147483646 h 456"/>
                  <a:gd name="T30" fmla="*/ 2147483646 w 912"/>
                  <a:gd name="T31" fmla="*/ 2147483646 h 456"/>
                  <a:gd name="T32" fmla="*/ 2147483646 w 912"/>
                  <a:gd name="T33" fmla="*/ 2147483646 h 456"/>
                  <a:gd name="T34" fmla="*/ 2147483646 w 912"/>
                  <a:gd name="T35" fmla="*/ 2147483646 h 456"/>
                  <a:gd name="T36" fmla="*/ 2147483646 w 912"/>
                  <a:gd name="T37" fmla="*/ 2147483646 h 456"/>
                  <a:gd name="T38" fmla="*/ 0 w 912"/>
                  <a:gd name="T39" fmla="*/ 2147483646 h 456"/>
                  <a:gd name="T40" fmla="*/ 0 w 912"/>
                  <a:gd name="T41" fmla="*/ 2147483646 h 456"/>
                  <a:gd name="T42" fmla="*/ 2147483646 w 912"/>
                  <a:gd name="T43" fmla="*/ 2147483646 h 456"/>
                  <a:gd name="T44" fmla="*/ 2147483646 w 912"/>
                  <a:gd name="T45" fmla="*/ 2147483646 h 456"/>
                  <a:gd name="T46" fmla="*/ 2147483646 w 912"/>
                  <a:gd name="T47" fmla="*/ 2147483646 h 456"/>
                  <a:gd name="T48" fmla="*/ 2147483646 w 912"/>
                  <a:gd name="T49" fmla="*/ 2147483646 h 456"/>
                  <a:gd name="T50" fmla="*/ 2147483646 w 912"/>
                  <a:gd name="T51" fmla="*/ 2147483646 h 456"/>
                  <a:gd name="T52" fmla="*/ 2147483646 w 912"/>
                  <a:gd name="T53" fmla="*/ 2147483646 h 456"/>
                  <a:gd name="T54" fmla="*/ 2147483646 w 912"/>
                  <a:gd name="T55" fmla="*/ 2147483646 h 456"/>
                  <a:gd name="T56" fmla="*/ 2147483646 w 912"/>
                  <a:gd name="T57" fmla="*/ 2147483646 h 456"/>
                  <a:gd name="T58" fmla="*/ 2147483646 w 912"/>
                  <a:gd name="T59" fmla="*/ 2147483646 h 456"/>
                  <a:gd name="T60" fmla="*/ 2147483646 w 912"/>
                  <a:gd name="T61" fmla="*/ 2147483646 h 456"/>
                  <a:gd name="T62" fmla="*/ 2147483646 w 912"/>
                  <a:gd name="T63" fmla="*/ 2147483646 h 456"/>
                  <a:gd name="T64" fmla="*/ 2147483646 w 912"/>
                  <a:gd name="T65" fmla="*/ 0 h 456"/>
                  <a:gd name="T66" fmla="*/ 2147483646 w 912"/>
                  <a:gd name="T67" fmla="*/ 2147483646 h 456"/>
                  <a:gd name="T68" fmla="*/ 2147483646 w 912"/>
                  <a:gd name="T69" fmla="*/ 2147483646 h 456"/>
                  <a:gd name="T70" fmla="*/ 2147483646 w 912"/>
                  <a:gd name="T71" fmla="*/ 2147483646 h 456"/>
                  <a:gd name="T72" fmla="*/ 2147483646 w 912"/>
                  <a:gd name="T73" fmla="*/ 2147483646 h 456"/>
                  <a:gd name="T74" fmla="*/ 2147483646 w 912"/>
                  <a:gd name="T75" fmla="*/ 2147483646 h 456"/>
                  <a:gd name="T76" fmla="*/ 2147483646 w 912"/>
                  <a:gd name="T77" fmla="*/ 2147483646 h 456"/>
                  <a:gd name="T78" fmla="*/ 2147483646 w 912"/>
                  <a:gd name="T79" fmla="*/ 2147483646 h 456"/>
                  <a:gd name="T80" fmla="*/ 2147483646 w 912"/>
                  <a:gd name="T81" fmla="*/ 2147483646 h 456"/>
                  <a:gd name="T82" fmla="*/ 2147483646 w 912"/>
                  <a:gd name="T83" fmla="*/ 2147483646 h 456"/>
                  <a:gd name="T84" fmla="*/ 2147483646 w 912"/>
                  <a:gd name="T85" fmla="*/ 2147483646 h 456"/>
                  <a:gd name="T86" fmla="*/ 2147483646 w 912"/>
                  <a:gd name="T87" fmla="*/ 2147483646 h 456"/>
                  <a:gd name="T88" fmla="*/ 2147483646 w 912"/>
                  <a:gd name="T89" fmla="*/ 2147483646 h 456"/>
                  <a:gd name="T90" fmla="*/ 2147483646 w 912"/>
                  <a:gd name="T91" fmla="*/ 2147483646 h 456"/>
                  <a:gd name="T92" fmla="*/ 2147483646 w 912"/>
                  <a:gd name="T93" fmla="*/ 2147483646 h 456"/>
                  <a:gd name="T94" fmla="*/ 2147483646 w 912"/>
                  <a:gd name="T95" fmla="*/ 2147483646 h 456"/>
                  <a:gd name="T96" fmla="*/ 2147483646 w 912"/>
                  <a:gd name="T97" fmla="*/ 214748364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12"/>
                  <a:gd name="T148" fmla="*/ 0 h 456"/>
                  <a:gd name="T149" fmla="*/ 912 w 912"/>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12" h="456">
                    <a:moveTo>
                      <a:pt x="888" y="200"/>
                    </a:moveTo>
                    <a:lnTo>
                      <a:pt x="912" y="256"/>
                    </a:lnTo>
                    <a:lnTo>
                      <a:pt x="880" y="288"/>
                    </a:lnTo>
                    <a:lnTo>
                      <a:pt x="776" y="312"/>
                    </a:lnTo>
                    <a:lnTo>
                      <a:pt x="672" y="288"/>
                    </a:lnTo>
                    <a:lnTo>
                      <a:pt x="616" y="280"/>
                    </a:lnTo>
                    <a:lnTo>
                      <a:pt x="592" y="296"/>
                    </a:lnTo>
                    <a:lnTo>
                      <a:pt x="568" y="296"/>
                    </a:lnTo>
                    <a:lnTo>
                      <a:pt x="544" y="336"/>
                    </a:lnTo>
                    <a:lnTo>
                      <a:pt x="496" y="344"/>
                    </a:lnTo>
                    <a:lnTo>
                      <a:pt x="488" y="392"/>
                    </a:lnTo>
                    <a:lnTo>
                      <a:pt x="448" y="432"/>
                    </a:lnTo>
                    <a:lnTo>
                      <a:pt x="376" y="448"/>
                    </a:lnTo>
                    <a:lnTo>
                      <a:pt x="328" y="456"/>
                    </a:lnTo>
                    <a:lnTo>
                      <a:pt x="312" y="408"/>
                    </a:lnTo>
                    <a:lnTo>
                      <a:pt x="240" y="424"/>
                    </a:lnTo>
                    <a:lnTo>
                      <a:pt x="152" y="408"/>
                    </a:lnTo>
                    <a:lnTo>
                      <a:pt x="120" y="376"/>
                    </a:lnTo>
                    <a:lnTo>
                      <a:pt x="64" y="408"/>
                    </a:lnTo>
                    <a:lnTo>
                      <a:pt x="0" y="408"/>
                    </a:lnTo>
                    <a:lnTo>
                      <a:pt x="0" y="368"/>
                    </a:lnTo>
                    <a:lnTo>
                      <a:pt x="32" y="360"/>
                    </a:lnTo>
                    <a:lnTo>
                      <a:pt x="24" y="312"/>
                    </a:lnTo>
                    <a:lnTo>
                      <a:pt x="72" y="264"/>
                    </a:lnTo>
                    <a:lnTo>
                      <a:pt x="136" y="296"/>
                    </a:lnTo>
                    <a:lnTo>
                      <a:pt x="144" y="232"/>
                    </a:lnTo>
                    <a:lnTo>
                      <a:pt x="168" y="192"/>
                    </a:lnTo>
                    <a:lnTo>
                      <a:pt x="96" y="184"/>
                    </a:lnTo>
                    <a:lnTo>
                      <a:pt x="104" y="152"/>
                    </a:lnTo>
                    <a:lnTo>
                      <a:pt x="256" y="128"/>
                    </a:lnTo>
                    <a:lnTo>
                      <a:pt x="296" y="56"/>
                    </a:lnTo>
                    <a:lnTo>
                      <a:pt x="248" y="40"/>
                    </a:lnTo>
                    <a:lnTo>
                      <a:pt x="248" y="0"/>
                    </a:lnTo>
                    <a:lnTo>
                      <a:pt x="296" y="24"/>
                    </a:lnTo>
                    <a:lnTo>
                      <a:pt x="352" y="16"/>
                    </a:lnTo>
                    <a:lnTo>
                      <a:pt x="384" y="64"/>
                    </a:lnTo>
                    <a:lnTo>
                      <a:pt x="432" y="40"/>
                    </a:lnTo>
                    <a:lnTo>
                      <a:pt x="504" y="72"/>
                    </a:lnTo>
                    <a:lnTo>
                      <a:pt x="520" y="64"/>
                    </a:lnTo>
                    <a:lnTo>
                      <a:pt x="552" y="88"/>
                    </a:lnTo>
                    <a:lnTo>
                      <a:pt x="584" y="56"/>
                    </a:lnTo>
                    <a:lnTo>
                      <a:pt x="608" y="72"/>
                    </a:lnTo>
                    <a:lnTo>
                      <a:pt x="632" y="40"/>
                    </a:lnTo>
                    <a:lnTo>
                      <a:pt x="704" y="48"/>
                    </a:lnTo>
                    <a:lnTo>
                      <a:pt x="752" y="88"/>
                    </a:lnTo>
                    <a:lnTo>
                      <a:pt x="744" y="112"/>
                    </a:lnTo>
                    <a:lnTo>
                      <a:pt x="816" y="152"/>
                    </a:lnTo>
                    <a:lnTo>
                      <a:pt x="848" y="208"/>
                    </a:lnTo>
                    <a:lnTo>
                      <a:pt x="888" y="200"/>
                    </a:lnTo>
                    <a:close/>
                  </a:path>
                </a:pathLst>
              </a:custGeom>
              <a:solidFill>
                <a:srgbClr val="C6CFEB"/>
              </a:solidFill>
              <a:ln w="9525">
                <a:solidFill>
                  <a:schemeClr val="bg1"/>
                </a:solidFill>
                <a:round/>
                <a:headEnd/>
                <a:tailEnd/>
              </a:ln>
            </p:spPr>
            <p:txBody>
              <a:bodyPr/>
              <a:lstStyle/>
              <a:p>
                <a:endParaRPr lang="en-US" sz="1050"/>
              </a:p>
            </p:txBody>
          </p:sp>
          <p:sp>
            <p:nvSpPr>
              <p:cNvPr id="112" name="Freeform 111"/>
              <p:cNvSpPr>
                <a:spLocks/>
              </p:cNvSpPr>
              <p:nvPr/>
            </p:nvSpPr>
            <p:spPr bwMode="auto">
              <a:xfrm>
                <a:off x="4325946" y="3034136"/>
                <a:ext cx="622271" cy="615930"/>
              </a:xfrm>
              <a:custGeom>
                <a:avLst/>
                <a:gdLst>
                  <a:gd name="T0" fmla="*/ 2147483646 w 528"/>
                  <a:gd name="T1" fmla="*/ 2147483646 h 568"/>
                  <a:gd name="T2" fmla="*/ 2147483646 w 528"/>
                  <a:gd name="T3" fmla="*/ 2147483646 h 568"/>
                  <a:gd name="T4" fmla="*/ 2147483646 w 528"/>
                  <a:gd name="T5" fmla="*/ 2147483646 h 568"/>
                  <a:gd name="T6" fmla="*/ 2147483646 w 528"/>
                  <a:gd name="T7" fmla="*/ 2147483646 h 568"/>
                  <a:gd name="T8" fmla="*/ 2147483646 w 528"/>
                  <a:gd name="T9" fmla="*/ 2147483646 h 568"/>
                  <a:gd name="T10" fmla="*/ 2147483646 w 528"/>
                  <a:gd name="T11" fmla="*/ 2147483646 h 568"/>
                  <a:gd name="T12" fmla="*/ 2147483646 w 528"/>
                  <a:gd name="T13" fmla="*/ 2147483646 h 568"/>
                  <a:gd name="T14" fmla="*/ 2147483646 w 528"/>
                  <a:gd name="T15" fmla="*/ 2147483646 h 568"/>
                  <a:gd name="T16" fmla="*/ 2147483646 w 528"/>
                  <a:gd name="T17" fmla="*/ 2147483646 h 568"/>
                  <a:gd name="T18" fmla="*/ 2147483646 w 528"/>
                  <a:gd name="T19" fmla="*/ 2147483646 h 568"/>
                  <a:gd name="T20" fmla="*/ 2147483646 w 528"/>
                  <a:gd name="T21" fmla="*/ 2147483646 h 568"/>
                  <a:gd name="T22" fmla="*/ 2147483646 w 528"/>
                  <a:gd name="T23" fmla="*/ 2147483646 h 568"/>
                  <a:gd name="T24" fmla="*/ 2147483646 w 528"/>
                  <a:gd name="T25" fmla="*/ 2147483646 h 568"/>
                  <a:gd name="T26" fmla="*/ 2147483646 w 528"/>
                  <a:gd name="T27" fmla="*/ 2147483646 h 568"/>
                  <a:gd name="T28" fmla="*/ 2147483646 w 528"/>
                  <a:gd name="T29" fmla="*/ 2147483646 h 568"/>
                  <a:gd name="T30" fmla="*/ 2147483646 w 528"/>
                  <a:gd name="T31" fmla="*/ 2147483646 h 568"/>
                  <a:gd name="T32" fmla="*/ 2147483646 w 528"/>
                  <a:gd name="T33" fmla="*/ 2147483646 h 568"/>
                  <a:gd name="T34" fmla="*/ 2147483646 w 528"/>
                  <a:gd name="T35" fmla="*/ 2147483646 h 568"/>
                  <a:gd name="T36" fmla="*/ 2147483646 w 528"/>
                  <a:gd name="T37" fmla="*/ 2147483646 h 568"/>
                  <a:gd name="T38" fmla="*/ 2147483646 w 528"/>
                  <a:gd name="T39" fmla="*/ 2147483646 h 568"/>
                  <a:gd name="T40" fmla="*/ 2147483646 w 528"/>
                  <a:gd name="T41" fmla="*/ 2147483646 h 568"/>
                  <a:gd name="T42" fmla="*/ 2147483646 w 528"/>
                  <a:gd name="T43" fmla="*/ 2147483646 h 568"/>
                  <a:gd name="T44" fmla="*/ 2147483646 w 528"/>
                  <a:gd name="T45" fmla="*/ 2147483646 h 568"/>
                  <a:gd name="T46" fmla="*/ 0 w 528"/>
                  <a:gd name="T47" fmla="*/ 2147483646 h 568"/>
                  <a:gd name="T48" fmla="*/ 2147483646 w 528"/>
                  <a:gd name="T49" fmla="*/ 2147483646 h 568"/>
                  <a:gd name="T50" fmla="*/ 2147483646 w 528"/>
                  <a:gd name="T51" fmla="*/ 2147483646 h 568"/>
                  <a:gd name="T52" fmla="*/ 2147483646 w 528"/>
                  <a:gd name="T53" fmla="*/ 2147483646 h 568"/>
                  <a:gd name="T54" fmla="*/ 2147483646 w 528"/>
                  <a:gd name="T55" fmla="*/ 2147483646 h 568"/>
                  <a:gd name="T56" fmla="*/ 2147483646 w 528"/>
                  <a:gd name="T57" fmla="*/ 2147483646 h 568"/>
                  <a:gd name="T58" fmla="*/ 2147483646 w 528"/>
                  <a:gd name="T59" fmla="*/ 2147483646 h 568"/>
                  <a:gd name="T60" fmla="*/ 2147483646 w 528"/>
                  <a:gd name="T61" fmla="*/ 2147483646 h 568"/>
                  <a:gd name="T62" fmla="*/ 2147483646 w 528"/>
                  <a:gd name="T63" fmla="*/ 2147483646 h 568"/>
                  <a:gd name="T64" fmla="*/ 2147483646 w 528"/>
                  <a:gd name="T65" fmla="*/ 0 h 568"/>
                  <a:gd name="T66" fmla="*/ 2147483646 w 528"/>
                  <a:gd name="T67" fmla="*/ 2147483646 h 568"/>
                  <a:gd name="T68" fmla="*/ 2147483646 w 528"/>
                  <a:gd name="T69" fmla="*/ 2147483646 h 568"/>
                  <a:gd name="T70" fmla="*/ 2147483646 w 528"/>
                  <a:gd name="T71" fmla="*/ 2147483646 h 5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8"/>
                  <a:gd name="T109" fmla="*/ 0 h 568"/>
                  <a:gd name="T110" fmla="*/ 528 w 528"/>
                  <a:gd name="T111" fmla="*/ 568 h 5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8" h="568">
                    <a:moveTo>
                      <a:pt x="472" y="8"/>
                    </a:moveTo>
                    <a:lnTo>
                      <a:pt x="512" y="32"/>
                    </a:lnTo>
                    <a:lnTo>
                      <a:pt x="528" y="72"/>
                    </a:lnTo>
                    <a:lnTo>
                      <a:pt x="520" y="104"/>
                    </a:lnTo>
                    <a:lnTo>
                      <a:pt x="480" y="104"/>
                    </a:lnTo>
                    <a:lnTo>
                      <a:pt x="504" y="152"/>
                    </a:lnTo>
                    <a:lnTo>
                      <a:pt x="480" y="200"/>
                    </a:lnTo>
                    <a:lnTo>
                      <a:pt x="504" y="240"/>
                    </a:lnTo>
                    <a:lnTo>
                      <a:pt x="488" y="304"/>
                    </a:lnTo>
                    <a:lnTo>
                      <a:pt x="408" y="336"/>
                    </a:lnTo>
                    <a:lnTo>
                      <a:pt x="376" y="384"/>
                    </a:lnTo>
                    <a:lnTo>
                      <a:pt x="376" y="440"/>
                    </a:lnTo>
                    <a:lnTo>
                      <a:pt x="328" y="424"/>
                    </a:lnTo>
                    <a:lnTo>
                      <a:pt x="264" y="472"/>
                    </a:lnTo>
                    <a:lnTo>
                      <a:pt x="272" y="528"/>
                    </a:lnTo>
                    <a:lnTo>
                      <a:pt x="224" y="568"/>
                    </a:lnTo>
                    <a:lnTo>
                      <a:pt x="168" y="560"/>
                    </a:lnTo>
                    <a:lnTo>
                      <a:pt x="112" y="544"/>
                    </a:lnTo>
                    <a:lnTo>
                      <a:pt x="120" y="464"/>
                    </a:lnTo>
                    <a:lnTo>
                      <a:pt x="88" y="432"/>
                    </a:lnTo>
                    <a:lnTo>
                      <a:pt x="104" y="360"/>
                    </a:lnTo>
                    <a:lnTo>
                      <a:pt x="72" y="328"/>
                    </a:lnTo>
                    <a:lnTo>
                      <a:pt x="40" y="280"/>
                    </a:lnTo>
                    <a:lnTo>
                      <a:pt x="0" y="280"/>
                    </a:lnTo>
                    <a:lnTo>
                      <a:pt x="8" y="224"/>
                    </a:lnTo>
                    <a:lnTo>
                      <a:pt x="56" y="192"/>
                    </a:lnTo>
                    <a:lnTo>
                      <a:pt x="40" y="152"/>
                    </a:lnTo>
                    <a:lnTo>
                      <a:pt x="80" y="112"/>
                    </a:lnTo>
                    <a:lnTo>
                      <a:pt x="88" y="64"/>
                    </a:lnTo>
                    <a:lnTo>
                      <a:pt x="136" y="56"/>
                    </a:lnTo>
                    <a:lnTo>
                      <a:pt x="160" y="16"/>
                    </a:lnTo>
                    <a:lnTo>
                      <a:pt x="184" y="16"/>
                    </a:lnTo>
                    <a:lnTo>
                      <a:pt x="208" y="0"/>
                    </a:lnTo>
                    <a:lnTo>
                      <a:pt x="272" y="8"/>
                    </a:lnTo>
                    <a:lnTo>
                      <a:pt x="368" y="32"/>
                    </a:lnTo>
                    <a:lnTo>
                      <a:pt x="472" y="8"/>
                    </a:lnTo>
                    <a:close/>
                  </a:path>
                </a:pathLst>
              </a:custGeom>
              <a:solidFill>
                <a:srgbClr val="C6CFEB"/>
              </a:solidFill>
              <a:ln w="9525">
                <a:solidFill>
                  <a:schemeClr val="bg1"/>
                </a:solidFill>
                <a:round/>
                <a:headEnd/>
                <a:tailEnd/>
              </a:ln>
            </p:spPr>
            <p:txBody>
              <a:bodyPr/>
              <a:lstStyle/>
              <a:p>
                <a:endParaRPr lang="en-US" sz="1050"/>
              </a:p>
            </p:txBody>
          </p:sp>
          <p:sp>
            <p:nvSpPr>
              <p:cNvPr id="113" name="Freeform 112"/>
              <p:cNvSpPr>
                <a:spLocks/>
              </p:cNvSpPr>
              <p:nvPr/>
            </p:nvSpPr>
            <p:spPr bwMode="auto">
              <a:xfrm>
                <a:off x="4325946" y="3355114"/>
                <a:ext cx="754269" cy="754732"/>
              </a:xfrm>
              <a:custGeom>
                <a:avLst/>
                <a:gdLst>
                  <a:gd name="T0" fmla="*/ 2147483646 w 640"/>
                  <a:gd name="T1" fmla="*/ 2147483646 h 696"/>
                  <a:gd name="T2" fmla="*/ 2147483646 w 640"/>
                  <a:gd name="T3" fmla="*/ 2147483646 h 696"/>
                  <a:gd name="T4" fmla="*/ 2147483646 w 640"/>
                  <a:gd name="T5" fmla="*/ 2147483646 h 696"/>
                  <a:gd name="T6" fmla="*/ 2147483646 w 640"/>
                  <a:gd name="T7" fmla="*/ 2147483646 h 696"/>
                  <a:gd name="T8" fmla="*/ 2147483646 w 640"/>
                  <a:gd name="T9" fmla="*/ 2147483646 h 696"/>
                  <a:gd name="T10" fmla="*/ 2147483646 w 640"/>
                  <a:gd name="T11" fmla="*/ 2147483646 h 696"/>
                  <a:gd name="T12" fmla="*/ 2147483646 w 640"/>
                  <a:gd name="T13" fmla="*/ 2147483646 h 696"/>
                  <a:gd name="T14" fmla="*/ 2147483646 w 640"/>
                  <a:gd name="T15" fmla="*/ 2147483646 h 696"/>
                  <a:gd name="T16" fmla="*/ 2147483646 w 640"/>
                  <a:gd name="T17" fmla="*/ 2147483646 h 696"/>
                  <a:gd name="T18" fmla="*/ 2147483646 w 640"/>
                  <a:gd name="T19" fmla="*/ 2147483646 h 696"/>
                  <a:gd name="T20" fmla="*/ 2147483646 w 640"/>
                  <a:gd name="T21" fmla="*/ 2147483646 h 696"/>
                  <a:gd name="T22" fmla="*/ 2147483646 w 640"/>
                  <a:gd name="T23" fmla="*/ 2147483646 h 696"/>
                  <a:gd name="T24" fmla="*/ 2147483646 w 640"/>
                  <a:gd name="T25" fmla="*/ 2147483646 h 696"/>
                  <a:gd name="T26" fmla="*/ 2147483646 w 640"/>
                  <a:gd name="T27" fmla="*/ 2147483646 h 696"/>
                  <a:gd name="T28" fmla="*/ 2147483646 w 640"/>
                  <a:gd name="T29" fmla="*/ 0 h 696"/>
                  <a:gd name="T30" fmla="*/ 2147483646 w 640"/>
                  <a:gd name="T31" fmla="*/ 2147483646 h 696"/>
                  <a:gd name="T32" fmla="*/ 2147483646 w 640"/>
                  <a:gd name="T33" fmla="*/ 2147483646 h 696"/>
                  <a:gd name="T34" fmla="*/ 2147483646 w 640"/>
                  <a:gd name="T35" fmla="*/ 2147483646 h 696"/>
                  <a:gd name="T36" fmla="*/ 2147483646 w 640"/>
                  <a:gd name="T37" fmla="*/ 2147483646 h 696"/>
                  <a:gd name="T38" fmla="*/ 2147483646 w 640"/>
                  <a:gd name="T39" fmla="*/ 2147483646 h 696"/>
                  <a:gd name="T40" fmla="*/ 2147483646 w 640"/>
                  <a:gd name="T41" fmla="*/ 2147483646 h 696"/>
                  <a:gd name="T42" fmla="*/ 2147483646 w 640"/>
                  <a:gd name="T43" fmla="*/ 2147483646 h 696"/>
                  <a:gd name="T44" fmla="*/ 2147483646 w 640"/>
                  <a:gd name="T45" fmla="*/ 2147483646 h 696"/>
                  <a:gd name="T46" fmla="*/ 2147483646 w 640"/>
                  <a:gd name="T47" fmla="*/ 2147483646 h 696"/>
                  <a:gd name="T48" fmla="*/ 2147483646 w 640"/>
                  <a:gd name="T49" fmla="*/ 2147483646 h 696"/>
                  <a:gd name="T50" fmla="*/ 2147483646 w 640"/>
                  <a:gd name="T51" fmla="*/ 2147483646 h 696"/>
                  <a:gd name="T52" fmla="*/ 2147483646 w 640"/>
                  <a:gd name="T53" fmla="*/ 2147483646 h 696"/>
                  <a:gd name="T54" fmla="*/ 2147483646 w 640"/>
                  <a:gd name="T55" fmla="*/ 2147483646 h 696"/>
                  <a:gd name="T56" fmla="*/ 2147483646 w 640"/>
                  <a:gd name="T57" fmla="*/ 2147483646 h 696"/>
                  <a:gd name="T58" fmla="*/ 2147483646 w 640"/>
                  <a:gd name="T59" fmla="*/ 2147483646 h 696"/>
                  <a:gd name="T60" fmla="*/ 2147483646 w 640"/>
                  <a:gd name="T61" fmla="*/ 2147483646 h 696"/>
                  <a:gd name="T62" fmla="*/ 2147483646 w 640"/>
                  <a:gd name="T63" fmla="*/ 2147483646 h 696"/>
                  <a:gd name="T64" fmla="*/ 0 w 640"/>
                  <a:gd name="T65" fmla="*/ 2147483646 h 696"/>
                  <a:gd name="T66" fmla="*/ 2147483646 w 640"/>
                  <a:gd name="T67" fmla="*/ 2147483646 h 696"/>
                  <a:gd name="T68" fmla="*/ 2147483646 w 640"/>
                  <a:gd name="T69" fmla="*/ 2147483646 h 696"/>
                  <a:gd name="T70" fmla="*/ 2147483646 w 640"/>
                  <a:gd name="T71" fmla="*/ 2147483646 h 696"/>
                  <a:gd name="T72" fmla="*/ 2147483646 w 640"/>
                  <a:gd name="T73" fmla="*/ 2147483646 h 696"/>
                  <a:gd name="T74" fmla="*/ 2147483646 w 640"/>
                  <a:gd name="T75" fmla="*/ 2147483646 h 696"/>
                  <a:gd name="T76" fmla="*/ 2147483646 w 640"/>
                  <a:gd name="T77" fmla="*/ 2147483646 h 696"/>
                  <a:gd name="T78" fmla="*/ 2147483646 w 640"/>
                  <a:gd name="T79" fmla="*/ 2147483646 h 696"/>
                  <a:gd name="T80" fmla="*/ 2147483646 w 640"/>
                  <a:gd name="T81" fmla="*/ 2147483646 h 696"/>
                  <a:gd name="T82" fmla="*/ 2147483646 w 640"/>
                  <a:gd name="T83" fmla="*/ 2147483646 h 696"/>
                  <a:gd name="T84" fmla="*/ 2147483646 w 640"/>
                  <a:gd name="T85" fmla="*/ 2147483646 h 696"/>
                  <a:gd name="T86" fmla="*/ 2147483646 w 640"/>
                  <a:gd name="T87" fmla="*/ 2147483646 h 696"/>
                  <a:gd name="T88" fmla="*/ 2147483646 w 640"/>
                  <a:gd name="T89" fmla="*/ 2147483646 h 696"/>
                  <a:gd name="T90" fmla="*/ 2147483646 w 640"/>
                  <a:gd name="T91" fmla="*/ 2147483646 h 696"/>
                  <a:gd name="T92" fmla="*/ 2147483646 w 640"/>
                  <a:gd name="T93" fmla="*/ 2147483646 h 696"/>
                  <a:gd name="T94" fmla="*/ 2147483646 w 640"/>
                  <a:gd name="T95" fmla="*/ 2147483646 h 696"/>
                  <a:gd name="T96" fmla="*/ 2147483646 w 640"/>
                  <a:gd name="T97" fmla="*/ 2147483646 h 696"/>
                  <a:gd name="T98" fmla="*/ 2147483646 w 640"/>
                  <a:gd name="T99" fmla="*/ 2147483646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0"/>
                  <a:gd name="T151" fmla="*/ 0 h 696"/>
                  <a:gd name="T152" fmla="*/ 640 w 64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0" h="696">
                    <a:moveTo>
                      <a:pt x="552" y="640"/>
                    </a:moveTo>
                    <a:lnTo>
                      <a:pt x="472" y="608"/>
                    </a:lnTo>
                    <a:lnTo>
                      <a:pt x="432" y="528"/>
                    </a:lnTo>
                    <a:lnTo>
                      <a:pt x="464" y="520"/>
                    </a:lnTo>
                    <a:lnTo>
                      <a:pt x="464" y="472"/>
                    </a:lnTo>
                    <a:lnTo>
                      <a:pt x="544" y="400"/>
                    </a:lnTo>
                    <a:lnTo>
                      <a:pt x="544" y="368"/>
                    </a:lnTo>
                    <a:lnTo>
                      <a:pt x="592" y="352"/>
                    </a:lnTo>
                    <a:lnTo>
                      <a:pt x="608" y="304"/>
                    </a:lnTo>
                    <a:lnTo>
                      <a:pt x="640" y="288"/>
                    </a:lnTo>
                    <a:lnTo>
                      <a:pt x="600" y="192"/>
                    </a:lnTo>
                    <a:lnTo>
                      <a:pt x="632" y="128"/>
                    </a:lnTo>
                    <a:lnTo>
                      <a:pt x="624" y="80"/>
                    </a:lnTo>
                    <a:lnTo>
                      <a:pt x="608" y="32"/>
                    </a:lnTo>
                    <a:lnTo>
                      <a:pt x="568" y="0"/>
                    </a:lnTo>
                    <a:lnTo>
                      <a:pt x="528" y="24"/>
                    </a:lnTo>
                    <a:lnTo>
                      <a:pt x="488" y="8"/>
                    </a:lnTo>
                    <a:lnTo>
                      <a:pt x="408" y="40"/>
                    </a:lnTo>
                    <a:lnTo>
                      <a:pt x="376" y="88"/>
                    </a:lnTo>
                    <a:lnTo>
                      <a:pt x="376" y="144"/>
                    </a:lnTo>
                    <a:lnTo>
                      <a:pt x="328" y="128"/>
                    </a:lnTo>
                    <a:lnTo>
                      <a:pt x="264" y="176"/>
                    </a:lnTo>
                    <a:lnTo>
                      <a:pt x="272" y="232"/>
                    </a:lnTo>
                    <a:lnTo>
                      <a:pt x="224" y="272"/>
                    </a:lnTo>
                    <a:lnTo>
                      <a:pt x="168" y="264"/>
                    </a:lnTo>
                    <a:lnTo>
                      <a:pt x="112" y="248"/>
                    </a:lnTo>
                    <a:lnTo>
                      <a:pt x="80" y="264"/>
                    </a:lnTo>
                    <a:lnTo>
                      <a:pt x="88" y="288"/>
                    </a:lnTo>
                    <a:lnTo>
                      <a:pt x="56" y="288"/>
                    </a:lnTo>
                    <a:lnTo>
                      <a:pt x="88" y="328"/>
                    </a:lnTo>
                    <a:lnTo>
                      <a:pt x="56" y="344"/>
                    </a:lnTo>
                    <a:lnTo>
                      <a:pt x="40" y="376"/>
                    </a:lnTo>
                    <a:lnTo>
                      <a:pt x="0" y="384"/>
                    </a:lnTo>
                    <a:lnTo>
                      <a:pt x="24" y="448"/>
                    </a:lnTo>
                    <a:lnTo>
                      <a:pt x="72" y="424"/>
                    </a:lnTo>
                    <a:lnTo>
                      <a:pt x="72" y="464"/>
                    </a:lnTo>
                    <a:lnTo>
                      <a:pt x="40" y="488"/>
                    </a:lnTo>
                    <a:lnTo>
                      <a:pt x="56" y="536"/>
                    </a:lnTo>
                    <a:lnTo>
                      <a:pt x="136" y="592"/>
                    </a:lnTo>
                    <a:lnTo>
                      <a:pt x="192" y="584"/>
                    </a:lnTo>
                    <a:lnTo>
                      <a:pt x="256" y="592"/>
                    </a:lnTo>
                    <a:lnTo>
                      <a:pt x="336" y="560"/>
                    </a:lnTo>
                    <a:lnTo>
                      <a:pt x="344" y="616"/>
                    </a:lnTo>
                    <a:lnTo>
                      <a:pt x="328" y="672"/>
                    </a:lnTo>
                    <a:lnTo>
                      <a:pt x="360" y="696"/>
                    </a:lnTo>
                    <a:lnTo>
                      <a:pt x="408" y="680"/>
                    </a:lnTo>
                    <a:lnTo>
                      <a:pt x="464" y="696"/>
                    </a:lnTo>
                    <a:lnTo>
                      <a:pt x="504" y="672"/>
                    </a:lnTo>
                    <a:lnTo>
                      <a:pt x="544" y="664"/>
                    </a:lnTo>
                    <a:lnTo>
                      <a:pt x="552" y="640"/>
                    </a:lnTo>
                    <a:close/>
                  </a:path>
                </a:pathLst>
              </a:custGeom>
              <a:solidFill>
                <a:srgbClr val="C6CFEB"/>
              </a:solidFill>
              <a:ln w="9525">
                <a:solidFill>
                  <a:schemeClr val="bg1"/>
                </a:solidFill>
                <a:round/>
                <a:headEnd/>
                <a:tailEnd/>
              </a:ln>
            </p:spPr>
            <p:txBody>
              <a:bodyPr/>
              <a:lstStyle/>
              <a:p>
                <a:endParaRPr lang="en-US" sz="1050"/>
              </a:p>
            </p:txBody>
          </p:sp>
          <p:sp>
            <p:nvSpPr>
              <p:cNvPr id="114" name="Freeform 113"/>
              <p:cNvSpPr>
                <a:spLocks/>
              </p:cNvSpPr>
              <p:nvPr/>
            </p:nvSpPr>
            <p:spPr bwMode="auto">
              <a:xfrm>
                <a:off x="3590535" y="3138237"/>
                <a:ext cx="697699" cy="399054"/>
              </a:xfrm>
              <a:custGeom>
                <a:avLst/>
                <a:gdLst>
                  <a:gd name="T0" fmla="*/ 2147483646 w 592"/>
                  <a:gd name="T1" fmla="*/ 2147483646 h 368"/>
                  <a:gd name="T2" fmla="*/ 2147483646 w 592"/>
                  <a:gd name="T3" fmla="*/ 0 h 368"/>
                  <a:gd name="T4" fmla="*/ 2147483646 w 592"/>
                  <a:gd name="T5" fmla="*/ 2147483646 h 368"/>
                  <a:gd name="T6" fmla="*/ 2147483646 w 592"/>
                  <a:gd name="T7" fmla="*/ 2147483646 h 368"/>
                  <a:gd name="T8" fmla="*/ 2147483646 w 592"/>
                  <a:gd name="T9" fmla="*/ 2147483646 h 368"/>
                  <a:gd name="T10" fmla="*/ 2147483646 w 592"/>
                  <a:gd name="T11" fmla="*/ 2147483646 h 368"/>
                  <a:gd name="T12" fmla="*/ 2147483646 w 592"/>
                  <a:gd name="T13" fmla="*/ 2147483646 h 368"/>
                  <a:gd name="T14" fmla="*/ 2147483646 w 592"/>
                  <a:gd name="T15" fmla="*/ 2147483646 h 368"/>
                  <a:gd name="T16" fmla="*/ 2147483646 w 592"/>
                  <a:gd name="T17" fmla="*/ 2147483646 h 368"/>
                  <a:gd name="T18" fmla="*/ 2147483646 w 592"/>
                  <a:gd name="T19" fmla="*/ 2147483646 h 368"/>
                  <a:gd name="T20" fmla="*/ 2147483646 w 592"/>
                  <a:gd name="T21" fmla="*/ 2147483646 h 368"/>
                  <a:gd name="T22" fmla="*/ 2147483646 w 592"/>
                  <a:gd name="T23" fmla="*/ 2147483646 h 368"/>
                  <a:gd name="T24" fmla="*/ 2147483646 w 592"/>
                  <a:gd name="T25" fmla="*/ 2147483646 h 368"/>
                  <a:gd name="T26" fmla="*/ 2147483646 w 592"/>
                  <a:gd name="T27" fmla="*/ 2147483646 h 368"/>
                  <a:gd name="T28" fmla="*/ 2147483646 w 592"/>
                  <a:gd name="T29" fmla="*/ 2147483646 h 368"/>
                  <a:gd name="T30" fmla="*/ 2147483646 w 592"/>
                  <a:gd name="T31" fmla="*/ 2147483646 h 368"/>
                  <a:gd name="T32" fmla="*/ 2147483646 w 592"/>
                  <a:gd name="T33" fmla="*/ 2147483646 h 368"/>
                  <a:gd name="T34" fmla="*/ 2147483646 w 592"/>
                  <a:gd name="T35" fmla="*/ 2147483646 h 368"/>
                  <a:gd name="T36" fmla="*/ 2147483646 w 592"/>
                  <a:gd name="T37" fmla="*/ 2147483646 h 368"/>
                  <a:gd name="T38" fmla="*/ 2147483646 w 592"/>
                  <a:gd name="T39" fmla="*/ 2147483646 h 368"/>
                  <a:gd name="T40" fmla="*/ 2147483646 w 592"/>
                  <a:gd name="T41" fmla="*/ 2147483646 h 368"/>
                  <a:gd name="T42" fmla="*/ 2147483646 w 592"/>
                  <a:gd name="T43" fmla="*/ 2147483646 h 368"/>
                  <a:gd name="T44" fmla="*/ 2147483646 w 592"/>
                  <a:gd name="T45" fmla="*/ 2147483646 h 368"/>
                  <a:gd name="T46" fmla="*/ 2147483646 w 592"/>
                  <a:gd name="T47" fmla="*/ 2147483646 h 368"/>
                  <a:gd name="T48" fmla="*/ 0 w 592"/>
                  <a:gd name="T49" fmla="*/ 2147483646 h 368"/>
                  <a:gd name="T50" fmla="*/ 2147483646 w 592"/>
                  <a:gd name="T51" fmla="*/ 2147483646 h 368"/>
                  <a:gd name="T52" fmla="*/ 2147483646 w 592"/>
                  <a:gd name="T53" fmla="*/ 2147483646 h 368"/>
                  <a:gd name="T54" fmla="*/ 2147483646 w 592"/>
                  <a:gd name="T55" fmla="*/ 2147483646 h 368"/>
                  <a:gd name="T56" fmla="*/ 2147483646 w 592"/>
                  <a:gd name="T57" fmla="*/ 2147483646 h 368"/>
                  <a:gd name="T58" fmla="*/ 2147483646 w 592"/>
                  <a:gd name="T59" fmla="*/ 2147483646 h 368"/>
                  <a:gd name="T60" fmla="*/ 2147483646 w 592"/>
                  <a:gd name="T61" fmla="*/ 2147483646 h 368"/>
                  <a:gd name="T62" fmla="*/ 2147483646 w 592"/>
                  <a:gd name="T63" fmla="*/ 2147483646 h 368"/>
                  <a:gd name="T64" fmla="*/ 2147483646 w 592"/>
                  <a:gd name="T65" fmla="*/ 2147483646 h 368"/>
                  <a:gd name="T66" fmla="*/ 2147483646 w 592"/>
                  <a:gd name="T67" fmla="*/ 2147483646 h 368"/>
                  <a:gd name="T68" fmla="*/ 2147483646 w 592"/>
                  <a:gd name="T69" fmla="*/ 2147483646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2"/>
                  <a:gd name="T106" fmla="*/ 0 h 368"/>
                  <a:gd name="T107" fmla="*/ 592 w 592"/>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2" h="368">
                    <a:moveTo>
                      <a:pt x="280" y="32"/>
                    </a:moveTo>
                    <a:lnTo>
                      <a:pt x="336" y="0"/>
                    </a:lnTo>
                    <a:lnTo>
                      <a:pt x="368" y="32"/>
                    </a:lnTo>
                    <a:lnTo>
                      <a:pt x="456" y="48"/>
                    </a:lnTo>
                    <a:lnTo>
                      <a:pt x="528" y="32"/>
                    </a:lnTo>
                    <a:lnTo>
                      <a:pt x="544" y="80"/>
                    </a:lnTo>
                    <a:lnTo>
                      <a:pt x="592" y="72"/>
                    </a:lnTo>
                    <a:lnTo>
                      <a:pt x="584" y="136"/>
                    </a:lnTo>
                    <a:lnTo>
                      <a:pt x="544" y="144"/>
                    </a:lnTo>
                    <a:lnTo>
                      <a:pt x="536" y="168"/>
                    </a:lnTo>
                    <a:lnTo>
                      <a:pt x="480" y="176"/>
                    </a:lnTo>
                    <a:lnTo>
                      <a:pt x="480" y="272"/>
                    </a:lnTo>
                    <a:lnTo>
                      <a:pt x="432" y="288"/>
                    </a:lnTo>
                    <a:lnTo>
                      <a:pt x="392" y="344"/>
                    </a:lnTo>
                    <a:lnTo>
                      <a:pt x="328" y="312"/>
                    </a:lnTo>
                    <a:lnTo>
                      <a:pt x="312" y="352"/>
                    </a:lnTo>
                    <a:lnTo>
                      <a:pt x="248" y="368"/>
                    </a:lnTo>
                    <a:lnTo>
                      <a:pt x="184" y="336"/>
                    </a:lnTo>
                    <a:lnTo>
                      <a:pt x="184" y="304"/>
                    </a:lnTo>
                    <a:lnTo>
                      <a:pt x="128" y="280"/>
                    </a:lnTo>
                    <a:lnTo>
                      <a:pt x="120" y="248"/>
                    </a:lnTo>
                    <a:lnTo>
                      <a:pt x="80" y="240"/>
                    </a:lnTo>
                    <a:lnTo>
                      <a:pt x="40" y="184"/>
                    </a:lnTo>
                    <a:lnTo>
                      <a:pt x="16" y="184"/>
                    </a:lnTo>
                    <a:lnTo>
                      <a:pt x="0" y="152"/>
                    </a:lnTo>
                    <a:lnTo>
                      <a:pt x="56" y="120"/>
                    </a:lnTo>
                    <a:lnTo>
                      <a:pt x="56" y="88"/>
                    </a:lnTo>
                    <a:lnTo>
                      <a:pt x="88" y="80"/>
                    </a:lnTo>
                    <a:lnTo>
                      <a:pt x="80" y="40"/>
                    </a:lnTo>
                    <a:lnTo>
                      <a:pt x="176" y="8"/>
                    </a:lnTo>
                    <a:lnTo>
                      <a:pt x="160" y="40"/>
                    </a:lnTo>
                    <a:lnTo>
                      <a:pt x="192" y="40"/>
                    </a:lnTo>
                    <a:lnTo>
                      <a:pt x="248" y="80"/>
                    </a:lnTo>
                    <a:lnTo>
                      <a:pt x="280" y="48"/>
                    </a:lnTo>
                    <a:lnTo>
                      <a:pt x="280" y="32"/>
                    </a:lnTo>
                    <a:close/>
                  </a:path>
                </a:pathLst>
              </a:custGeom>
              <a:solidFill>
                <a:srgbClr val="C6CFEB"/>
              </a:solidFill>
              <a:ln w="9525">
                <a:solidFill>
                  <a:schemeClr val="bg1"/>
                </a:solidFill>
                <a:round/>
                <a:headEnd/>
                <a:tailEnd/>
              </a:ln>
            </p:spPr>
            <p:txBody>
              <a:bodyPr/>
              <a:lstStyle/>
              <a:p>
                <a:endParaRPr lang="en-US" sz="1050"/>
              </a:p>
            </p:txBody>
          </p:sp>
          <p:sp>
            <p:nvSpPr>
              <p:cNvPr id="115" name="Freeform 114"/>
              <p:cNvSpPr>
                <a:spLocks/>
              </p:cNvSpPr>
              <p:nvPr/>
            </p:nvSpPr>
            <p:spPr bwMode="auto">
              <a:xfrm>
                <a:off x="3647104" y="3198963"/>
                <a:ext cx="820267" cy="685331"/>
              </a:xfrm>
              <a:custGeom>
                <a:avLst/>
                <a:gdLst>
                  <a:gd name="T0" fmla="*/ 2147483646 w 696"/>
                  <a:gd name="T1" fmla="*/ 2147483646 h 632"/>
                  <a:gd name="T2" fmla="*/ 2147483646 w 696"/>
                  <a:gd name="T3" fmla="*/ 2147483646 h 632"/>
                  <a:gd name="T4" fmla="*/ 2147483646 w 696"/>
                  <a:gd name="T5" fmla="*/ 2147483646 h 632"/>
                  <a:gd name="T6" fmla="*/ 2147483646 w 696"/>
                  <a:gd name="T7" fmla="*/ 2147483646 h 632"/>
                  <a:gd name="T8" fmla="*/ 2147483646 w 696"/>
                  <a:gd name="T9" fmla="*/ 2147483646 h 632"/>
                  <a:gd name="T10" fmla="*/ 2147483646 w 696"/>
                  <a:gd name="T11" fmla="*/ 2147483646 h 632"/>
                  <a:gd name="T12" fmla="*/ 2147483646 w 696"/>
                  <a:gd name="T13" fmla="*/ 2147483646 h 632"/>
                  <a:gd name="T14" fmla="*/ 2147483646 w 696"/>
                  <a:gd name="T15" fmla="*/ 2147483646 h 632"/>
                  <a:gd name="T16" fmla="*/ 2147483646 w 696"/>
                  <a:gd name="T17" fmla="*/ 2147483646 h 632"/>
                  <a:gd name="T18" fmla="*/ 2147483646 w 696"/>
                  <a:gd name="T19" fmla="*/ 2147483646 h 632"/>
                  <a:gd name="T20" fmla="*/ 2147483646 w 696"/>
                  <a:gd name="T21" fmla="*/ 2147483646 h 632"/>
                  <a:gd name="T22" fmla="*/ 2147483646 w 696"/>
                  <a:gd name="T23" fmla="*/ 2147483646 h 632"/>
                  <a:gd name="T24" fmla="*/ 2147483646 w 696"/>
                  <a:gd name="T25" fmla="*/ 2147483646 h 632"/>
                  <a:gd name="T26" fmla="*/ 2147483646 w 696"/>
                  <a:gd name="T27" fmla="*/ 2147483646 h 632"/>
                  <a:gd name="T28" fmla="*/ 2147483646 w 696"/>
                  <a:gd name="T29" fmla="*/ 0 h 632"/>
                  <a:gd name="T30" fmla="*/ 2147483646 w 696"/>
                  <a:gd name="T31" fmla="*/ 2147483646 h 632"/>
                  <a:gd name="T32" fmla="*/ 2147483646 w 696"/>
                  <a:gd name="T33" fmla="*/ 2147483646 h 632"/>
                  <a:gd name="T34" fmla="*/ 2147483646 w 696"/>
                  <a:gd name="T35" fmla="*/ 2147483646 h 632"/>
                  <a:gd name="T36" fmla="*/ 2147483646 w 696"/>
                  <a:gd name="T37" fmla="*/ 2147483646 h 632"/>
                  <a:gd name="T38" fmla="*/ 2147483646 w 696"/>
                  <a:gd name="T39" fmla="*/ 2147483646 h 632"/>
                  <a:gd name="T40" fmla="*/ 2147483646 w 696"/>
                  <a:gd name="T41" fmla="*/ 2147483646 h 632"/>
                  <a:gd name="T42" fmla="*/ 2147483646 w 696"/>
                  <a:gd name="T43" fmla="*/ 2147483646 h 632"/>
                  <a:gd name="T44" fmla="*/ 2147483646 w 696"/>
                  <a:gd name="T45" fmla="*/ 2147483646 h 632"/>
                  <a:gd name="T46" fmla="*/ 2147483646 w 696"/>
                  <a:gd name="T47" fmla="*/ 2147483646 h 632"/>
                  <a:gd name="T48" fmla="*/ 2147483646 w 696"/>
                  <a:gd name="T49" fmla="*/ 2147483646 h 632"/>
                  <a:gd name="T50" fmla="*/ 2147483646 w 696"/>
                  <a:gd name="T51" fmla="*/ 2147483646 h 632"/>
                  <a:gd name="T52" fmla="*/ 2147483646 w 696"/>
                  <a:gd name="T53" fmla="*/ 2147483646 h 632"/>
                  <a:gd name="T54" fmla="*/ 2147483646 w 696"/>
                  <a:gd name="T55" fmla="*/ 2147483646 h 632"/>
                  <a:gd name="T56" fmla="*/ 2147483646 w 696"/>
                  <a:gd name="T57" fmla="*/ 2147483646 h 632"/>
                  <a:gd name="T58" fmla="*/ 2147483646 w 696"/>
                  <a:gd name="T59" fmla="*/ 2147483646 h 632"/>
                  <a:gd name="T60" fmla="*/ 2147483646 w 696"/>
                  <a:gd name="T61" fmla="*/ 2147483646 h 632"/>
                  <a:gd name="T62" fmla="*/ 2147483646 w 696"/>
                  <a:gd name="T63" fmla="*/ 2147483646 h 632"/>
                  <a:gd name="T64" fmla="*/ 2147483646 w 696"/>
                  <a:gd name="T65" fmla="*/ 2147483646 h 632"/>
                  <a:gd name="T66" fmla="*/ 2147483646 w 696"/>
                  <a:gd name="T67" fmla="*/ 2147483646 h 632"/>
                  <a:gd name="T68" fmla="*/ 2147483646 w 696"/>
                  <a:gd name="T69" fmla="*/ 2147483646 h 632"/>
                  <a:gd name="T70" fmla="*/ 2147483646 w 696"/>
                  <a:gd name="T71" fmla="*/ 2147483646 h 632"/>
                  <a:gd name="T72" fmla="*/ 2147483646 w 696"/>
                  <a:gd name="T73" fmla="*/ 2147483646 h 632"/>
                  <a:gd name="T74" fmla="*/ 2147483646 w 696"/>
                  <a:gd name="T75" fmla="*/ 2147483646 h 632"/>
                  <a:gd name="T76" fmla="*/ 2147483646 w 696"/>
                  <a:gd name="T77" fmla="*/ 2147483646 h 632"/>
                  <a:gd name="T78" fmla="*/ 2147483646 w 696"/>
                  <a:gd name="T79" fmla="*/ 2147483646 h 632"/>
                  <a:gd name="T80" fmla="*/ 2147483646 w 696"/>
                  <a:gd name="T81" fmla="*/ 2147483646 h 632"/>
                  <a:gd name="T82" fmla="*/ 2147483646 w 696"/>
                  <a:gd name="T83" fmla="*/ 2147483646 h 632"/>
                  <a:gd name="T84" fmla="*/ 2147483646 w 696"/>
                  <a:gd name="T85" fmla="*/ 2147483646 h 632"/>
                  <a:gd name="T86" fmla="*/ 2147483646 w 696"/>
                  <a:gd name="T87" fmla="*/ 2147483646 h 632"/>
                  <a:gd name="T88" fmla="*/ 2147483646 w 696"/>
                  <a:gd name="T89" fmla="*/ 2147483646 h 632"/>
                  <a:gd name="T90" fmla="*/ 0 w 696"/>
                  <a:gd name="T91" fmla="*/ 2147483646 h 632"/>
                  <a:gd name="T92" fmla="*/ 2147483646 w 696"/>
                  <a:gd name="T93" fmla="*/ 2147483646 h 632"/>
                  <a:gd name="T94" fmla="*/ 2147483646 w 696"/>
                  <a:gd name="T95" fmla="*/ 2147483646 h 632"/>
                  <a:gd name="T96" fmla="*/ 2147483646 w 696"/>
                  <a:gd name="T97" fmla="*/ 2147483646 h 632"/>
                  <a:gd name="T98" fmla="*/ 2147483646 w 696"/>
                  <a:gd name="T99" fmla="*/ 2147483646 h 6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96"/>
                  <a:gd name="T151" fmla="*/ 0 h 632"/>
                  <a:gd name="T152" fmla="*/ 696 w 696"/>
                  <a:gd name="T153" fmla="*/ 632 h 6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96" h="632">
                    <a:moveTo>
                      <a:pt x="80" y="224"/>
                    </a:moveTo>
                    <a:lnTo>
                      <a:pt x="136" y="248"/>
                    </a:lnTo>
                    <a:lnTo>
                      <a:pt x="136" y="280"/>
                    </a:lnTo>
                    <a:lnTo>
                      <a:pt x="200" y="312"/>
                    </a:lnTo>
                    <a:lnTo>
                      <a:pt x="264" y="296"/>
                    </a:lnTo>
                    <a:lnTo>
                      <a:pt x="280" y="256"/>
                    </a:lnTo>
                    <a:lnTo>
                      <a:pt x="344" y="280"/>
                    </a:lnTo>
                    <a:lnTo>
                      <a:pt x="384" y="232"/>
                    </a:lnTo>
                    <a:lnTo>
                      <a:pt x="432" y="216"/>
                    </a:lnTo>
                    <a:lnTo>
                      <a:pt x="432" y="120"/>
                    </a:lnTo>
                    <a:lnTo>
                      <a:pt x="488" y="112"/>
                    </a:lnTo>
                    <a:lnTo>
                      <a:pt x="488" y="80"/>
                    </a:lnTo>
                    <a:lnTo>
                      <a:pt x="536" y="80"/>
                    </a:lnTo>
                    <a:lnTo>
                      <a:pt x="544" y="8"/>
                    </a:lnTo>
                    <a:lnTo>
                      <a:pt x="616" y="0"/>
                    </a:lnTo>
                    <a:lnTo>
                      <a:pt x="624" y="40"/>
                    </a:lnTo>
                    <a:lnTo>
                      <a:pt x="584" y="72"/>
                    </a:lnTo>
                    <a:lnTo>
                      <a:pt x="576" y="128"/>
                    </a:lnTo>
                    <a:lnTo>
                      <a:pt x="616" y="128"/>
                    </a:lnTo>
                    <a:lnTo>
                      <a:pt x="680" y="208"/>
                    </a:lnTo>
                    <a:lnTo>
                      <a:pt x="664" y="272"/>
                    </a:lnTo>
                    <a:lnTo>
                      <a:pt x="696" y="312"/>
                    </a:lnTo>
                    <a:lnTo>
                      <a:pt x="688" y="384"/>
                    </a:lnTo>
                    <a:lnTo>
                      <a:pt x="656" y="408"/>
                    </a:lnTo>
                    <a:lnTo>
                      <a:pt x="664" y="432"/>
                    </a:lnTo>
                    <a:lnTo>
                      <a:pt x="632" y="432"/>
                    </a:lnTo>
                    <a:lnTo>
                      <a:pt x="664" y="472"/>
                    </a:lnTo>
                    <a:lnTo>
                      <a:pt x="632" y="488"/>
                    </a:lnTo>
                    <a:lnTo>
                      <a:pt x="616" y="520"/>
                    </a:lnTo>
                    <a:lnTo>
                      <a:pt x="576" y="520"/>
                    </a:lnTo>
                    <a:lnTo>
                      <a:pt x="600" y="592"/>
                    </a:lnTo>
                    <a:lnTo>
                      <a:pt x="544" y="608"/>
                    </a:lnTo>
                    <a:lnTo>
                      <a:pt x="496" y="584"/>
                    </a:lnTo>
                    <a:lnTo>
                      <a:pt x="456" y="632"/>
                    </a:lnTo>
                    <a:lnTo>
                      <a:pt x="440" y="608"/>
                    </a:lnTo>
                    <a:lnTo>
                      <a:pt x="448" y="568"/>
                    </a:lnTo>
                    <a:lnTo>
                      <a:pt x="392" y="576"/>
                    </a:lnTo>
                    <a:lnTo>
                      <a:pt x="368" y="552"/>
                    </a:lnTo>
                    <a:lnTo>
                      <a:pt x="272" y="544"/>
                    </a:lnTo>
                    <a:lnTo>
                      <a:pt x="248" y="536"/>
                    </a:lnTo>
                    <a:lnTo>
                      <a:pt x="184" y="568"/>
                    </a:lnTo>
                    <a:lnTo>
                      <a:pt x="144" y="480"/>
                    </a:lnTo>
                    <a:lnTo>
                      <a:pt x="88" y="488"/>
                    </a:lnTo>
                    <a:lnTo>
                      <a:pt x="72" y="472"/>
                    </a:lnTo>
                    <a:lnTo>
                      <a:pt x="64" y="424"/>
                    </a:lnTo>
                    <a:lnTo>
                      <a:pt x="0" y="360"/>
                    </a:lnTo>
                    <a:lnTo>
                      <a:pt x="56" y="344"/>
                    </a:lnTo>
                    <a:lnTo>
                      <a:pt x="88" y="288"/>
                    </a:lnTo>
                    <a:lnTo>
                      <a:pt x="56" y="256"/>
                    </a:lnTo>
                    <a:lnTo>
                      <a:pt x="80" y="224"/>
                    </a:lnTo>
                    <a:close/>
                  </a:path>
                </a:pathLst>
              </a:custGeom>
              <a:solidFill>
                <a:srgbClr val="4670F8"/>
              </a:solidFill>
              <a:ln w="9525">
                <a:solidFill>
                  <a:schemeClr val="bg1"/>
                </a:solidFill>
                <a:round/>
                <a:headEnd/>
                <a:tailEnd/>
              </a:ln>
            </p:spPr>
            <p:txBody>
              <a:bodyPr/>
              <a:lstStyle/>
              <a:p>
                <a:endParaRPr lang="en-US" sz="1050"/>
              </a:p>
            </p:txBody>
          </p:sp>
          <p:sp>
            <p:nvSpPr>
              <p:cNvPr id="116" name="Freeform 115"/>
              <p:cNvSpPr>
                <a:spLocks/>
              </p:cNvSpPr>
              <p:nvPr/>
            </p:nvSpPr>
            <p:spPr bwMode="auto">
              <a:xfrm>
                <a:off x="3647104" y="3710792"/>
                <a:ext cx="839124" cy="850158"/>
              </a:xfrm>
              <a:custGeom>
                <a:avLst/>
                <a:gdLst>
                  <a:gd name="T0" fmla="*/ 2147483646 w 712"/>
                  <a:gd name="T1" fmla="*/ 0 h 784"/>
                  <a:gd name="T2" fmla="*/ 2147483646 w 712"/>
                  <a:gd name="T3" fmla="*/ 2147483646 h 784"/>
                  <a:gd name="T4" fmla="*/ 2147483646 w 712"/>
                  <a:gd name="T5" fmla="*/ 2147483646 h 784"/>
                  <a:gd name="T6" fmla="*/ 2147483646 w 712"/>
                  <a:gd name="T7" fmla="*/ 2147483646 h 784"/>
                  <a:gd name="T8" fmla="*/ 2147483646 w 712"/>
                  <a:gd name="T9" fmla="*/ 2147483646 h 784"/>
                  <a:gd name="T10" fmla="*/ 2147483646 w 712"/>
                  <a:gd name="T11" fmla="*/ 2147483646 h 784"/>
                  <a:gd name="T12" fmla="*/ 2147483646 w 712"/>
                  <a:gd name="T13" fmla="*/ 2147483646 h 784"/>
                  <a:gd name="T14" fmla="*/ 2147483646 w 712"/>
                  <a:gd name="T15" fmla="*/ 2147483646 h 784"/>
                  <a:gd name="T16" fmla="*/ 2147483646 w 712"/>
                  <a:gd name="T17" fmla="*/ 2147483646 h 784"/>
                  <a:gd name="T18" fmla="*/ 2147483646 w 712"/>
                  <a:gd name="T19" fmla="*/ 2147483646 h 784"/>
                  <a:gd name="T20" fmla="*/ 2147483646 w 712"/>
                  <a:gd name="T21" fmla="*/ 2147483646 h 784"/>
                  <a:gd name="T22" fmla="*/ 2147483646 w 712"/>
                  <a:gd name="T23" fmla="*/ 2147483646 h 784"/>
                  <a:gd name="T24" fmla="*/ 2147483646 w 712"/>
                  <a:gd name="T25" fmla="*/ 2147483646 h 784"/>
                  <a:gd name="T26" fmla="*/ 2147483646 w 712"/>
                  <a:gd name="T27" fmla="*/ 2147483646 h 784"/>
                  <a:gd name="T28" fmla="*/ 2147483646 w 712"/>
                  <a:gd name="T29" fmla="*/ 2147483646 h 784"/>
                  <a:gd name="T30" fmla="*/ 2147483646 w 712"/>
                  <a:gd name="T31" fmla="*/ 2147483646 h 784"/>
                  <a:gd name="T32" fmla="*/ 2147483646 w 712"/>
                  <a:gd name="T33" fmla="*/ 2147483646 h 784"/>
                  <a:gd name="T34" fmla="*/ 2147483646 w 712"/>
                  <a:gd name="T35" fmla="*/ 2147483646 h 784"/>
                  <a:gd name="T36" fmla="*/ 2147483646 w 712"/>
                  <a:gd name="T37" fmla="*/ 2147483646 h 784"/>
                  <a:gd name="T38" fmla="*/ 2147483646 w 712"/>
                  <a:gd name="T39" fmla="*/ 2147483646 h 784"/>
                  <a:gd name="T40" fmla="*/ 2147483646 w 712"/>
                  <a:gd name="T41" fmla="*/ 2147483646 h 784"/>
                  <a:gd name="T42" fmla="*/ 2147483646 w 712"/>
                  <a:gd name="T43" fmla="*/ 2147483646 h 784"/>
                  <a:gd name="T44" fmla="*/ 2147483646 w 712"/>
                  <a:gd name="T45" fmla="*/ 2147483646 h 784"/>
                  <a:gd name="T46" fmla="*/ 2147483646 w 712"/>
                  <a:gd name="T47" fmla="*/ 2147483646 h 784"/>
                  <a:gd name="T48" fmla="*/ 2147483646 w 712"/>
                  <a:gd name="T49" fmla="*/ 2147483646 h 784"/>
                  <a:gd name="T50" fmla="*/ 2147483646 w 712"/>
                  <a:gd name="T51" fmla="*/ 2147483646 h 784"/>
                  <a:gd name="T52" fmla="*/ 2147483646 w 712"/>
                  <a:gd name="T53" fmla="*/ 2147483646 h 784"/>
                  <a:gd name="T54" fmla="*/ 2147483646 w 712"/>
                  <a:gd name="T55" fmla="*/ 2147483646 h 784"/>
                  <a:gd name="T56" fmla="*/ 2147483646 w 712"/>
                  <a:gd name="T57" fmla="*/ 2147483646 h 784"/>
                  <a:gd name="T58" fmla="*/ 2147483646 w 712"/>
                  <a:gd name="T59" fmla="*/ 2147483646 h 784"/>
                  <a:gd name="T60" fmla="*/ 2147483646 w 712"/>
                  <a:gd name="T61" fmla="*/ 2147483646 h 784"/>
                  <a:gd name="T62" fmla="*/ 2147483646 w 712"/>
                  <a:gd name="T63" fmla="*/ 2147483646 h 784"/>
                  <a:gd name="T64" fmla="*/ 2147483646 w 712"/>
                  <a:gd name="T65" fmla="*/ 2147483646 h 784"/>
                  <a:gd name="T66" fmla="*/ 2147483646 w 712"/>
                  <a:gd name="T67" fmla="*/ 2147483646 h 784"/>
                  <a:gd name="T68" fmla="*/ 2147483646 w 712"/>
                  <a:gd name="T69" fmla="*/ 2147483646 h 784"/>
                  <a:gd name="T70" fmla="*/ 2147483646 w 712"/>
                  <a:gd name="T71" fmla="*/ 2147483646 h 784"/>
                  <a:gd name="T72" fmla="*/ 2147483646 w 712"/>
                  <a:gd name="T73" fmla="*/ 2147483646 h 784"/>
                  <a:gd name="T74" fmla="*/ 2147483646 w 712"/>
                  <a:gd name="T75" fmla="*/ 2147483646 h 784"/>
                  <a:gd name="T76" fmla="*/ 2147483646 w 712"/>
                  <a:gd name="T77" fmla="*/ 2147483646 h 784"/>
                  <a:gd name="T78" fmla="*/ 2147483646 w 712"/>
                  <a:gd name="T79" fmla="*/ 2147483646 h 784"/>
                  <a:gd name="T80" fmla="*/ 2147483646 w 712"/>
                  <a:gd name="T81" fmla="*/ 2147483646 h 784"/>
                  <a:gd name="T82" fmla="*/ 2147483646 w 712"/>
                  <a:gd name="T83" fmla="*/ 2147483646 h 784"/>
                  <a:gd name="T84" fmla="*/ 2147483646 w 712"/>
                  <a:gd name="T85" fmla="*/ 2147483646 h 784"/>
                  <a:gd name="T86" fmla="*/ 2147483646 w 712"/>
                  <a:gd name="T87" fmla="*/ 2147483646 h 784"/>
                  <a:gd name="T88" fmla="*/ 2147483646 w 712"/>
                  <a:gd name="T89" fmla="*/ 2147483646 h 784"/>
                  <a:gd name="T90" fmla="*/ 0 w 712"/>
                  <a:gd name="T91" fmla="*/ 2147483646 h 784"/>
                  <a:gd name="T92" fmla="*/ 2147483646 w 712"/>
                  <a:gd name="T93" fmla="*/ 2147483646 h 784"/>
                  <a:gd name="T94" fmla="*/ 2147483646 w 712"/>
                  <a:gd name="T95" fmla="*/ 0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2"/>
                  <a:gd name="T145" fmla="*/ 0 h 784"/>
                  <a:gd name="T146" fmla="*/ 712 w 712"/>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2" h="784">
                    <a:moveTo>
                      <a:pt x="72" y="0"/>
                    </a:moveTo>
                    <a:lnTo>
                      <a:pt x="96" y="24"/>
                    </a:lnTo>
                    <a:lnTo>
                      <a:pt x="144" y="8"/>
                    </a:lnTo>
                    <a:lnTo>
                      <a:pt x="184" y="96"/>
                    </a:lnTo>
                    <a:lnTo>
                      <a:pt x="248" y="64"/>
                    </a:lnTo>
                    <a:lnTo>
                      <a:pt x="272" y="72"/>
                    </a:lnTo>
                    <a:lnTo>
                      <a:pt x="368" y="80"/>
                    </a:lnTo>
                    <a:lnTo>
                      <a:pt x="392" y="112"/>
                    </a:lnTo>
                    <a:lnTo>
                      <a:pt x="448" y="96"/>
                    </a:lnTo>
                    <a:lnTo>
                      <a:pt x="440" y="144"/>
                    </a:lnTo>
                    <a:lnTo>
                      <a:pt x="456" y="160"/>
                    </a:lnTo>
                    <a:lnTo>
                      <a:pt x="496" y="112"/>
                    </a:lnTo>
                    <a:lnTo>
                      <a:pt x="544" y="136"/>
                    </a:lnTo>
                    <a:lnTo>
                      <a:pt x="600" y="120"/>
                    </a:lnTo>
                    <a:lnTo>
                      <a:pt x="648" y="96"/>
                    </a:lnTo>
                    <a:lnTo>
                      <a:pt x="648" y="136"/>
                    </a:lnTo>
                    <a:lnTo>
                      <a:pt x="616" y="160"/>
                    </a:lnTo>
                    <a:lnTo>
                      <a:pt x="632" y="208"/>
                    </a:lnTo>
                    <a:lnTo>
                      <a:pt x="712" y="264"/>
                    </a:lnTo>
                    <a:lnTo>
                      <a:pt x="704" y="328"/>
                    </a:lnTo>
                    <a:lnTo>
                      <a:pt x="648" y="344"/>
                    </a:lnTo>
                    <a:lnTo>
                      <a:pt x="640" y="392"/>
                    </a:lnTo>
                    <a:lnTo>
                      <a:pt x="576" y="408"/>
                    </a:lnTo>
                    <a:lnTo>
                      <a:pt x="568" y="456"/>
                    </a:lnTo>
                    <a:lnTo>
                      <a:pt x="520" y="480"/>
                    </a:lnTo>
                    <a:lnTo>
                      <a:pt x="520" y="528"/>
                    </a:lnTo>
                    <a:lnTo>
                      <a:pt x="456" y="552"/>
                    </a:lnTo>
                    <a:lnTo>
                      <a:pt x="448" y="616"/>
                    </a:lnTo>
                    <a:lnTo>
                      <a:pt x="472" y="688"/>
                    </a:lnTo>
                    <a:lnTo>
                      <a:pt x="448" y="784"/>
                    </a:lnTo>
                    <a:lnTo>
                      <a:pt x="432" y="776"/>
                    </a:lnTo>
                    <a:lnTo>
                      <a:pt x="384" y="704"/>
                    </a:lnTo>
                    <a:lnTo>
                      <a:pt x="328" y="656"/>
                    </a:lnTo>
                    <a:lnTo>
                      <a:pt x="304" y="472"/>
                    </a:lnTo>
                    <a:lnTo>
                      <a:pt x="272" y="432"/>
                    </a:lnTo>
                    <a:lnTo>
                      <a:pt x="272" y="384"/>
                    </a:lnTo>
                    <a:lnTo>
                      <a:pt x="200" y="400"/>
                    </a:lnTo>
                    <a:lnTo>
                      <a:pt x="152" y="344"/>
                    </a:lnTo>
                    <a:lnTo>
                      <a:pt x="184" y="336"/>
                    </a:lnTo>
                    <a:lnTo>
                      <a:pt x="184" y="312"/>
                    </a:lnTo>
                    <a:lnTo>
                      <a:pt x="136" y="280"/>
                    </a:lnTo>
                    <a:lnTo>
                      <a:pt x="128" y="208"/>
                    </a:lnTo>
                    <a:lnTo>
                      <a:pt x="56" y="208"/>
                    </a:lnTo>
                    <a:lnTo>
                      <a:pt x="16" y="176"/>
                    </a:lnTo>
                    <a:lnTo>
                      <a:pt x="32" y="128"/>
                    </a:lnTo>
                    <a:lnTo>
                      <a:pt x="0" y="56"/>
                    </a:lnTo>
                    <a:lnTo>
                      <a:pt x="32" y="16"/>
                    </a:lnTo>
                    <a:lnTo>
                      <a:pt x="72" y="0"/>
                    </a:lnTo>
                    <a:close/>
                  </a:path>
                </a:pathLst>
              </a:custGeom>
              <a:solidFill>
                <a:srgbClr val="C6CFEB"/>
              </a:solidFill>
              <a:ln w="9525">
                <a:solidFill>
                  <a:schemeClr val="bg1"/>
                </a:solidFill>
                <a:round/>
                <a:headEnd/>
                <a:tailEnd/>
              </a:ln>
            </p:spPr>
            <p:txBody>
              <a:bodyPr/>
              <a:lstStyle/>
              <a:p>
                <a:endParaRPr lang="en-US" sz="1050"/>
              </a:p>
            </p:txBody>
          </p:sp>
          <p:sp>
            <p:nvSpPr>
              <p:cNvPr id="117" name="Freeform 116"/>
              <p:cNvSpPr>
                <a:spLocks/>
              </p:cNvSpPr>
              <p:nvPr/>
            </p:nvSpPr>
            <p:spPr bwMode="auto">
              <a:xfrm>
                <a:off x="4175093" y="3962369"/>
                <a:ext cx="697699" cy="598580"/>
              </a:xfrm>
              <a:custGeom>
                <a:avLst/>
                <a:gdLst>
                  <a:gd name="T0" fmla="*/ 0 w 592"/>
                  <a:gd name="T1" fmla="*/ 2147483646 h 552"/>
                  <a:gd name="T2" fmla="*/ 2147483646 w 592"/>
                  <a:gd name="T3" fmla="*/ 2147483646 h 552"/>
                  <a:gd name="T4" fmla="*/ 0 w 592"/>
                  <a:gd name="T5" fmla="*/ 2147483646 h 552"/>
                  <a:gd name="T6" fmla="*/ 2147483646 w 592"/>
                  <a:gd name="T7" fmla="*/ 2147483646 h 552"/>
                  <a:gd name="T8" fmla="*/ 2147483646 w 592"/>
                  <a:gd name="T9" fmla="*/ 2147483646 h 552"/>
                  <a:gd name="T10" fmla="*/ 2147483646 w 592"/>
                  <a:gd name="T11" fmla="*/ 2147483646 h 552"/>
                  <a:gd name="T12" fmla="*/ 2147483646 w 592"/>
                  <a:gd name="T13" fmla="*/ 2147483646 h 552"/>
                  <a:gd name="T14" fmla="*/ 2147483646 w 592"/>
                  <a:gd name="T15" fmla="*/ 2147483646 h 552"/>
                  <a:gd name="T16" fmla="*/ 2147483646 w 592"/>
                  <a:gd name="T17" fmla="*/ 2147483646 h 552"/>
                  <a:gd name="T18" fmla="*/ 2147483646 w 592"/>
                  <a:gd name="T19" fmla="*/ 2147483646 h 552"/>
                  <a:gd name="T20" fmla="*/ 2147483646 w 592"/>
                  <a:gd name="T21" fmla="*/ 2147483646 h 552"/>
                  <a:gd name="T22" fmla="*/ 2147483646 w 592"/>
                  <a:gd name="T23" fmla="*/ 2147483646 h 552"/>
                  <a:gd name="T24" fmla="*/ 2147483646 w 592"/>
                  <a:gd name="T25" fmla="*/ 2147483646 h 552"/>
                  <a:gd name="T26" fmla="*/ 2147483646 w 592"/>
                  <a:gd name="T27" fmla="*/ 2147483646 h 552"/>
                  <a:gd name="T28" fmla="*/ 2147483646 w 592"/>
                  <a:gd name="T29" fmla="*/ 0 h 552"/>
                  <a:gd name="T30" fmla="*/ 2147483646 w 592"/>
                  <a:gd name="T31" fmla="*/ 2147483646 h 552"/>
                  <a:gd name="T32" fmla="*/ 2147483646 w 592"/>
                  <a:gd name="T33" fmla="*/ 2147483646 h 552"/>
                  <a:gd name="T34" fmla="*/ 2147483646 w 592"/>
                  <a:gd name="T35" fmla="*/ 2147483646 h 552"/>
                  <a:gd name="T36" fmla="*/ 2147483646 w 592"/>
                  <a:gd name="T37" fmla="*/ 2147483646 h 552"/>
                  <a:gd name="T38" fmla="*/ 2147483646 w 592"/>
                  <a:gd name="T39" fmla="*/ 2147483646 h 552"/>
                  <a:gd name="T40" fmla="*/ 2147483646 w 592"/>
                  <a:gd name="T41" fmla="*/ 2147483646 h 552"/>
                  <a:gd name="T42" fmla="*/ 2147483646 w 592"/>
                  <a:gd name="T43" fmla="*/ 2147483646 h 552"/>
                  <a:gd name="T44" fmla="*/ 2147483646 w 592"/>
                  <a:gd name="T45" fmla="*/ 2147483646 h 552"/>
                  <a:gd name="T46" fmla="*/ 2147483646 w 592"/>
                  <a:gd name="T47" fmla="*/ 2147483646 h 552"/>
                  <a:gd name="T48" fmla="*/ 2147483646 w 592"/>
                  <a:gd name="T49" fmla="*/ 2147483646 h 552"/>
                  <a:gd name="T50" fmla="*/ 2147483646 w 592"/>
                  <a:gd name="T51" fmla="*/ 2147483646 h 552"/>
                  <a:gd name="T52" fmla="*/ 2147483646 w 592"/>
                  <a:gd name="T53" fmla="*/ 2147483646 h 552"/>
                  <a:gd name="T54" fmla="*/ 2147483646 w 592"/>
                  <a:gd name="T55" fmla="*/ 2147483646 h 552"/>
                  <a:gd name="T56" fmla="*/ 2147483646 w 592"/>
                  <a:gd name="T57" fmla="*/ 2147483646 h 552"/>
                  <a:gd name="T58" fmla="*/ 2147483646 w 592"/>
                  <a:gd name="T59" fmla="*/ 2147483646 h 552"/>
                  <a:gd name="T60" fmla="*/ 2147483646 w 592"/>
                  <a:gd name="T61" fmla="*/ 2147483646 h 552"/>
                  <a:gd name="T62" fmla="*/ 0 w 592"/>
                  <a:gd name="T63" fmla="*/ 2147483646 h 5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2"/>
                  <a:gd name="T97" fmla="*/ 0 h 552"/>
                  <a:gd name="T98" fmla="*/ 592 w 592"/>
                  <a:gd name="T99" fmla="*/ 552 h 5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2" h="552">
                    <a:moveTo>
                      <a:pt x="0" y="552"/>
                    </a:moveTo>
                    <a:lnTo>
                      <a:pt x="24" y="456"/>
                    </a:lnTo>
                    <a:lnTo>
                      <a:pt x="0" y="384"/>
                    </a:lnTo>
                    <a:lnTo>
                      <a:pt x="8" y="320"/>
                    </a:lnTo>
                    <a:lnTo>
                      <a:pt x="72" y="296"/>
                    </a:lnTo>
                    <a:lnTo>
                      <a:pt x="72" y="248"/>
                    </a:lnTo>
                    <a:lnTo>
                      <a:pt x="120" y="224"/>
                    </a:lnTo>
                    <a:lnTo>
                      <a:pt x="128" y="176"/>
                    </a:lnTo>
                    <a:lnTo>
                      <a:pt x="192" y="160"/>
                    </a:lnTo>
                    <a:lnTo>
                      <a:pt x="200" y="112"/>
                    </a:lnTo>
                    <a:lnTo>
                      <a:pt x="256" y="96"/>
                    </a:lnTo>
                    <a:lnTo>
                      <a:pt x="264" y="32"/>
                    </a:lnTo>
                    <a:lnTo>
                      <a:pt x="320" y="24"/>
                    </a:lnTo>
                    <a:lnTo>
                      <a:pt x="384" y="32"/>
                    </a:lnTo>
                    <a:lnTo>
                      <a:pt x="464" y="0"/>
                    </a:lnTo>
                    <a:lnTo>
                      <a:pt x="472" y="56"/>
                    </a:lnTo>
                    <a:lnTo>
                      <a:pt x="456" y="112"/>
                    </a:lnTo>
                    <a:lnTo>
                      <a:pt x="488" y="136"/>
                    </a:lnTo>
                    <a:lnTo>
                      <a:pt x="536" y="120"/>
                    </a:lnTo>
                    <a:lnTo>
                      <a:pt x="592" y="136"/>
                    </a:lnTo>
                    <a:lnTo>
                      <a:pt x="592" y="176"/>
                    </a:lnTo>
                    <a:lnTo>
                      <a:pt x="544" y="216"/>
                    </a:lnTo>
                    <a:lnTo>
                      <a:pt x="504" y="208"/>
                    </a:lnTo>
                    <a:lnTo>
                      <a:pt x="520" y="240"/>
                    </a:lnTo>
                    <a:lnTo>
                      <a:pt x="472" y="256"/>
                    </a:lnTo>
                    <a:lnTo>
                      <a:pt x="536" y="312"/>
                    </a:lnTo>
                    <a:lnTo>
                      <a:pt x="464" y="328"/>
                    </a:lnTo>
                    <a:lnTo>
                      <a:pt x="480" y="464"/>
                    </a:lnTo>
                    <a:lnTo>
                      <a:pt x="400" y="488"/>
                    </a:lnTo>
                    <a:lnTo>
                      <a:pt x="264" y="480"/>
                    </a:lnTo>
                    <a:lnTo>
                      <a:pt x="136" y="504"/>
                    </a:lnTo>
                    <a:lnTo>
                      <a:pt x="0" y="552"/>
                    </a:lnTo>
                    <a:close/>
                  </a:path>
                </a:pathLst>
              </a:custGeom>
              <a:solidFill>
                <a:srgbClr val="4670F8"/>
              </a:solidFill>
              <a:ln w="9525">
                <a:solidFill>
                  <a:schemeClr val="bg1"/>
                </a:solidFill>
                <a:round/>
                <a:headEnd/>
                <a:tailEnd/>
              </a:ln>
            </p:spPr>
            <p:txBody>
              <a:bodyPr/>
              <a:lstStyle/>
              <a:p>
                <a:endParaRPr lang="en-US" sz="1050"/>
              </a:p>
            </p:txBody>
          </p:sp>
          <p:sp>
            <p:nvSpPr>
              <p:cNvPr id="118" name="Freeform 117"/>
              <p:cNvSpPr>
                <a:spLocks/>
              </p:cNvSpPr>
              <p:nvPr/>
            </p:nvSpPr>
            <p:spPr bwMode="auto">
              <a:xfrm>
                <a:off x="4721938" y="4049120"/>
                <a:ext cx="791982" cy="572555"/>
              </a:xfrm>
              <a:custGeom>
                <a:avLst/>
                <a:gdLst>
                  <a:gd name="T0" fmla="*/ 2147483646 w 672"/>
                  <a:gd name="T1" fmla="*/ 2147483646 h 528"/>
                  <a:gd name="T2" fmla="*/ 0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0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2147483646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72"/>
                  <a:gd name="T118" fmla="*/ 0 h 528"/>
                  <a:gd name="T119" fmla="*/ 672 w 672"/>
                  <a:gd name="T120" fmla="*/ 528 h 5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72" h="528">
                    <a:moveTo>
                      <a:pt x="16" y="384"/>
                    </a:moveTo>
                    <a:lnTo>
                      <a:pt x="0" y="248"/>
                    </a:lnTo>
                    <a:lnTo>
                      <a:pt x="72" y="232"/>
                    </a:lnTo>
                    <a:lnTo>
                      <a:pt x="8" y="176"/>
                    </a:lnTo>
                    <a:lnTo>
                      <a:pt x="56" y="160"/>
                    </a:lnTo>
                    <a:lnTo>
                      <a:pt x="40" y="128"/>
                    </a:lnTo>
                    <a:lnTo>
                      <a:pt x="80" y="136"/>
                    </a:lnTo>
                    <a:lnTo>
                      <a:pt x="128" y="96"/>
                    </a:lnTo>
                    <a:lnTo>
                      <a:pt x="128" y="56"/>
                    </a:lnTo>
                    <a:lnTo>
                      <a:pt x="208" y="24"/>
                    </a:lnTo>
                    <a:lnTo>
                      <a:pt x="216" y="0"/>
                    </a:lnTo>
                    <a:lnTo>
                      <a:pt x="264" y="32"/>
                    </a:lnTo>
                    <a:lnTo>
                      <a:pt x="288" y="16"/>
                    </a:lnTo>
                    <a:lnTo>
                      <a:pt x="336" y="56"/>
                    </a:lnTo>
                    <a:lnTo>
                      <a:pt x="336" y="88"/>
                    </a:lnTo>
                    <a:lnTo>
                      <a:pt x="432" y="112"/>
                    </a:lnTo>
                    <a:lnTo>
                      <a:pt x="416" y="176"/>
                    </a:lnTo>
                    <a:lnTo>
                      <a:pt x="456" y="224"/>
                    </a:lnTo>
                    <a:lnTo>
                      <a:pt x="424" y="240"/>
                    </a:lnTo>
                    <a:lnTo>
                      <a:pt x="440" y="288"/>
                    </a:lnTo>
                    <a:lnTo>
                      <a:pt x="488" y="312"/>
                    </a:lnTo>
                    <a:lnTo>
                      <a:pt x="536" y="304"/>
                    </a:lnTo>
                    <a:lnTo>
                      <a:pt x="608" y="336"/>
                    </a:lnTo>
                    <a:lnTo>
                      <a:pt x="672" y="408"/>
                    </a:lnTo>
                    <a:lnTo>
                      <a:pt x="656" y="480"/>
                    </a:lnTo>
                    <a:lnTo>
                      <a:pt x="592" y="440"/>
                    </a:lnTo>
                    <a:lnTo>
                      <a:pt x="552" y="512"/>
                    </a:lnTo>
                    <a:lnTo>
                      <a:pt x="472" y="472"/>
                    </a:lnTo>
                    <a:lnTo>
                      <a:pt x="432" y="472"/>
                    </a:lnTo>
                    <a:lnTo>
                      <a:pt x="416" y="488"/>
                    </a:lnTo>
                    <a:lnTo>
                      <a:pt x="384" y="472"/>
                    </a:lnTo>
                    <a:lnTo>
                      <a:pt x="376" y="504"/>
                    </a:lnTo>
                    <a:lnTo>
                      <a:pt x="336" y="480"/>
                    </a:lnTo>
                    <a:lnTo>
                      <a:pt x="296" y="528"/>
                    </a:lnTo>
                    <a:lnTo>
                      <a:pt x="248" y="488"/>
                    </a:lnTo>
                    <a:lnTo>
                      <a:pt x="256" y="448"/>
                    </a:lnTo>
                    <a:lnTo>
                      <a:pt x="160" y="392"/>
                    </a:lnTo>
                    <a:lnTo>
                      <a:pt x="64" y="376"/>
                    </a:lnTo>
                    <a:lnTo>
                      <a:pt x="16" y="384"/>
                    </a:lnTo>
                    <a:close/>
                  </a:path>
                </a:pathLst>
              </a:custGeom>
              <a:solidFill>
                <a:srgbClr val="4670F8"/>
              </a:solidFill>
              <a:ln w="9525">
                <a:solidFill>
                  <a:schemeClr val="bg1"/>
                </a:solidFill>
                <a:round/>
                <a:headEnd/>
                <a:tailEnd/>
              </a:ln>
            </p:spPr>
            <p:txBody>
              <a:bodyPr/>
              <a:lstStyle/>
              <a:p>
                <a:endParaRPr lang="en-US" sz="1050"/>
              </a:p>
            </p:txBody>
          </p:sp>
          <p:sp>
            <p:nvSpPr>
              <p:cNvPr id="119" name="Freeform 118"/>
              <p:cNvSpPr>
                <a:spLocks/>
              </p:cNvSpPr>
              <p:nvPr/>
            </p:nvSpPr>
            <p:spPr bwMode="auto">
              <a:xfrm>
                <a:off x="5117929" y="3979720"/>
                <a:ext cx="546845" cy="511830"/>
              </a:xfrm>
              <a:custGeom>
                <a:avLst/>
                <a:gdLst>
                  <a:gd name="T0" fmla="*/ 2147483646 w 464"/>
                  <a:gd name="T1" fmla="*/ 2147483646 h 472"/>
                  <a:gd name="T2" fmla="*/ 2147483646 w 464"/>
                  <a:gd name="T3" fmla="*/ 2147483646 h 472"/>
                  <a:gd name="T4" fmla="*/ 2147483646 w 464"/>
                  <a:gd name="T5" fmla="*/ 2147483646 h 472"/>
                  <a:gd name="T6" fmla="*/ 2147483646 w 464"/>
                  <a:gd name="T7" fmla="*/ 2147483646 h 472"/>
                  <a:gd name="T8" fmla="*/ 2147483646 w 464"/>
                  <a:gd name="T9" fmla="*/ 2147483646 h 472"/>
                  <a:gd name="T10" fmla="*/ 2147483646 w 464"/>
                  <a:gd name="T11" fmla="*/ 2147483646 h 472"/>
                  <a:gd name="T12" fmla="*/ 2147483646 w 464"/>
                  <a:gd name="T13" fmla="*/ 2147483646 h 472"/>
                  <a:gd name="T14" fmla="*/ 2147483646 w 464"/>
                  <a:gd name="T15" fmla="*/ 2147483646 h 472"/>
                  <a:gd name="T16" fmla="*/ 2147483646 w 464"/>
                  <a:gd name="T17" fmla="*/ 2147483646 h 472"/>
                  <a:gd name="T18" fmla="*/ 0 w 464"/>
                  <a:gd name="T19" fmla="*/ 2147483646 h 472"/>
                  <a:gd name="T20" fmla="*/ 0 w 464"/>
                  <a:gd name="T21" fmla="*/ 2147483646 h 472"/>
                  <a:gd name="T22" fmla="*/ 2147483646 w 464"/>
                  <a:gd name="T23" fmla="*/ 2147483646 h 472"/>
                  <a:gd name="T24" fmla="*/ 2147483646 w 464"/>
                  <a:gd name="T25" fmla="*/ 0 h 472"/>
                  <a:gd name="T26" fmla="*/ 2147483646 w 464"/>
                  <a:gd name="T27" fmla="*/ 2147483646 h 472"/>
                  <a:gd name="T28" fmla="*/ 2147483646 w 464"/>
                  <a:gd name="T29" fmla="*/ 2147483646 h 472"/>
                  <a:gd name="T30" fmla="*/ 2147483646 w 464"/>
                  <a:gd name="T31" fmla="*/ 2147483646 h 472"/>
                  <a:gd name="T32" fmla="*/ 2147483646 w 464"/>
                  <a:gd name="T33" fmla="*/ 2147483646 h 472"/>
                  <a:gd name="T34" fmla="*/ 2147483646 w 464"/>
                  <a:gd name="T35" fmla="*/ 2147483646 h 472"/>
                  <a:gd name="T36" fmla="*/ 2147483646 w 464"/>
                  <a:gd name="T37" fmla="*/ 2147483646 h 472"/>
                  <a:gd name="T38" fmla="*/ 2147483646 w 464"/>
                  <a:gd name="T39" fmla="*/ 2147483646 h 472"/>
                  <a:gd name="T40" fmla="*/ 2147483646 w 464"/>
                  <a:gd name="T41" fmla="*/ 2147483646 h 472"/>
                  <a:gd name="T42" fmla="*/ 2147483646 w 464"/>
                  <a:gd name="T43" fmla="*/ 2147483646 h 472"/>
                  <a:gd name="T44" fmla="*/ 2147483646 w 464"/>
                  <a:gd name="T45" fmla="*/ 2147483646 h 472"/>
                  <a:gd name="T46" fmla="*/ 2147483646 w 464"/>
                  <a:gd name="T47" fmla="*/ 2147483646 h 472"/>
                  <a:gd name="T48" fmla="*/ 2147483646 w 464"/>
                  <a:gd name="T49" fmla="*/ 2147483646 h 472"/>
                  <a:gd name="T50" fmla="*/ 2147483646 w 464"/>
                  <a:gd name="T51" fmla="*/ 2147483646 h 472"/>
                  <a:gd name="T52" fmla="*/ 2147483646 w 464"/>
                  <a:gd name="T53" fmla="*/ 2147483646 h 472"/>
                  <a:gd name="T54" fmla="*/ 2147483646 w 464"/>
                  <a:gd name="T55" fmla="*/ 2147483646 h 472"/>
                  <a:gd name="T56" fmla="*/ 2147483646 w 464"/>
                  <a:gd name="T57" fmla="*/ 2147483646 h 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4"/>
                  <a:gd name="T88" fmla="*/ 0 h 472"/>
                  <a:gd name="T89" fmla="*/ 464 w 464"/>
                  <a:gd name="T90" fmla="*/ 472 h 4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4" h="472">
                    <a:moveTo>
                      <a:pt x="336" y="472"/>
                    </a:moveTo>
                    <a:lnTo>
                      <a:pt x="272" y="400"/>
                    </a:lnTo>
                    <a:lnTo>
                      <a:pt x="200" y="368"/>
                    </a:lnTo>
                    <a:lnTo>
                      <a:pt x="152" y="376"/>
                    </a:lnTo>
                    <a:lnTo>
                      <a:pt x="104" y="352"/>
                    </a:lnTo>
                    <a:lnTo>
                      <a:pt x="88" y="304"/>
                    </a:lnTo>
                    <a:lnTo>
                      <a:pt x="120" y="288"/>
                    </a:lnTo>
                    <a:lnTo>
                      <a:pt x="80" y="240"/>
                    </a:lnTo>
                    <a:lnTo>
                      <a:pt x="96" y="176"/>
                    </a:lnTo>
                    <a:lnTo>
                      <a:pt x="0" y="152"/>
                    </a:lnTo>
                    <a:lnTo>
                      <a:pt x="0" y="120"/>
                    </a:lnTo>
                    <a:lnTo>
                      <a:pt x="56" y="32"/>
                    </a:lnTo>
                    <a:lnTo>
                      <a:pt x="112" y="0"/>
                    </a:lnTo>
                    <a:lnTo>
                      <a:pt x="136" y="80"/>
                    </a:lnTo>
                    <a:lnTo>
                      <a:pt x="184" y="128"/>
                    </a:lnTo>
                    <a:lnTo>
                      <a:pt x="360" y="112"/>
                    </a:lnTo>
                    <a:lnTo>
                      <a:pt x="392" y="48"/>
                    </a:lnTo>
                    <a:lnTo>
                      <a:pt x="424" y="48"/>
                    </a:lnTo>
                    <a:lnTo>
                      <a:pt x="432" y="112"/>
                    </a:lnTo>
                    <a:lnTo>
                      <a:pt x="464" y="152"/>
                    </a:lnTo>
                    <a:lnTo>
                      <a:pt x="456" y="216"/>
                    </a:lnTo>
                    <a:lnTo>
                      <a:pt x="464" y="320"/>
                    </a:lnTo>
                    <a:lnTo>
                      <a:pt x="464" y="384"/>
                    </a:lnTo>
                    <a:lnTo>
                      <a:pt x="432" y="400"/>
                    </a:lnTo>
                    <a:lnTo>
                      <a:pt x="440" y="456"/>
                    </a:lnTo>
                    <a:lnTo>
                      <a:pt x="408" y="472"/>
                    </a:lnTo>
                    <a:lnTo>
                      <a:pt x="400" y="416"/>
                    </a:lnTo>
                    <a:lnTo>
                      <a:pt x="376" y="464"/>
                    </a:lnTo>
                    <a:lnTo>
                      <a:pt x="336" y="472"/>
                    </a:lnTo>
                    <a:close/>
                  </a:path>
                </a:pathLst>
              </a:custGeom>
              <a:solidFill>
                <a:srgbClr val="4670F8"/>
              </a:solidFill>
              <a:ln w="9525">
                <a:solidFill>
                  <a:schemeClr val="bg1"/>
                </a:solidFill>
                <a:round/>
                <a:headEnd/>
                <a:tailEnd/>
              </a:ln>
            </p:spPr>
            <p:txBody>
              <a:bodyPr/>
              <a:lstStyle/>
              <a:p>
                <a:endParaRPr lang="en-US" sz="1050"/>
              </a:p>
            </p:txBody>
          </p:sp>
          <p:sp>
            <p:nvSpPr>
              <p:cNvPr id="120" name="Freeform 119"/>
              <p:cNvSpPr>
                <a:spLocks/>
              </p:cNvSpPr>
              <p:nvPr/>
            </p:nvSpPr>
            <p:spPr bwMode="auto">
              <a:xfrm>
                <a:off x="5655345" y="4049120"/>
                <a:ext cx="641128" cy="581230"/>
              </a:xfrm>
              <a:custGeom>
                <a:avLst/>
                <a:gdLst>
                  <a:gd name="T0" fmla="*/ 2147483646 w 544"/>
                  <a:gd name="T1" fmla="*/ 2147483646 h 536"/>
                  <a:gd name="T2" fmla="*/ 0 w 544"/>
                  <a:gd name="T3" fmla="*/ 2147483646 h 536"/>
                  <a:gd name="T4" fmla="*/ 2147483646 w 544"/>
                  <a:gd name="T5" fmla="*/ 2147483646 h 536"/>
                  <a:gd name="T6" fmla="*/ 2147483646 w 544"/>
                  <a:gd name="T7" fmla="*/ 2147483646 h 536"/>
                  <a:gd name="T8" fmla="*/ 2147483646 w 544"/>
                  <a:gd name="T9" fmla="*/ 2147483646 h 536"/>
                  <a:gd name="T10" fmla="*/ 2147483646 w 544"/>
                  <a:gd name="T11" fmla="*/ 2147483646 h 536"/>
                  <a:gd name="T12" fmla="*/ 2147483646 w 544"/>
                  <a:gd name="T13" fmla="*/ 2147483646 h 536"/>
                  <a:gd name="T14" fmla="*/ 2147483646 w 544"/>
                  <a:gd name="T15" fmla="*/ 2147483646 h 536"/>
                  <a:gd name="T16" fmla="*/ 2147483646 w 544"/>
                  <a:gd name="T17" fmla="*/ 2147483646 h 536"/>
                  <a:gd name="T18" fmla="*/ 2147483646 w 544"/>
                  <a:gd name="T19" fmla="*/ 0 h 536"/>
                  <a:gd name="T20" fmla="*/ 2147483646 w 544"/>
                  <a:gd name="T21" fmla="*/ 2147483646 h 536"/>
                  <a:gd name="T22" fmla="*/ 2147483646 w 544"/>
                  <a:gd name="T23" fmla="*/ 2147483646 h 536"/>
                  <a:gd name="T24" fmla="*/ 2147483646 w 544"/>
                  <a:gd name="T25" fmla="*/ 2147483646 h 536"/>
                  <a:gd name="T26" fmla="*/ 2147483646 w 544"/>
                  <a:gd name="T27" fmla="*/ 2147483646 h 536"/>
                  <a:gd name="T28" fmla="*/ 2147483646 w 544"/>
                  <a:gd name="T29" fmla="*/ 2147483646 h 536"/>
                  <a:gd name="T30" fmla="*/ 2147483646 w 544"/>
                  <a:gd name="T31" fmla="*/ 2147483646 h 536"/>
                  <a:gd name="T32" fmla="*/ 2147483646 w 544"/>
                  <a:gd name="T33" fmla="*/ 2147483646 h 536"/>
                  <a:gd name="T34" fmla="*/ 2147483646 w 544"/>
                  <a:gd name="T35" fmla="*/ 2147483646 h 536"/>
                  <a:gd name="T36" fmla="*/ 2147483646 w 544"/>
                  <a:gd name="T37" fmla="*/ 2147483646 h 536"/>
                  <a:gd name="T38" fmla="*/ 2147483646 w 544"/>
                  <a:gd name="T39" fmla="*/ 2147483646 h 536"/>
                  <a:gd name="T40" fmla="*/ 2147483646 w 544"/>
                  <a:gd name="T41" fmla="*/ 2147483646 h 536"/>
                  <a:gd name="T42" fmla="*/ 2147483646 w 544"/>
                  <a:gd name="T43" fmla="*/ 2147483646 h 536"/>
                  <a:gd name="T44" fmla="*/ 2147483646 w 544"/>
                  <a:gd name="T45" fmla="*/ 2147483646 h 536"/>
                  <a:gd name="T46" fmla="*/ 2147483646 w 544"/>
                  <a:gd name="T47" fmla="*/ 2147483646 h 536"/>
                  <a:gd name="T48" fmla="*/ 2147483646 w 544"/>
                  <a:gd name="T49" fmla="*/ 2147483646 h 536"/>
                  <a:gd name="T50" fmla="*/ 2147483646 w 544"/>
                  <a:gd name="T51" fmla="*/ 2147483646 h 536"/>
                  <a:gd name="T52" fmla="*/ 2147483646 w 544"/>
                  <a:gd name="T53" fmla="*/ 2147483646 h 536"/>
                  <a:gd name="T54" fmla="*/ 2147483646 w 544"/>
                  <a:gd name="T55" fmla="*/ 2147483646 h 536"/>
                  <a:gd name="T56" fmla="*/ 2147483646 w 544"/>
                  <a:gd name="T57" fmla="*/ 2147483646 h 536"/>
                  <a:gd name="T58" fmla="*/ 2147483646 w 544"/>
                  <a:gd name="T59" fmla="*/ 2147483646 h 536"/>
                  <a:gd name="T60" fmla="*/ 2147483646 w 544"/>
                  <a:gd name="T61" fmla="*/ 2147483646 h 536"/>
                  <a:gd name="T62" fmla="*/ 2147483646 w 544"/>
                  <a:gd name="T63" fmla="*/ 2147483646 h 536"/>
                  <a:gd name="T64" fmla="*/ 2147483646 w 544"/>
                  <a:gd name="T65" fmla="*/ 2147483646 h 536"/>
                  <a:gd name="T66" fmla="*/ 2147483646 w 544"/>
                  <a:gd name="T67" fmla="*/ 2147483646 h 536"/>
                  <a:gd name="T68" fmla="*/ 2147483646 w 544"/>
                  <a:gd name="T69" fmla="*/ 2147483646 h 536"/>
                  <a:gd name="T70" fmla="*/ 2147483646 w 544"/>
                  <a:gd name="T71" fmla="*/ 2147483646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8" y="256"/>
                    </a:moveTo>
                    <a:lnTo>
                      <a:pt x="0" y="152"/>
                    </a:lnTo>
                    <a:lnTo>
                      <a:pt x="8" y="88"/>
                    </a:lnTo>
                    <a:lnTo>
                      <a:pt x="88" y="104"/>
                    </a:lnTo>
                    <a:lnTo>
                      <a:pt x="152" y="64"/>
                    </a:lnTo>
                    <a:lnTo>
                      <a:pt x="256" y="80"/>
                    </a:lnTo>
                    <a:lnTo>
                      <a:pt x="328" y="32"/>
                    </a:lnTo>
                    <a:lnTo>
                      <a:pt x="392" y="8"/>
                    </a:lnTo>
                    <a:lnTo>
                      <a:pt x="440" y="24"/>
                    </a:lnTo>
                    <a:lnTo>
                      <a:pt x="464" y="0"/>
                    </a:lnTo>
                    <a:lnTo>
                      <a:pt x="512" y="8"/>
                    </a:lnTo>
                    <a:lnTo>
                      <a:pt x="512" y="48"/>
                    </a:lnTo>
                    <a:lnTo>
                      <a:pt x="464" y="48"/>
                    </a:lnTo>
                    <a:lnTo>
                      <a:pt x="456" y="72"/>
                    </a:lnTo>
                    <a:lnTo>
                      <a:pt x="384" y="104"/>
                    </a:lnTo>
                    <a:lnTo>
                      <a:pt x="408" y="224"/>
                    </a:lnTo>
                    <a:lnTo>
                      <a:pt x="456" y="288"/>
                    </a:lnTo>
                    <a:lnTo>
                      <a:pt x="456" y="336"/>
                    </a:lnTo>
                    <a:lnTo>
                      <a:pt x="528" y="384"/>
                    </a:lnTo>
                    <a:lnTo>
                      <a:pt x="544" y="456"/>
                    </a:lnTo>
                    <a:lnTo>
                      <a:pt x="480" y="488"/>
                    </a:lnTo>
                    <a:lnTo>
                      <a:pt x="472" y="536"/>
                    </a:lnTo>
                    <a:lnTo>
                      <a:pt x="448" y="520"/>
                    </a:lnTo>
                    <a:lnTo>
                      <a:pt x="424" y="536"/>
                    </a:lnTo>
                    <a:lnTo>
                      <a:pt x="424" y="496"/>
                    </a:lnTo>
                    <a:lnTo>
                      <a:pt x="360" y="520"/>
                    </a:lnTo>
                    <a:lnTo>
                      <a:pt x="352" y="480"/>
                    </a:lnTo>
                    <a:lnTo>
                      <a:pt x="312" y="488"/>
                    </a:lnTo>
                    <a:lnTo>
                      <a:pt x="288" y="464"/>
                    </a:lnTo>
                    <a:lnTo>
                      <a:pt x="248" y="440"/>
                    </a:lnTo>
                    <a:lnTo>
                      <a:pt x="216" y="464"/>
                    </a:lnTo>
                    <a:lnTo>
                      <a:pt x="168" y="392"/>
                    </a:lnTo>
                    <a:lnTo>
                      <a:pt x="96" y="416"/>
                    </a:lnTo>
                    <a:lnTo>
                      <a:pt x="48" y="328"/>
                    </a:lnTo>
                    <a:lnTo>
                      <a:pt x="48" y="272"/>
                    </a:lnTo>
                    <a:lnTo>
                      <a:pt x="8" y="256"/>
                    </a:lnTo>
                    <a:close/>
                  </a:path>
                </a:pathLst>
              </a:custGeom>
              <a:solidFill>
                <a:srgbClr val="9950A8"/>
              </a:solidFill>
              <a:ln w="9525">
                <a:solidFill>
                  <a:schemeClr val="bg1"/>
                </a:solidFill>
                <a:round/>
                <a:headEnd/>
                <a:tailEnd/>
              </a:ln>
            </p:spPr>
            <p:txBody>
              <a:bodyPr/>
              <a:lstStyle/>
              <a:p>
                <a:endParaRPr lang="en-US" sz="1050"/>
              </a:p>
            </p:txBody>
          </p:sp>
          <p:sp>
            <p:nvSpPr>
              <p:cNvPr id="121" name="Freeform 120"/>
              <p:cNvSpPr>
                <a:spLocks/>
              </p:cNvSpPr>
              <p:nvPr/>
            </p:nvSpPr>
            <p:spPr bwMode="auto">
              <a:xfrm>
                <a:off x="6107906" y="4049120"/>
                <a:ext cx="546845" cy="581230"/>
              </a:xfrm>
              <a:custGeom>
                <a:avLst/>
                <a:gdLst>
                  <a:gd name="T0" fmla="*/ 2147483646 w 464"/>
                  <a:gd name="T1" fmla="*/ 2147483646 h 536"/>
                  <a:gd name="T2" fmla="*/ 2147483646 w 464"/>
                  <a:gd name="T3" fmla="*/ 2147483646 h 536"/>
                  <a:gd name="T4" fmla="*/ 2147483646 w 464"/>
                  <a:gd name="T5" fmla="*/ 2147483646 h 536"/>
                  <a:gd name="T6" fmla="*/ 2147483646 w 464"/>
                  <a:gd name="T7" fmla="*/ 2147483646 h 536"/>
                  <a:gd name="T8" fmla="*/ 2147483646 w 464"/>
                  <a:gd name="T9" fmla="*/ 2147483646 h 536"/>
                  <a:gd name="T10" fmla="*/ 0 w 464"/>
                  <a:gd name="T11" fmla="*/ 2147483646 h 536"/>
                  <a:gd name="T12" fmla="*/ 2147483646 w 464"/>
                  <a:gd name="T13" fmla="*/ 2147483646 h 536"/>
                  <a:gd name="T14" fmla="*/ 2147483646 w 464"/>
                  <a:gd name="T15" fmla="*/ 2147483646 h 536"/>
                  <a:gd name="T16" fmla="*/ 2147483646 w 464"/>
                  <a:gd name="T17" fmla="*/ 2147483646 h 536"/>
                  <a:gd name="T18" fmla="*/ 2147483646 w 464"/>
                  <a:gd name="T19" fmla="*/ 2147483646 h 536"/>
                  <a:gd name="T20" fmla="*/ 2147483646 w 464"/>
                  <a:gd name="T21" fmla="*/ 2147483646 h 536"/>
                  <a:gd name="T22" fmla="*/ 2147483646 w 464"/>
                  <a:gd name="T23" fmla="*/ 2147483646 h 536"/>
                  <a:gd name="T24" fmla="*/ 2147483646 w 464"/>
                  <a:gd name="T25" fmla="*/ 2147483646 h 536"/>
                  <a:gd name="T26" fmla="*/ 2147483646 w 464"/>
                  <a:gd name="T27" fmla="*/ 2147483646 h 536"/>
                  <a:gd name="T28" fmla="*/ 2147483646 w 464"/>
                  <a:gd name="T29" fmla="*/ 2147483646 h 536"/>
                  <a:gd name="T30" fmla="*/ 2147483646 w 464"/>
                  <a:gd name="T31" fmla="*/ 0 h 536"/>
                  <a:gd name="T32" fmla="*/ 2147483646 w 464"/>
                  <a:gd name="T33" fmla="*/ 2147483646 h 536"/>
                  <a:gd name="T34" fmla="*/ 2147483646 w 464"/>
                  <a:gd name="T35" fmla="*/ 2147483646 h 536"/>
                  <a:gd name="T36" fmla="*/ 2147483646 w 464"/>
                  <a:gd name="T37" fmla="*/ 2147483646 h 536"/>
                  <a:gd name="T38" fmla="*/ 2147483646 w 464"/>
                  <a:gd name="T39" fmla="*/ 2147483646 h 536"/>
                  <a:gd name="T40" fmla="*/ 2147483646 w 464"/>
                  <a:gd name="T41" fmla="*/ 2147483646 h 536"/>
                  <a:gd name="T42" fmla="*/ 2147483646 w 464"/>
                  <a:gd name="T43" fmla="*/ 2147483646 h 536"/>
                  <a:gd name="T44" fmla="*/ 2147483646 w 464"/>
                  <a:gd name="T45" fmla="*/ 2147483646 h 536"/>
                  <a:gd name="T46" fmla="*/ 2147483646 w 464"/>
                  <a:gd name="T47" fmla="*/ 2147483646 h 536"/>
                  <a:gd name="T48" fmla="*/ 2147483646 w 464"/>
                  <a:gd name="T49" fmla="*/ 2147483646 h 536"/>
                  <a:gd name="T50" fmla="*/ 2147483646 w 464"/>
                  <a:gd name="T51" fmla="*/ 2147483646 h 536"/>
                  <a:gd name="T52" fmla="*/ 2147483646 w 464"/>
                  <a:gd name="T53" fmla="*/ 2147483646 h 536"/>
                  <a:gd name="T54" fmla="*/ 2147483646 w 464"/>
                  <a:gd name="T55" fmla="*/ 2147483646 h 536"/>
                  <a:gd name="T56" fmla="*/ 2147483646 w 464"/>
                  <a:gd name="T57" fmla="*/ 2147483646 h 536"/>
                  <a:gd name="T58" fmla="*/ 2147483646 w 464"/>
                  <a:gd name="T59" fmla="*/ 2147483646 h 536"/>
                  <a:gd name="T60" fmla="*/ 2147483646 w 464"/>
                  <a:gd name="T61" fmla="*/ 2147483646 h 536"/>
                  <a:gd name="T62" fmla="*/ 2147483646 w 464"/>
                  <a:gd name="T63" fmla="*/ 2147483646 h 536"/>
                  <a:gd name="T64" fmla="*/ 2147483646 w 464"/>
                  <a:gd name="T65" fmla="*/ 2147483646 h 536"/>
                  <a:gd name="T66" fmla="*/ 2147483646 w 464"/>
                  <a:gd name="T67" fmla="*/ 2147483646 h 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536"/>
                  <a:gd name="T104" fmla="*/ 464 w 464"/>
                  <a:gd name="T105" fmla="*/ 536 h 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536">
                    <a:moveTo>
                      <a:pt x="160" y="456"/>
                    </a:moveTo>
                    <a:lnTo>
                      <a:pt x="144" y="384"/>
                    </a:lnTo>
                    <a:lnTo>
                      <a:pt x="72" y="336"/>
                    </a:lnTo>
                    <a:lnTo>
                      <a:pt x="72" y="288"/>
                    </a:lnTo>
                    <a:lnTo>
                      <a:pt x="24" y="224"/>
                    </a:lnTo>
                    <a:lnTo>
                      <a:pt x="0" y="104"/>
                    </a:lnTo>
                    <a:lnTo>
                      <a:pt x="72" y="72"/>
                    </a:lnTo>
                    <a:lnTo>
                      <a:pt x="80" y="48"/>
                    </a:lnTo>
                    <a:lnTo>
                      <a:pt x="128" y="48"/>
                    </a:lnTo>
                    <a:lnTo>
                      <a:pt x="152" y="56"/>
                    </a:lnTo>
                    <a:lnTo>
                      <a:pt x="152" y="88"/>
                    </a:lnTo>
                    <a:lnTo>
                      <a:pt x="152" y="120"/>
                    </a:lnTo>
                    <a:lnTo>
                      <a:pt x="200" y="88"/>
                    </a:lnTo>
                    <a:lnTo>
                      <a:pt x="208" y="40"/>
                    </a:lnTo>
                    <a:lnTo>
                      <a:pt x="280" y="32"/>
                    </a:lnTo>
                    <a:lnTo>
                      <a:pt x="312" y="0"/>
                    </a:lnTo>
                    <a:lnTo>
                      <a:pt x="344" y="32"/>
                    </a:lnTo>
                    <a:lnTo>
                      <a:pt x="424" y="40"/>
                    </a:lnTo>
                    <a:lnTo>
                      <a:pt x="400" y="96"/>
                    </a:lnTo>
                    <a:lnTo>
                      <a:pt x="432" y="200"/>
                    </a:lnTo>
                    <a:lnTo>
                      <a:pt x="408" y="232"/>
                    </a:lnTo>
                    <a:lnTo>
                      <a:pt x="440" y="280"/>
                    </a:lnTo>
                    <a:lnTo>
                      <a:pt x="440" y="360"/>
                    </a:lnTo>
                    <a:lnTo>
                      <a:pt x="392" y="400"/>
                    </a:lnTo>
                    <a:lnTo>
                      <a:pt x="448" y="424"/>
                    </a:lnTo>
                    <a:lnTo>
                      <a:pt x="464" y="480"/>
                    </a:lnTo>
                    <a:lnTo>
                      <a:pt x="464" y="512"/>
                    </a:lnTo>
                    <a:lnTo>
                      <a:pt x="432" y="504"/>
                    </a:lnTo>
                    <a:lnTo>
                      <a:pt x="384" y="528"/>
                    </a:lnTo>
                    <a:lnTo>
                      <a:pt x="320" y="512"/>
                    </a:lnTo>
                    <a:lnTo>
                      <a:pt x="304" y="536"/>
                    </a:lnTo>
                    <a:lnTo>
                      <a:pt x="248" y="520"/>
                    </a:lnTo>
                    <a:lnTo>
                      <a:pt x="232" y="496"/>
                    </a:lnTo>
                    <a:lnTo>
                      <a:pt x="160" y="456"/>
                    </a:lnTo>
                    <a:close/>
                  </a:path>
                </a:pathLst>
              </a:custGeom>
              <a:solidFill>
                <a:srgbClr val="9950A8"/>
              </a:solidFill>
              <a:ln w="9525">
                <a:solidFill>
                  <a:schemeClr val="bg1"/>
                </a:solidFill>
                <a:round/>
                <a:headEnd/>
                <a:tailEnd/>
              </a:ln>
            </p:spPr>
            <p:txBody>
              <a:bodyPr/>
              <a:lstStyle/>
              <a:p>
                <a:endParaRPr lang="en-US" sz="1050"/>
              </a:p>
            </p:txBody>
          </p:sp>
          <p:sp>
            <p:nvSpPr>
              <p:cNvPr id="122" name="Freeform 121"/>
              <p:cNvSpPr>
                <a:spLocks/>
              </p:cNvSpPr>
              <p:nvPr/>
            </p:nvSpPr>
            <p:spPr bwMode="auto">
              <a:xfrm>
                <a:off x="3449109" y="3901644"/>
                <a:ext cx="716555" cy="806782"/>
              </a:xfrm>
              <a:custGeom>
                <a:avLst/>
                <a:gdLst>
                  <a:gd name="T0" fmla="*/ 2147483646 w 608"/>
                  <a:gd name="T1" fmla="*/ 0 h 744"/>
                  <a:gd name="T2" fmla="*/ 2147483646 w 608"/>
                  <a:gd name="T3" fmla="*/ 2147483646 h 744"/>
                  <a:gd name="T4" fmla="*/ 2147483646 w 608"/>
                  <a:gd name="T5" fmla="*/ 2147483646 h 744"/>
                  <a:gd name="T6" fmla="*/ 2147483646 w 608"/>
                  <a:gd name="T7" fmla="*/ 2147483646 h 744"/>
                  <a:gd name="T8" fmla="*/ 2147483646 w 608"/>
                  <a:gd name="T9" fmla="*/ 2147483646 h 744"/>
                  <a:gd name="T10" fmla="*/ 2147483646 w 608"/>
                  <a:gd name="T11" fmla="*/ 2147483646 h 744"/>
                  <a:gd name="T12" fmla="*/ 2147483646 w 608"/>
                  <a:gd name="T13" fmla="*/ 2147483646 h 744"/>
                  <a:gd name="T14" fmla="*/ 2147483646 w 608"/>
                  <a:gd name="T15" fmla="*/ 2147483646 h 744"/>
                  <a:gd name="T16" fmla="*/ 2147483646 w 608"/>
                  <a:gd name="T17" fmla="*/ 2147483646 h 744"/>
                  <a:gd name="T18" fmla="*/ 2147483646 w 608"/>
                  <a:gd name="T19" fmla="*/ 2147483646 h 744"/>
                  <a:gd name="T20" fmla="*/ 2147483646 w 608"/>
                  <a:gd name="T21" fmla="*/ 2147483646 h 744"/>
                  <a:gd name="T22" fmla="*/ 2147483646 w 608"/>
                  <a:gd name="T23" fmla="*/ 2147483646 h 744"/>
                  <a:gd name="T24" fmla="*/ 2147483646 w 608"/>
                  <a:gd name="T25" fmla="*/ 2147483646 h 744"/>
                  <a:gd name="T26" fmla="*/ 2147483646 w 608"/>
                  <a:gd name="T27" fmla="*/ 2147483646 h 744"/>
                  <a:gd name="T28" fmla="*/ 2147483646 w 608"/>
                  <a:gd name="T29" fmla="*/ 2147483646 h 744"/>
                  <a:gd name="T30" fmla="*/ 2147483646 w 608"/>
                  <a:gd name="T31" fmla="*/ 2147483646 h 744"/>
                  <a:gd name="T32" fmla="*/ 2147483646 w 608"/>
                  <a:gd name="T33" fmla="*/ 2147483646 h 744"/>
                  <a:gd name="T34" fmla="*/ 2147483646 w 608"/>
                  <a:gd name="T35" fmla="*/ 2147483646 h 744"/>
                  <a:gd name="T36" fmla="*/ 2147483646 w 608"/>
                  <a:gd name="T37" fmla="*/ 2147483646 h 744"/>
                  <a:gd name="T38" fmla="*/ 2147483646 w 608"/>
                  <a:gd name="T39" fmla="*/ 2147483646 h 744"/>
                  <a:gd name="T40" fmla="*/ 2147483646 w 608"/>
                  <a:gd name="T41" fmla="*/ 2147483646 h 744"/>
                  <a:gd name="T42" fmla="*/ 2147483646 w 608"/>
                  <a:gd name="T43" fmla="*/ 2147483646 h 744"/>
                  <a:gd name="T44" fmla="*/ 2147483646 w 608"/>
                  <a:gd name="T45" fmla="*/ 2147483646 h 744"/>
                  <a:gd name="T46" fmla="*/ 2147483646 w 608"/>
                  <a:gd name="T47" fmla="*/ 2147483646 h 744"/>
                  <a:gd name="T48" fmla="*/ 2147483646 w 608"/>
                  <a:gd name="T49" fmla="*/ 2147483646 h 744"/>
                  <a:gd name="T50" fmla="*/ 2147483646 w 608"/>
                  <a:gd name="T51" fmla="*/ 2147483646 h 744"/>
                  <a:gd name="T52" fmla="*/ 2147483646 w 608"/>
                  <a:gd name="T53" fmla="*/ 2147483646 h 744"/>
                  <a:gd name="T54" fmla="*/ 2147483646 w 608"/>
                  <a:gd name="T55" fmla="*/ 2147483646 h 744"/>
                  <a:gd name="T56" fmla="*/ 2147483646 w 608"/>
                  <a:gd name="T57" fmla="*/ 2147483646 h 744"/>
                  <a:gd name="T58" fmla="*/ 0 w 608"/>
                  <a:gd name="T59" fmla="*/ 2147483646 h 744"/>
                  <a:gd name="T60" fmla="*/ 2147483646 w 608"/>
                  <a:gd name="T61" fmla="*/ 2147483646 h 744"/>
                  <a:gd name="T62" fmla="*/ 2147483646 w 608"/>
                  <a:gd name="T63" fmla="*/ 2147483646 h 744"/>
                  <a:gd name="T64" fmla="*/ 2147483646 w 608"/>
                  <a:gd name="T65" fmla="*/ 2147483646 h 744"/>
                  <a:gd name="T66" fmla="*/ 2147483646 w 608"/>
                  <a:gd name="T67" fmla="*/ 2147483646 h 744"/>
                  <a:gd name="T68" fmla="*/ 2147483646 w 608"/>
                  <a:gd name="T69" fmla="*/ 2147483646 h 744"/>
                  <a:gd name="T70" fmla="*/ 2147483646 w 608"/>
                  <a:gd name="T71" fmla="*/ 2147483646 h 744"/>
                  <a:gd name="T72" fmla="*/ 2147483646 w 608"/>
                  <a:gd name="T73" fmla="*/ 0 h 7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744"/>
                  <a:gd name="T113" fmla="*/ 608 w 608"/>
                  <a:gd name="T114" fmla="*/ 744 h 7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744">
                    <a:moveTo>
                      <a:pt x="184" y="0"/>
                    </a:moveTo>
                    <a:lnTo>
                      <a:pt x="224" y="32"/>
                    </a:lnTo>
                    <a:lnTo>
                      <a:pt x="296" y="32"/>
                    </a:lnTo>
                    <a:lnTo>
                      <a:pt x="304" y="104"/>
                    </a:lnTo>
                    <a:lnTo>
                      <a:pt x="352" y="136"/>
                    </a:lnTo>
                    <a:lnTo>
                      <a:pt x="352" y="160"/>
                    </a:lnTo>
                    <a:lnTo>
                      <a:pt x="320" y="168"/>
                    </a:lnTo>
                    <a:lnTo>
                      <a:pt x="368" y="224"/>
                    </a:lnTo>
                    <a:lnTo>
                      <a:pt x="440" y="208"/>
                    </a:lnTo>
                    <a:lnTo>
                      <a:pt x="440" y="256"/>
                    </a:lnTo>
                    <a:lnTo>
                      <a:pt x="472" y="296"/>
                    </a:lnTo>
                    <a:lnTo>
                      <a:pt x="496" y="480"/>
                    </a:lnTo>
                    <a:lnTo>
                      <a:pt x="552" y="528"/>
                    </a:lnTo>
                    <a:lnTo>
                      <a:pt x="600" y="600"/>
                    </a:lnTo>
                    <a:lnTo>
                      <a:pt x="608" y="672"/>
                    </a:lnTo>
                    <a:lnTo>
                      <a:pt x="552" y="704"/>
                    </a:lnTo>
                    <a:lnTo>
                      <a:pt x="424" y="704"/>
                    </a:lnTo>
                    <a:lnTo>
                      <a:pt x="312" y="744"/>
                    </a:lnTo>
                    <a:lnTo>
                      <a:pt x="200" y="712"/>
                    </a:lnTo>
                    <a:lnTo>
                      <a:pt x="152" y="720"/>
                    </a:lnTo>
                    <a:lnTo>
                      <a:pt x="144" y="640"/>
                    </a:lnTo>
                    <a:lnTo>
                      <a:pt x="184" y="608"/>
                    </a:lnTo>
                    <a:lnTo>
                      <a:pt x="120" y="512"/>
                    </a:lnTo>
                    <a:lnTo>
                      <a:pt x="96" y="472"/>
                    </a:lnTo>
                    <a:lnTo>
                      <a:pt x="56" y="456"/>
                    </a:lnTo>
                    <a:lnTo>
                      <a:pt x="104" y="392"/>
                    </a:lnTo>
                    <a:lnTo>
                      <a:pt x="72" y="336"/>
                    </a:lnTo>
                    <a:lnTo>
                      <a:pt x="32" y="328"/>
                    </a:lnTo>
                    <a:lnTo>
                      <a:pt x="32" y="280"/>
                    </a:lnTo>
                    <a:lnTo>
                      <a:pt x="0" y="272"/>
                    </a:lnTo>
                    <a:lnTo>
                      <a:pt x="16" y="240"/>
                    </a:lnTo>
                    <a:lnTo>
                      <a:pt x="48" y="224"/>
                    </a:lnTo>
                    <a:lnTo>
                      <a:pt x="48" y="200"/>
                    </a:lnTo>
                    <a:lnTo>
                      <a:pt x="88" y="176"/>
                    </a:lnTo>
                    <a:lnTo>
                      <a:pt x="96" y="104"/>
                    </a:lnTo>
                    <a:lnTo>
                      <a:pt x="144" y="104"/>
                    </a:lnTo>
                    <a:lnTo>
                      <a:pt x="184" y="0"/>
                    </a:lnTo>
                    <a:close/>
                  </a:path>
                </a:pathLst>
              </a:custGeom>
              <a:solidFill>
                <a:srgbClr val="C6CFEB"/>
              </a:solidFill>
              <a:ln w="9525">
                <a:solidFill>
                  <a:schemeClr val="bg1"/>
                </a:solidFill>
                <a:round/>
                <a:headEnd/>
                <a:tailEnd/>
              </a:ln>
            </p:spPr>
            <p:txBody>
              <a:bodyPr/>
              <a:lstStyle/>
              <a:p>
                <a:endParaRPr lang="en-US" sz="1050"/>
              </a:p>
            </p:txBody>
          </p:sp>
          <p:sp>
            <p:nvSpPr>
              <p:cNvPr id="123" name="Freeform 122"/>
              <p:cNvSpPr>
                <a:spLocks/>
              </p:cNvSpPr>
              <p:nvPr/>
            </p:nvSpPr>
            <p:spPr bwMode="auto">
              <a:xfrm>
                <a:off x="6541611" y="4552275"/>
                <a:ext cx="942835" cy="624606"/>
              </a:xfrm>
              <a:custGeom>
                <a:avLst/>
                <a:gdLst>
                  <a:gd name="T0" fmla="*/ 2147483646 w 800"/>
                  <a:gd name="T1" fmla="*/ 2147483646 h 576"/>
                  <a:gd name="T2" fmla="*/ 0 w 800"/>
                  <a:gd name="T3" fmla="*/ 2147483646 h 576"/>
                  <a:gd name="T4" fmla="*/ 2147483646 w 800"/>
                  <a:gd name="T5" fmla="*/ 2147483646 h 576"/>
                  <a:gd name="T6" fmla="*/ 2147483646 w 800"/>
                  <a:gd name="T7" fmla="*/ 2147483646 h 576"/>
                  <a:gd name="T8" fmla="*/ 2147483646 w 800"/>
                  <a:gd name="T9" fmla="*/ 2147483646 h 576"/>
                  <a:gd name="T10" fmla="*/ 2147483646 w 800"/>
                  <a:gd name="T11" fmla="*/ 2147483646 h 576"/>
                  <a:gd name="T12" fmla="*/ 2147483646 w 800"/>
                  <a:gd name="T13" fmla="*/ 2147483646 h 576"/>
                  <a:gd name="T14" fmla="*/ 2147483646 w 800"/>
                  <a:gd name="T15" fmla="*/ 2147483646 h 576"/>
                  <a:gd name="T16" fmla="*/ 2147483646 w 800"/>
                  <a:gd name="T17" fmla="*/ 2147483646 h 576"/>
                  <a:gd name="T18" fmla="*/ 2147483646 w 800"/>
                  <a:gd name="T19" fmla="*/ 2147483646 h 576"/>
                  <a:gd name="T20" fmla="*/ 2147483646 w 800"/>
                  <a:gd name="T21" fmla="*/ 2147483646 h 576"/>
                  <a:gd name="T22" fmla="*/ 2147483646 w 800"/>
                  <a:gd name="T23" fmla="*/ 2147483646 h 576"/>
                  <a:gd name="T24" fmla="*/ 2147483646 w 800"/>
                  <a:gd name="T25" fmla="*/ 2147483646 h 576"/>
                  <a:gd name="T26" fmla="*/ 2147483646 w 800"/>
                  <a:gd name="T27" fmla="*/ 2147483646 h 576"/>
                  <a:gd name="T28" fmla="*/ 2147483646 w 800"/>
                  <a:gd name="T29" fmla="*/ 2147483646 h 576"/>
                  <a:gd name="T30" fmla="*/ 2147483646 w 800"/>
                  <a:gd name="T31" fmla="*/ 2147483646 h 576"/>
                  <a:gd name="T32" fmla="*/ 2147483646 w 800"/>
                  <a:gd name="T33" fmla="*/ 2147483646 h 576"/>
                  <a:gd name="T34" fmla="*/ 2147483646 w 800"/>
                  <a:gd name="T35" fmla="*/ 2147483646 h 576"/>
                  <a:gd name="T36" fmla="*/ 2147483646 w 800"/>
                  <a:gd name="T37" fmla="*/ 2147483646 h 576"/>
                  <a:gd name="T38" fmla="*/ 2147483646 w 800"/>
                  <a:gd name="T39" fmla="*/ 2147483646 h 576"/>
                  <a:gd name="T40" fmla="*/ 2147483646 w 800"/>
                  <a:gd name="T41" fmla="*/ 2147483646 h 576"/>
                  <a:gd name="T42" fmla="*/ 2147483646 w 800"/>
                  <a:gd name="T43" fmla="*/ 2147483646 h 576"/>
                  <a:gd name="T44" fmla="*/ 2147483646 w 800"/>
                  <a:gd name="T45" fmla="*/ 2147483646 h 576"/>
                  <a:gd name="T46" fmla="*/ 2147483646 w 800"/>
                  <a:gd name="T47" fmla="*/ 2147483646 h 576"/>
                  <a:gd name="T48" fmla="*/ 2147483646 w 800"/>
                  <a:gd name="T49" fmla="*/ 2147483646 h 576"/>
                  <a:gd name="T50" fmla="*/ 2147483646 w 800"/>
                  <a:gd name="T51" fmla="*/ 2147483646 h 576"/>
                  <a:gd name="T52" fmla="*/ 2147483646 w 800"/>
                  <a:gd name="T53" fmla="*/ 2147483646 h 576"/>
                  <a:gd name="T54" fmla="*/ 2147483646 w 800"/>
                  <a:gd name="T55" fmla="*/ 2147483646 h 576"/>
                  <a:gd name="T56" fmla="*/ 2147483646 w 800"/>
                  <a:gd name="T57" fmla="*/ 2147483646 h 576"/>
                  <a:gd name="T58" fmla="*/ 2147483646 w 800"/>
                  <a:gd name="T59" fmla="*/ 2147483646 h 576"/>
                  <a:gd name="T60" fmla="*/ 2147483646 w 800"/>
                  <a:gd name="T61" fmla="*/ 2147483646 h 576"/>
                  <a:gd name="T62" fmla="*/ 2147483646 w 800"/>
                  <a:gd name="T63" fmla="*/ 2147483646 h 576"/>
                  <a:gd name="T64" fmla="*/ 2147483646 w 800"/>
                  <a:gd name="T65" fmla="*/ 2147483646 h 576"/>
                  <a:gd name="T66" fmla="*/ 2147483646 w 800"/>
                  <a:gd name="T67" fmla="*/ 0 h 576"/>
                  <a:gd name="T68" fmla="*/ 2147483646 w 800"/>
                  <a:gd name="T69" fmla="*/ 2147483646 h 576"/>
                  <a:gd name="T70" fmla="*/ 2147483646 w 800"/>
                  <a:gd name="T71" fmla="*/ 2147483646 h 576"/>
                  <a:gd name="T72" fmla="*/ 2147483646 w 800"/>
                  <a:gd name="T73" fmla="*/ 2147483646 h 576"/>
                  <a:gd name="T74" fmla="*/ 2147483646 w 800"/>
                  <a:gd name="T75" fmla="*/ 2147483646 h 576"/>
                  <a:gd name="T76" fmla="*/ 2147483646 w 800"/>
                  <a:gd name="T77" fmla="*/ 2147483646 h 576"/>
                  <a:gd name="T78" fmla="*/ 2147483646 w 800"/>
                  <a:gd name="T79" fmla="*/ 2147483646 h 576"/>
                  <a:gd name="T80" fmla="*/ 2147483646 w 800"/>
                  <a:gd name="T81" fmla="*/ 2147483646 h 576"/>
                  <a:gd name="T82" fmla="*/ 2147483646 w 800"/>
                  <a:gd name="T83" fmla="*/ 2147483646 h 576"/>
                  <a:gd name="T84" fmla="*/ 2147483646 w 800"/>
                  <a:gd name="T85" fmla="*/ 2147483646 h 576"/>
                  <a:gd name="T86" fmla="*/ 2147483646 w 800"/>
                  <a:gd name="T87" fmla="*/ 2147483646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0"/>
                  <a:gd name="T133" fmla="*/ 0 h 576"/>
                  <a:gd name="T134" fmla="*/ 800 w 800"/>
                  <a:gd name="T135" fmla="*/ 576 h 5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0" h="576">
                    <a:moveTo>
                      <a:pt x="96" y="48"/>
                    </a:moveTo>
                    <a:lnTo>
                      <a:pt x="64" y="40"/>
                    </a:lnTo>
                    <a:lnTo>
                      <a:pt x="16" y="64"/>
                    </a:lnTo>
                    <a:lnTo>
                      <a:pt x="0" y="136"/>
                    </a:lnTo>
                    <a:lnTo>
                      <a:pt x="40" y="168"/>
                    </a:lnTo>
                    <a:lnTo>
                      <a:pt x="80" y="160"/>
                    </a:lnTo>
                    <a:lnTo>
                      <a:pt x="56" y="208"/>
                    </a:lnTo>
                    <a:lnTo>
                      <a:pt x="104" y="240"/>
                    </a:lnTo>
                    <a:lnTo>
                      <a:pt x="72" y="256"/>
                    </a:lnTo>
                    <a:lnTo>
                      <a:pt x="88" y="392"/>
                    </a:lnTo>
                    <a:lnTo>
                      <a:pt x="56" y="464"/>
                    </a:lnTo>
                    <a:lnTo>
                      <a:pt x="104" y="496"/>
                    </a:lnTo>
                    <a:lnTo>
                      <a:pt x="168" y="488"/>
                    </a:lnTo>
                    <a:lnTo>
                      <a:pt x="208" y="576"/>
                    </a:lnTo>
                    <a:lnTo>
                      <a:pt x="232" y="512"/>
                    </a:lnTo>
                    <a:lnTo>
                      <a:pt x="264" y="552"/>
                    </a:lnTo>
                    <a:lnTo>
                      <a:pt x="288" y="536"/>
                    </a:lnTo>
                    <a:lnTo>
                      <a:pt x="400" y="544"/>
                    </a:lnTo>
                    <a:lnTo>
                      <a:pt x="400" y="512"/>
                    </a:lnTo>
                    <a:lnTo>
                      <a:pt x="456" y="464"/>
                    </a:lnTo>
                    <a:lnTo>
                      <a:pt x="464" y="424"/>
                    </a:lnTo>
                    <a:lnTo>
                      <a:pt x="432" y="392"/>
                    </a:lnTo>
                    <a:lnTo>
                      <a:pt x="424" y="352"/>
                    </a:lnTo>
                    <a:lnTo>
                      <a:pt x="456" y="312"/>
                    </a:lnTo>
                    <a:lnTo>
                      <a:pt x="496" y="304"/>
                    </a:lnTo>
                    <a:lnTo>
                      <a:pt x="544" y="320"/>
                    </a:lnTo>
                    <a:lnTo>
                      <a:pt x="504" y="352"/>
                    </a:lnTo>
                    <a:lnTo>
                      <a:pt x="512" y="416"/>
                    </a:lnTo>
                    <a:lnTo>
                      <a:pt x="536" y="408"/>
                    </a:lnTo>
                    <a:lnTo>
                      <a:pt x="544" y="392"/>
                    </a:lnTo>
                    <a:lnTo>
                      <a:pt x="560" y="424"/>
                    </a:lnTo>
                    <a:lnTo>
                      <a:pt x="536" y="456"/>
                    </a:lnTo>
                    <a:lnTo>
                      <a:pt x="496" y="480"/>
                    </a:lnTo>
                    <a:lnTo>
                      <a:pt x="496" y="504"/>
                    </a:lnTo>
                    <a:lnTo>
                      <a:pt x="472" y="512"/>
                    </a:lnTo>
                    <a:lnTo>
                      <a:pt x="456" y="504"/>
                    </a:lnTo>
                    <a:lnTo>
                      <a:pt x="440" y="520"/>
                    </a:lnTo>
                    <a:lnTo>
                      <a:pt x="424" y="544"/>
                    </a:lnTo>
                    <a:lnTo>
                      <a:pt x="400" y="552"/>
                    </a:lnTo>
                    <a:lnTo>
                      <a:pt x="400" y="568"/>
                    </a:lnTo>
                    <a:lnTo>
                      <a:pt x="432" y="552"/>
                    </a:lnTo>
                    <a:lnTo>
                      <a:pt x="456" y="528"/>
                    </a:lnTo>
                    <a:lnTo>
                      <a:pt x="472" y="520"/>
                    </a:lnTo>
                    <a:lnTo>
                      <a:pt x="488" y="528"/>
                    </a:lnTo>
                    <a:lnTo>
                      <a:pt x="472" y="544"/>
                    </a:lnTo>
                    <a:lnTo>
                      <a:pt x="488" y="544"/>
                    </a:lnTo>
                    <a:lnTo>
                      <a:pt x="496" y="520"/>
                    </a:lnTo>
                    <a:lnTo>
                      <a:pt x="512" y="496"/>
                    </a:lnTo>
                    <a:lnTo>
                      <a:pt x="528" y="480"/>
                    </a:lnTo>
                    <a:lnTo>
                      <a:pt x="552" y="456"/>
                    </a:lnTo>
                    <a:lnTo>
                      <a:pt x="576" y="448"/>
                    </a:lnTo>
                    <a:lnTo>
                      <a:pt x="632" y="432"/>
                    </a:lnTo>
                    <a:lnTo>
                      <a:pt x="704" y="424"/>
                    </a:lnTo>
                    <a:lnTo>
                      <a:pt x="744" y="416"/>
                    </a:lnTo>
                    <a:lnTo>
                      <a:pt x="768" y="408"/>
                    </a:lnTo>
                    <a:lnTo>
                      <a:pt x="776" y="376"/>
                    </a:lnTo>
                    <a:lnTo>
                      <a:pt x="784" y="344"/>
                    </a:lnTo>
                    <a:lnTo>
                      <a:pt x="800" y="272"/>
                    </a:lnTo>
                    <a:lnTo>
                      <a:pt x="800" y="232"/>
                    </a:lnTo>
                    <a:lnTo>
                      <a:pt x="800" y="192"/>
                    </a:lnTo>
                    <a:lnTo>
                      <a:pt x="792" y="184"/>
                    </a:lnTo>
                    <a:lnTo>
                      <a:pt x="768" y="152"/>
                    </a:lnTo>
                    <a:lnTo>
                      <a:pt x="800" y="136"/>
                    </a:lnTo>
                    <a:lnTo>
                      <a:pt x="800" y="88"/>
                    </a:lnTo>
                    <a:lnTo>
                      <a:pt x="776" y="56"/>
                    </a:lnTo>
                    <a:lnTo>
                      <a:pt x="736" y="16"/>
                    </a:lnTo>
                    <a:lnTo>
                      <a:pt x="656" y="8"/>
                    </a:lnTo>
                    <a:lnTo>
                      <a:pt x="608" y="0"/>
                    </a:lnTo>
                    <a:lnTo>
                      <a:pt x="576" y="16"/>
                    </a:lnTo>
                    <a:lnTo>
                      <a:pt x="552" y="48"/>
                    </a:lnTo>
                    <a:lnTo>
                      <a:pt x="496" y="72"/>
                    </a:lnTo>
                    <a:lnTo>
                      <a:pt x="488" y="96"/>
                    </a:lnTo>
                    <a:lnTo>
                      <a:pt x="464" y="88"/>
                    </a:lnTo>
                    <a:lnTo>
                      <a:pt x="448" y="128"/>
                    </a:lnTo>
                    <a:lnTo>
                      <a:pt x="392" y="96"/>
                    </a:lnTo>
                    <a:lnTo>
                      <a:pt x="376" y="88"/>
                    </a:lnTo>
                    <a:lnTo>
                      <a:pt x="376" y="120"/>
                    </a:lnTo>
                    <a:lnTo>
                      <a:pt x="368" y="128"/>
                    </a:lnTo>
                    <a:lnTo>
                      <a:pt x="392" y="152"/>
                    </a:lnTo>
                    <a:lnTo>
                      <a:pt x="368" y="168"/>
                    </a:lnTo>
                    <a:lnTo>
                      <a:pt x="312" y="152"/>
                    </a:lnTo>
                    <a:lnTo>
                      <a:pt x="272" y="152"/>
                    </a:lnTo>
                    <a:lnTo>
                      <a:pt x="200" y="112"/>
                    </a:lnTo>
                    <a:lnTo>
                      <a:pt x="168" y="104"/>
                    </a:lnTo>
                    <a:lnTo>
                      <a:pt x="136" y="56"/>
                    </a:lnTo>
                    <a:lnTo>
                      <a:pt x="136" y="16"/>
                    </a:lnTo>
                    <a:lnTo>
                      <a:pt x="96" y="32"/>
                    </a:lnTo>
                    <a:lnTo>
                      <a:pt x="96" y="48"/>
                    </a:lnTo>
                    <a:close/>
                  </a:path>
                </a:pathLst>
              </a:custGeom>
              <a:solidFill>
                <a:srgbClr val="9950A8"/>
              </a:solidFill>
              <a:ln w="9525">
                <a:solidFill>
                  <a:schemeClr val="bg1"/>
                </a:solidFill>
                <a:round/>
                <a:headEnd/>
                <a:tailEnd/>
              </a:ln>
            </p:spPr>
            <p:txBody>
              <a:bodyPr/>
              <a:lstStyle/>
              <a:p>
                <a:endParaRPr lang="en-US" sz="1050"/>
              </a:p>
            </p:txBody>
          </p:sp>
          <p:sp>
            <p:nvSpPr>
              <p:cNvPr id="124" name="Freeform 123"/>
              <p:cNvSpPr>
                <a:spLocks/>
              </p:cNvSpPr>
              <p:nvPr/>
            </p:nvSpPr>
            <p:spPr bwMode="auto">
              <a:xfrm>
                <a:off x="6004194" y="4543600"/>
                <a:ext cx="659985" cy="546530"/>
              </a:xfrm>
              <a:custGeom>
                <a:avLst/>
                <a:gdLst>
                  <a:gd name="T0" fmla="*/ 2147483646 w 560"/>
                  <a:gd name="T1" fmla="*/ 2147483646 h 504"/>
                  <a:gd name="T2" fmla="*/ 2147483646 w 560"/>
                  <a:gd name="T3" fmla="*/ 2147483646 h 504"/>
                  <a:gd name="T4" fmla="*/ 2147483646 w 560"/>
                  <a:gd name="T5" fmla="*/ 2147483646 h 504"/>
                  <a:gd name="T6" fmla="*/ 2147483646 w 560"/>
                  <a:gd name="T7" fmla="*/ 2147483646 h 504"/>
                  <a:gd name="T8" fmla="*/ 2147483646 w 560"/>
                  <a:gd name="T9" fmla="*/ 2147483646 h 504"/>
                  <a:gd name="T10" fmla="*/ 2147483646 w 560"/>
                  <a:gd name="T11" fmla="*/ 2147483646 h 504"/>
                  <a:gd name="T12" fmla="*/ 2147483646 w 560"/>
                  <a:gd name="T13" fmla="*/ 2147483646 h 504"/>
                  <a:gd name="T14" fmla="*/ 2147483646 w 560"/>
                  <a:gd name="T15" fmla="*/ 2147483646 h 504"/>
                  <a:gd name="T16" fmla="*/ 2147483646 w 560"/>
                  <a:gd name="T17" fmla="*/ 2147483646 h 504"/>
                  <a:gd name="T18" fmla="*/ 2147483646 w 560"/>
                  <a:gd name="T19" fmla="*/ 2147483646 h 504"/>
                  <a:gd name="T20" fmla="*/ 2147483646 w 560"/>
                  <a:gd name="T21" fmla="*/ 2147483646 h 504"/>
                  <a:gd name="T22" fmla="*/ 2147483646 w 560"/>
                  <a:gd name="T23" fmla="*/ 2147483646 h 504"/>
                  <a:gd name="T24" fmla="*/ 2147483646 w 560"/>
                  <a:gd name="T25" fmla="*/ 2147483646 h 504"/>
                  <a:gd name="T26" fmla="*/ 2147483646 w 560"/>
                  <a:gd name="T27" fmla="*/ 0 h 504"/>
                  <a:gd name="T28" fmla="*/ 2147483646 w 560"/>
                  <a:gd name="T29" fmla="*/ 2147483646 h 504"/>
                  <a:gd name="T30" fmla="*/ 2147483646 w 560"/>
                  <a:gd name="T31" fmla="*/ 2147483646 h 504"/>
                  <a:gd name="T32" fmla="*/ 2147483646 w 560"/>
                  <a:gd name="T33" fmla="*/ 2147483646 h 504"/>
                  <a:gd name="T34" fmla="*/ 2147483646 w 560"/>
                  <a:gd name="T35" fmla="*/ 2147483646 h 504"/>
                  <a:gd name="T36" fmla="*/ 2147483646 w 560"/>
                  <a:gd name="T37" fmla="*/ 2147483646 h 504"/>
                  <a:gd name="T38" fmla="*/ 2147483646 w 560"/>
                  <a:gd name="T39" fmla="*/ 2147483646 h 504"/>
                  <a:gd name="T40" fmla="*/ 2147483646 w 560"/>
                  <a:gd name="T41" fmla="*/ 2147483646 h 504"/>
                  <a:gd name="T42" fmla="*/ 0 w 560"/>
                  <a:gd name="T43" fmla="*/ 2147483646 h 504"/>
                  <a:gd name="T44" fmla="*/ 2147483646 w 560"/>
                  <a:gd name="T45" fmla="*/ 2147483646 h 504"/>
                  <a:gd name="T46" fmla="*/ 2147483646 w 560"/>
                  <a:gd name="T47" fmla="*/ 2147483646 h 504"/>
                  <a:gd name="T48" fmla="*/ 2147483646 w 560"/>
                  <a:gd name="T49" fmla="*/ 2147483646 h 504"/>
                  <a:gd name="T50" fmla="*/ 2147483646 w 560"/>
                  <a:gd name="T51" fmla="*/ 2147483646 h 504"/>
                  <a:gd name="T52" fmla="*/ 2147483646 w 560"/>
                  <a:gd name="T53" fmla="*/ 2147483646 h 504"/>
                  <a:gd name="T54" fmla="*/ 2147483646 w 560"/>
                  <a:gd name="T55" fmla="*/ 2147483646 h 504"/>
                  <a:gd name="T56" fmla="*/ 2147483646 w 560"/>
                  <a:gd name="T57" fmla="*/ 2147483646 h 504"/>
                  <a:gd name="T58" fmla="*/ 2147483646 w 560"/>
                  <a:gd name="T59" fmla="*/ 2147483646 h 504"/>
                  <a:gd name="T60" fmla="*/ 2147483646 w 560"/>
                  <a:gd name="T61" fmla="*/ 2147483646 h 504"/>
                  <a:gd name="T62" fmla="*/ 2147483646 w 560"/>
                  <a:gd name="T63" fmla="*/ 2147483646 h 504"/>
                  <a:gd name="T64" fmla="*/ 2147483646 w 560"/>
                  <a:gd name="T65" fmla="*/ 2147483646 h 504"/>
                  <a:gd name="T66" fmla="*/ 2147483646 w 560"/>
                  <a:gd name="T67" fmla="*/ 2147483646 h 504"/>
                  <a:gd name="T68" fmla="*/ 2147483646 w 560"/>
                  <a:gd name="T69" fmla="*/ 2147483646 h 504"/>
                  <a:gd name="T70" fmla="*/ 2147483646 w 560"/>
                  <a:gd name="T71" fmla="*/ 2147483646 h 504"/>
                  <a:gd name="T72" fmla="*/ 2147483646 w 560"/>
                  <a:gd name="T73" fmla="*/ 2147483646 h 504"/>
                  <a:gd name="T74" fmla="*/ 2147483646 w 560"/>
                  <a:gd name="T75" fmla="*/ 2147483646 h 504"/>
                  <a:gd name="T76" fmla="*/ 2147483646 w 560"/>
                  <a:gd name="T77" fmla="*/ 2147483646 h 504"/>
                  <a:gd name="T78" fmla="*/ 2147483646 w 560"/>
                  <a:gd name="T79" fmla="*/ 2147483646 h 5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0"/>
                  <a:gd name="T121" fmla="*/ 0 h 504"/>
                  <a:gd name="T122" fmla="*/ 560 w 560"/>
                  <a:gd name="T123" fmla="*/ 504 h 5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0" h="504">
                    <a:moveTo>
                      <a:pt x="512" y="472"/>
                    </a:moveTo>
                    <a:lnTo>
                      <a:pt x="544" y="400"/>
                    </a:lnTo>
                    <a:lnTo>
                      <a:pt x="528" y="264"/>
                    </a:lnTo>
                    <a:lnTo>
                      <a:pt x="560" y="248"/>
                    </a:lnTo>
                    <a:lnTo>
                      <a:pt x="512" y="216"/>
                    </a:lnTo>
                    <a:lnTo>
                      <a:pt x="536" y="168"/>
                    </a:lnTo>
                    <a:lnTo>
                      <a:pt x="496" y="176"/>
                    </a:lnTo>
                    <a:lnTo>
                      <a:pt x="456" y="144"/>
                    </a:lnTo>
                    <a:lnTo>
                      <a:pt x="472" y="72"/>
                    </a:lnTo>
                    <a:lnTo>
                      <a:pt x="408" y="56"/>
                    </a:lnTo>
                    <a:lnTo>
                      <a:pt x="392" y="80"/>
                    </a:lnTo>
                    <a:lnTo>
                      <a:pt x="336" y="64"/>
                    </a:lnTo>
                    <a:lnTo>
                      <a:pt x="320" y="40"/>
                    </a:lnTo>
                    <a:lnTo>
                      <a:pt x="248" y="0"/>
                    </a:lnTo>
                    <a:lnTo>
                      <a:pt x="184" y="32"/>
                    </a:lnTo>
                    <a:lnTo>
                      <a:pt x="176" y="80"/>
                    </a:lnTo>
                    <a:lnTo>
                      <a:pt x="168" y="136"/>
                    </a:lnTo>
                    <a:lnTo>
                      <a:pt x="144" y="152"/>
                    </a:lnTo>
                    <a:lnTo>
                      <a:pt x="160" y="200"/>
                    </a:lnTo>
                    <a:lnTo>
                      <a:pt x="136" y="216"/>
                    </a:lnTo>
                    <a:lnTo>
                      <a:pt x="64" y="184"/>
                    </a:lnTo>
                    <a:lnTo>
                      <a:pt x="0" y="256"/>
                    </a:lnTo>
                    <a:lnTo>
                      <a:pt x="24" y="280"/>
                    </a:lnTo>
                    <a:lnTo>
                      <a:pt x="64" y="256"/>
                    </a:lnTo>
                    <a:lnTo>
                      <a:pt x="80" y="328"/>
                    </a:lnTo>
                    <a:lnTo>
                      <a:pt x="120" y="360"/>
                    </a:lnTo>
                    <a:lnTo>
                      <a:pt x="88" y="432"/>
                    </a:lnTo>
                    <a:lnTo>
                      <a:pt x="104" y="496"/>
                    </a:lnTo>
                    <a:lnTo>
                      <a:pt x="144" y="488"/>
                    </a:lnTo>
                    <a:lnTo>
                      <a:pt x="152" y="456"/>
                    </a:lnTo>
                    <a:lnTo>
                      <a:pt x="184" y="448"/>
                    </a:lnTo>
                    <a:lnTo>
                      <a:pt x="216" y="488"/>
                    </a:lnTo>
                    <a:lnTo>
                      <a:pt x="232" y="448"/>
                    </a:lnTo>
                    <a:lnTo>
                      <a:pt x="272" y="480"/>
                    </a:lnTo>
                    <a:lnTo>
                      <a:pt x="344" y="496"/>
                    </a:lnTo>
                    <a:lnTo>
                      <a:pt x="392" y="456"/>
                    </a:lnTo>
                    <a:lnTo>
                      <a:pt x="408" y="496"/>
                    </a:lnTo>
                    <a:lnTo>
                      <a:pt x="464" y="480"/>
                    </a:lnTo>
                    <a:lnTo>
                      <a:pt x="496" y="504"/>
                    </a:lnTo>
                    <a:lnTo>
                      <a:pt x="512" y="472"/>
                    </a:lnTo>
                    <a:close/>
                  </a:path>
                </a:pathLst>
              </a:custGeom>
              <a:solidFill>
                <a:srgbClr val="9950A8"/>
              </a:solidFill>
              <a:ln w="9525">
                <a:solidFill>
                  <a:schemeClr val="bg1"/>
                </a:solidFill>
                <a:round/>
                <a:headEnd/>
                <a:tailEnd/>
              </a:ln>
            </p:spPr>
            <p:txBody>
              <a:bodyPr/>
              <a:lstStyle/>
              <a:p>
                <a:endParaRPr lang="en-US" sz="1050"/>
              </a:p>
            </p:txBody>
          </p:sp>
          <p:sp>
            <p:nvSpPr>
              <p:cNvPr id="125" name="Freeform 124"/>
              <p:cNvSpPr>
                <a:spLocks/>
              </p:cNvSpPr>
              <p:nvPr/>
            </p:nvSpPr>
            <p:spPr bwMode="auto">
              <a:xfrm>
                <a:off x="5495062" y="4326723"/>
                <a:ext cx="716555" cy="780757"/>
              </a:xfrm>
              <a:custGeom>
                <a:avLst/>
                <a:gdLst>
                  <a:gd name="T0" fmla="*/ 2147483646 w 608"/>
                  <a:gd name="T1" fmla="*/ 2147483646 h 720"/>
                  <a:gd name="T2" fmla="*/ 2147483646 w 608"/>
                  <a:gd name="T3" fmla="*/ 2147483646 h 720"/>
                  <a:gd name="T4" fmla="*/ 2147483646 w 608"/>
                  <a:gd name="T5" fmla="*/ 2147483646 h 720"/>
                  <a:gd name="T6" fmla="*/ 2147483646 w 608"/>
                  <a:gd name="T7" fmla="*/ 2147483646 h 720"/>
                  <a:gd name="T8" fmla="*/ 2147483646 w 608"/>
                  <a:gd name="T9" fmla="*/ 2147483646 h 720"/>
                  <a:gd name="T10" fmla="*/ 2147483646 w 608"/>
                  <a:gd name="T11" fmla="*/ 2147483646 h 720"/>
                  <a:gd name="T12" fmla="*/ 2147483646 w 608"/>
                  <a:gd name="T13" fmla="*/ 2147483646 h 720"/>
                  <a:gd name="T14" fmla="*/ 2147483646 w 608"/>
                  <a:gd name="T15" fmla="*/ 2147483646 h 720"/>
                  <a:gd name="T16" fmla="*/ 2147483646 w 608"/>
                  <a:gd name="T17" fmla="*/ 2147483646 h 720"/>
                  <a:gd name="T18" fmla="*/ 2147483646 w 608"/>
                  <a:gd name="T19" fmla="*/ 2147483646 h 720"/>
                  <a:gd name="T20" fmla="*/ 2147483646 w 608"/>
                  <a:gd name="T21" fmla="*/ 2147483646 h 720"/>
                  <a:gd name="T22" fmla="*/ 2147483646 w 608"/>
                  <a:gd name="T23" fmla="*/ 2147483646 h 720"/>
                  <a:gd name="T24" fmla="*/ 2147483646 w 608"/>
                  <a:gd name="T25" fmla="*/ 2147483646 h 720"/>
                  <a:gd name="T26" fmla="*/ 2147483646 w 608"/>
                  <a:gd name="T27" fmla="*/ 2147483646 h 720"/>
                  <a:gd name="T28" fmla="*/ 2147483646 w 608"/>
                  <a:gd name="T29" fmla="*/ 2147483646 h 720"/>
                  <a:gd name="T30" fmla="*/ 2147483646 w 608"/>
                  <a:gd name="T31" fmla="*/ 2147483646 h 720"/>
                  <a:gd name="T32" fmla="*/ 2147483646 w 608"/>
                  <a:gd name="T33" fmla="*/ 2147483646 h 720"/>
                  <a:gd name="T34" fmla="*/ 2147483646 w 608"/>
                  <a:gd name="T35" fmla="*/ 2147483646 h 720"/>
                  <a:gd name="T36" fmla="*/ 2147483646 w 608"/>
                  <a:gd name="T37" fmla="*/ 2147483646 h 720"/>
                  <a:gd name="T38" fmla="*/ 2147483646 w 608"/>
                  <a:gd name="T39" fmla="*/ 2147483646 h 720"/>
                  <a:gd name="T40" fmla="*/ 2147483646 w 608"/>
                  <a:gd name="T41" fmla="*/ 2147483646 h 720"/>
                  <a:gd name="T42" fmla="*/ 2147483646 w 608"/>
                  <a:gd name="T43" fmla="*/ 2147483646 h 720"/>
                  <a:gd name="T44" fmla="*/ 2147483646 w 608"/>
                  <a:gd name="T45" fmla="*/ 2147483646 h 720"/>
                  <a:gd name="T46" fmla="*/ 2147483646 w 608"/>
                  <a:gd name="T47" fmla="*/ 2147483646 h 720"/>
                  <a:gd name="T48" fmla="*/ 2147483646 w 608"/>
                  <a:gd name="T49" fmla="*/ 2147483646 h 720"/>
                  <a:gd name="T50" fmla="*/ 2147483646 w 608"/>
                  <a:gd name="T51" fmla="*/ 2147483646 h 720"/>
                  <a:gd name="T52" fmla="*/ 2147483646 w 608"/>
                  <a:gd name="T53" fmla="*/ 0 h 720"/>
                  <a:gd name="T54" fmla="*/ 2147483646 w 608"/>
                  <a:gd name="T55" fmla="*/ 2147483646 h 720"/>
                  <a:gd name="T56" fmla="*/ 2147483646 w 608"/>
                  <a:gd name="T57" fmla="*/ 2147483646 h 720"/>
                  <a:gd name="T58" fmla="*/ 2147483646 w 608"/>
                  <a:gd name="T59" fmla="*/ 2147483646 h 720"/>
                  <a:gd name="T60" fmla="*/ 2147483646 w 608"/>
                  <a:gd name="T61" fmla="*/ 2147483646 h 720"/>
                  <a:gd name="T62" fmla="*/ 2147483646 w 608"/>
                  <a:gd name="T63" fmla="*/ 2147483646 h 720"/>
                  <a:gd name="T64" fmla="*/ 2147483646 w 608"/>
                  <a:gd name="T65" fmla="*/ 2147483646 h 720"/>
                  <a:gd name="T66" fmla="*/ 2147483646 w 608"/>
                  <a:gd name="T67" fmla="*/ 2147483646 h 720"/>
                  <a:gd name="T68" fmla="*/ 0 w 608"/>
                  <a:gd name="T69" fmla="*/ 2147483646 h 720"/>
                  <a:gd name="T70" fmla="*/ 2147483646 w 608"/>
                  <a:gd name="T71" fmla="*/ 2147483646 h 720"/>
                  <a:gd name="T72" fmla="*/ 2147483646 w 608"/>
                  <a:gd name="T73" fmla="*/ 2147483646 h 720"/>
                  <a:gd name="T74" fmla="*/ 2147483646 w 608"/>
                  <a:gd name="T75" fmla="*/ 2147483646 h 720"/>
                  <a:gd name="T76" fmla="*/ 2147483646 w 608"/>
                  <a:gd name="T77" fmla="*/ 2147483646 h 720"/>
                  <a:gd name="T78" fmla="*/ 2147483646 w 608"/>
                  <a:gd name="T79" fmla="*/ 2147483646 h 720"/>
                  <a:gd name="T80" fmla="*/ 2147483646 w 608"/>
                  <a:gd name="T81" fmla="*/ 2147483646 h 720"/>
                  <a:gd name="T82" fmla="*/ 2147483646 w 608"/>
                  <a:gd name="T83" fmla="*/ 2147483646 h 720"/>
                  <a:gd name="T84" fmla="*/ 2147483646 w 608"/>
                  <a:gd name="T85" fmla="*/ 2147483646 h 720"/>
                  <a:gd name="T86" fmla="*/ 2147483646 w 608"/>
                  <a:gd name="T87" fmla="*/ 2147483646 h 720"/>
                  <a:gd name="T88" fmla="*/ 2147483646 w 608"/>
                  <a:gd name="T89" fmla="*/ 2147483646 h 720"/>
                  <a:gd name="T90" fmla="*/ 2147483646 w 608"/>
                  <a:gd name="T91" fmla="*/ 2147483646 h 720"/>
                  <a:gd name="T92" fmla="*/ 2147483646 w 608"/>
                  <a:gd name="T93" fmla="*/ 2147483646 h 720"/>
                  <a:gd name="T94" fmla="*/ 2147483646 w 608"/>
                  <a:gd name="T95" fmla="*/ 2147483646 h 720"/>
                  <a:gd name="T96" fmla="*/ 2147483646 w 608"/>
                  <a:gd name="T97" fmla="*/ 2147483646 h 720"/>
                  <a:gd name="T98" fmla="*/ 2147483646 w 608"/>
                  <a:gd name="T99" fmla="*/ 2147483646 h 720"/>
                  <a:gd name="T100" fmla="*/ 2147483646 w 608"/>
                  <a:gd name="T101" fmla="*/ 2147483646 h 720"/>
                  <a:gd name="T102" fmla="*/ 2147483646 w 608"/>
                  <a:gd name="T103" fmla="*/ 2147483646 h 720"/>
                  <a:gd name="T104" fmla="*/ 2147483646 w 608"/>
                  <a:gd name="T105" fmla="*/ 2147483646 h 720"/>
                  <a:gd name="T106" fmla="*/ 2147483646 w 608"/>
                  <a:gd name="T107" fmla="*/ 2147483646 h 7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8"/>
                  <a:gd name="T163" fmla="*/ 0 h 720"/>
                  <a:gd name="T164" fmla="*/ 608 w 608"/>
                  <a:gd name="T165" fmla="*/ 720 h 7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8" h="720">
                    <a:moveTo>
                      <a:pt x="544" y="696"/>
                    </a:moveTo>
                    <a:lnTo>
                      <a:pt x="520" y="640"/>
                    </a:lnTo>
                    <a:lnTo>
                      <a:pt x="552" y="560"/>
                    </a:lnTo>
                    <a:lnTo>
                      <a:pt x="512" y="536"/>
                    </a:lnTo>
                    <a:lnTo>
                      <a:pt x="496" y="456"/>
                    </a:lnTo>
                    <a:lnTo>
                      <a:pt x="456" y="480"/>
                    </a:lnTo>
                    <a:lnTo>
                      <a:pt x="432" y="456"/>
                    </a:lnTo>
                    <a:lnTo>
                      <a:pt x="496" y="384"/>
                    </a:lnTo>
                    <a:lnTo>
                      <a:pt x="576" y="416"/>
                    </a:lnTo>
                    <a:lnTo>
                      <a:pt x="592" y="400"/>
                    </a:lnTo>
                    <a:lnTo>
                      <a:pt x="576" y="352"/>
                    </a:lnTo>
                    <a:lnTo>
                      <a:pt x="600" y="336"/>
                    </a:lnTo>
                    <a:lnTo>
                      <a:pt x="608" y="280"/>
                    </a:lnTo>
                    <a:lnTo>
                      <a:pt x="592" y="264"/>
                    </a:lnTo>
                    <a:lnTo>
                      <a:pt x="560" y="280"/>
                    </a:lnTo>
                    <a:lnTo>
                      <a:pt x="560" y="240"/>
                    </a:lnTo>
                    <a:lnTo>
                      <a:pt x="496" y="264"/>
                    </a:lnTo>
                    <a:lnTo>
                      <a:pt x="488" y="224"/>
                    </a:lnTo>
                    <a:lnTo>
                      <a:pt x="456" y="240"/>
                    </a:lnTo>
                    <a:lnTo>
                      <a:pt x="432" y="208"/>
                    </a:lnTo>
                    <a:lnTo>
                      <a:pt x="384" y="184"/>
                    </a:lnTo>
                    <a:lnTo>
                      <a:pt x="352" y="208"/>
                    </a:lnTo>
                    <a:lnTo>
                      <a:pt x="304" y="136"/>
                    </a:lnTo>
                    <a:lnTo>
                      <a:pt x="240" y="160"/>
                    </a:lnTo>
                    <a:lnTo>
                      <a:pt x="184" y="72"/>
                    </a:lnTo>
                    <a:lnTo>
                      <a:pt x="192" y="16"/>
                    </a:lnTo>
                    <a:lnTo>
                      <a:pt x="144" y="0"/>
                    </a:lnTo>
                    <a:lnTo>
                      <a:pt x="144" y="64"/>
                    </a:lnTo>
                    <a:lnTo>
                      <a:pt x="112" y="80"/>
                    </a:lnTo>
                    <a:lnTo>
                      <a:pt x="120" y="136"/>
                    </a:lnTo>
                    <a:lnTo>
                      <a:pt x="88" y="152"/>
                    </a:lnTo>
                    <a:lnTo>
                      <a:pt x="80" y="96"/>
                    </a:lnTo>
                    <a:lnTo>
                      <a:pt x="56" y="144"/>
                    </a:lnTo>
                    <a:lnTo>
                      <a:pt x="16" y="152"/>
                    </a:lnTo>
                    <a:lnTo>
                      <a:pt x="0" y="224"/>
                    </a:lnTo>
                    <a:lnTo>
                      <a:pt x="32" y="256"/>
                    </a:lnTo>
                    <a:lnTo>
                      <a:pt x="40" y="320"/>
                    </a:lnTo>
                    <a:lnTo>
                      <a:pt x="72" y="344"/>
                    </a:lnTo>
                    <a:lnTo>
                      <a:pt x="72" y="408"/>
                    </a:lnTo>
                    <a:lnTo>
                      <a:pt x="112" y="416"/>
                    </a:lnTo>
                    <a:lnTo>
                      <a:pt x="112" y="448"/>
                    </a:lnTo>
                    <a:lnTo>
                      <a:pt x="168" y="440"/>
                    </a:lnTo>
                    <a:lnTo>
                      <a:pt x="184" y="512"/>
                    </a:lnTo>
                    <a:lnTo>
                      <a:pt x="232" y="528"/>
                    </a:lnTo>
                    <a:lnTo>
                      <a:pt x="248" y="568"/>
                    </a:lnTo>
                    <a:lnTo>
                      <a:pt x="216" y="576"/>
                    </a:lnTo>
                    <a:lnTo>
                      <a:pt x="256" y="640"/>
                    </a:lnTo>
                    <a:lnTo>
                      <a:pt x="288" y="688"/>
                    </a:lnTo>
                    <a:lnTo>
                      <a:pt x="368" y="664"/>
                    </a:lnTo>
                    <a:lnTo>
                      <a:pt x="440" y="696"/>
                    </a:lnTo>
                    <a:lnTo>
                      <a:pt x="472" y="664"/>
                    </a:lnTo>
                    <a:lnTo>
                      <a:pt x="504" y="672"/>
                    </a:lnTo>
                    <a:lnTo>
                      <a:pt x="504" y="720"/>
                    </a:lnTo>
                    <a:lnTo>
                      <a:pt x="544" y="696"/>
                    </a:lnTo>
                    <a:close/>
                  </a:path>
                </a:pathLst>
              </a:custGeom>
              <a:solidFill>
                <a:srgbClr val="9950A8"/>
              </a:solidFill>
              <a:ln w="9525">
                <a:solidFill>
                  <a:schemeClr val="bg1"/>
                </a:solidFill>
                <a:round/>
                <a:headEnd/>
                <a:tailEnd/>
              </a:ln>
            </p:spPr>
            <p:txBody>
              <a:bodyPr/>
              <a:lstStyle/>
              <a:p>
                <a:endParaRPr lang="en-US" sz="1050"/>
              </a:p>
            </p:txBody>
          </p:sp>
          <p:sp>
            <p:nvSpPr>
              <p:cNvPr id="126" name="Freeform 125"/>
              <p:cNvSpPr>
                <a:spLocks/>
              </p:cNvSpPr>
              <p:nvPr/>
            </p:nvSpPr>
            <p:spPr bwMode="auto">
              <a:xfrm>
                <a:off x="6155048" y="5055429"/>
                <a:ext cx="933408" cy="754732"/>
              </a:xfrm>
              <a:custGeom>
                <a:avLst/>
                <a:gdLst>
                  <a:gd name="T0" fmla="*/ 2147483646 w 792"/>
                  <a:gd name="T1" fmla="*/ 2147483646 h 696"/>
                  <a:gd name="T2" fmla="*/ 2147483646 w 792"/>
                  <a:gd name="T3" fmla="*/ 2147483646 h 696"/>
                  <a:gd name="T4" fmla="*/ 2147483646 w 792"/>
                  <a:gd name="T5" fmla="*/ 2147483646 h 696"/>
                  <a:gd name="T6" fmla="*/ 2147483646 w 792"/>
                  <a:gd name="T7" fmla="*/ 2147483646 h 696"/>
                  <a:gd name="T8" fmla="*/ 2147483646 w 792"/>
                  <a:gd name="T9" fmla="*/ 2147483646 h 696"/>
                  <a:gd name="T10" fmla="*/ 2147483646 w 792"/>
                  <a:gd name="T11" fmla="*/ 2147483646 h 696"/>
                  <a:gd name="T12" fmla="*/ 2147483646 w 792"/>
                  <a:gd name="T13" fmla="*/ 2147483646 h 696"/>
                  <a:gd name="T14" fmla="*/ 2147483646 w 792"/>
                  <a:gd name="T15" fmla="*/ 0 h 696"/>
                  <a:gd name="T16" fmla="*/ 2147483646 w 792"/>
                  <a:gd name="T17" fmla="*/ 2147483646 h 696"/>
                  <a:gd name="T18" fmla="*/ 2147483646 w 792"/>
                  <a:gd name="T19" fmla="*/ 2147483646 h 696"/>
                  <a:gd name="T20" fmla="*/ 2147483646 w 792"/>
                  <a:gd name="T21" fmla="*/ 2147483646 h 696"/>
                  <a:gd name="T22" fmla="*/ 2147483646 w 792"/>
                  <a:gd name="T23" fmla="*/ 2147483646 h 696"/>
                  <a:gd name="T24" fmla="*/ 2147483646 w 792"/>
                  <a:gd name="T25" fmla="*/ 2147483646 h 696"/>
                  <a:gd name="T26" fmla="*/ 2147483646 w 792"/>
                  <a:gd name="T27" fmla="*/ 2147483646 h 696"/>
                  <a:gd name="T28" fmla="*/ 2147483646 w 792"/>
                  <a:gd name="T29" fmla="*/ 2147483646 h 696"/>
                  <a:gd name="T30" fmla="*/ 2147483646 w 792"/>
                  <a:gd name="T31" fmla="*/ 2147483646 h 696"/>
                  <a:gd name="T32" fmla="*/ 2147483646 w 792"/>
                  <a:gd name="T33" fmla="*/ 2147483646 h 696"/>
                  <a:gd name="T34" fmla="*/ 2147483646 w 792"/>
                  <a:gd name="T35" fmla="*/ 2147483646 h 696"/>
                  <a:gd name="T36" fmla="*/ 2147483646 w 792"/>
                  <a:gd name="T37" fmla="*/ 2147483646 h 696"/>
                  <a:gd name="T38" fmla="*/ 2147483646 w 792"/>
                  <a:gd name="T39" fmla="*/ 2147483646 h 696"/>
                  <a:gd name="T40" fmla="*/ 2147483646 w 792"/>
                  <a:gd name="T41" fmla="*/ 2147483646 h 696"/>
                  <a:gd name="T42" fmla="*/ 2147483646 w 792"/>
                  <a:gd name="T43" fmla="*/ 2147483646 h 696"/>
                  <a:gd name="T44" fmla="*/ 2147483646 w 792"/>
                  <a:gd name="T45" fmla="*/ 2147483646 h 696"/>
                  <a:gd name="T46" fmla="*/ 0 w 792"/>
                  <a:gd name="T47" fmla="*/ 2147483646 h 696"/>
                  <a:gd name="T48" fmla="*/ 2147483646 w 792"/>
                  <a:gd name="T49" fmla="*/ 2147483646 h 696"/>
                  <a:gd name="T50" fmla="*/ 2147483646 w 792"/>
                  <a:gd name="T51" fmla="*/ 2147483646 h 696"/>
                  <a:gd name="T52" fmla="*/ 2147483646 w 792"/>
                  <a:gd name="T53" fmla="*/ 2147483646 h 696"/>
                  <a:gd name="T54" fmla="*/ 2147483646 w 792"/>
                  <a:gd name="T55" fmla="*/ 2147483646 h 696"/>
                  <a:gd name="T56" fmla="*/ 2147483646 w 792"/>
                  <a:gd name="T57" fmla="*/ 2147483646 h 696"/>
                  <a:gd name="T58" fmla="*/ 2147483646 w 792"/>
                  <a:gd name="T59" fmla="*/ 2147483646 h 696"/>
                  <a:gd name="T60" fmla="*/ 2147483646 w 792"/>
                  <a:gd name="T61" fmla="*/ 2147483646 h 696"/>
                  <a:gd name="T62" fmla="*/ 2147483646 w 792"/>
                  <a:gd name="T63" fmla="*/ 2147483646 h 696"/>
                  <a:gd name="T64" fmla="*/ 2147483646 w 792"/>
                  <a:gd name="T65" fmla="*/ 2147483646 h 696"/>
                  <a:gd name="T66" fmla="*/ 2147483646 w 792"/>
                  <a:gd name="T67" fmla="*/ 2147483646 h 696"/>
                  <a:gd name="T68" fmla="*/ 2147483646 w 792"/>
                  <a:gd name="T69" fmla="*/ 2147483646 h 696"/>
                  <a:gd name="T70" fmla="*/ 2147483646 w 792"/>
                  <a:gd name="T71" fmla="*/ 2147483646 h 696"/>
                  <a:gd name="T72" fmla="*/ 2147483646 w 792"/>
                  <a:gd name="T73" fmla="*/ 2147483646 h 696"/>
                  <a:gd name="T74" fmla="*/ 2147483646 w 792"/>
                  <a:gd name="T75" fmla="*/ 2147483646 h 696"/>
                  <a:gd name="T76" fmla="*/ 2147483646 w 792"/>
                  <a:gd name="T77" fmla="*/ 2147483646 h 696"/>
                  <a:gd name="T78" fmla="*/ 2147483646 w 792"/>
                  <a:gd name="T79" fmla="*/ 2147483646 h 696"/>
                  <a:gd name="T80" fmla="*/ 2147483646 w 792"/>
                  <a:gd name="T81" fmla="*/ 2147483646 h 696"/>
                  <a:gd name="T82" fmla="*/ 2147483646 w 792"/>
                  <a:gd name="T83" fmla="*/ 2147483646 h 696"/>
                  <a:gd name="T84" fmla="*/ 2147483646 w 792"/>
                  <a:gd name="T85" fmla="*/ 2147483646 h 696"/>
                  <a:gd name="T86" fmla="*/ 2147483646 w 792"/>
                  <a:gd name="T87" fmla="*/ 2147483646 h 696"/>
                  <a:gd name="T88" fmla="*/ 2147483646 w 792"/>
                  <a:gd name="T89" fmla="*/ 2147483646 h 696"/>
                  <a:gd name="T90" fmla="*/ 2147483646 w 792"/>
                  <a:gd name="T91" fmla="*/ 2147483646 h 696"/>
                  <a:gd name="T92" fmla="*/ 2147483646 w 792"/>
                  <a:gd name="T93" fmla="*/ 2147483646 h 696"/>
                  <a:gd name="T94" fmla="*/ 2147483646 w 792"/>
                  <a:gd name="T95" fmla="*/ 2147483646 h 696"/>
                  <a:gd name="T96" fmla="*/ 2147483646 w 792"/>
                  <a:gd name="T97" fmla="*/ 2147483646 h 696"/>
                  <a:gd name="T98" fmla="*/ 2147483646 w 792"/>
                  <a:gd name="T99" fmla="*/ 2147483646 h 696"/>
                  <a:gd name="T100" fmla="*/ 2147483646 w 792"/>
                  <a:gd name="T101" fmla="*/ 2147483646 h 696"/>
                  <a:gd name="T102" fmla="*/ 2147483646 w 792"/>
                  <a:gd name="T103" fmla="*/ 2147483646 h 696"/>
                  <a:gd name="T104" fmla="*/ 2147483646 w 792"/>
                  <a:gd name="T105" fmla="*/ 2147483646 h 696"/>
                  <a:gd name="T106" fmla="*/ 2147483646 w 792"/>
                  <a:gd name="T107" fmla="*/ 2147483646 h 696"/>
                  <a:gd name="T108" fmla="*/ 2147483646 w 792"/>
                  <a:gd name="T109" fmla="*/ 2147483646 h 696"/>
                  <a:gd name="T110" fmla="*/ 2147483646 w 792"/>
                  <a:gd name="T111" fmla="*/ 2147483646 h 696"/>
                  <a:gd name="T112" fmla="*/ 2147483646 w 792"/>
                  <a:gd name="T113" fmla="*/ 2147483646 h 696"/>
                  <a:gd name="T114" fmla="*/ 2147483646 w 792"/>
                  <a:gd name="T115" fmla="*/ 2147483646 h 696"/>
                  <a:gd name="T116" fmla="*/ 2147483646 w 792"/>
                  <a:gd name="T117" fmla="*/ 2147483646 h 696"/>
                  <a:gd name="T118" fmla="*/ 2147483646 w 792"/>
                  <a:gd name="T119" fmla="*/ 2147483646 h 696"/>
                  <a:gd name="T120" fmla="*/ 2147483646 w 792"/>
                  <a:gd name="T121" fmla="*/ 2147483646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696"/>
                  <a:gd name="T185" fmla="*/ 792 w 792"/>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696">
                    <a:moveTo>
                      <a:pt x="728" y="80"/>
                    </a:moveTo>
                    <a:lnTo>
                      <a:pt x="616" y="72"/>
                    </a:lnTo>
                    <a:lnTo>
                      <a:pt x="592" y="88"/>
                    </a:lnTo>
                    <a:lnTo>
                      <a:pt x="560" y="48"/>
                    </a:lnTo>
                    <a:lnTo>
                      <a:pt x="536" y="112"/>
                    </a:lnTo>
                    <a:lnTo>
                      <a:pt x="496" y="24"/>
                    </a:lnTo>
                    <a:lnTo>
                      <a:pt x="432" y="32"/>
                    </a:lnTo>
                    <a:lnTo>
                      <a:pt x="384" y="0"/>
                    </a:lnTo>
                    <a:lnTo>
                      <a:pt x="368" y="32"/>
                    </a:lnTo>
                    <a:lnTo>
                      <a:pt x="336" y="8"/>
                    </a:lnTo>
                    <a:lnTo>
                      <a:pt x="280" y="24"/>
                    </a:lnTo>
                    <a:lnTo>
                      <a:pt x="320" y="88"/>
                    </a:lnTo>
                    <a:lnTo>
                      <a:pt x="368" y="96"/>
                    </a:lnTo>
                    <a:lnTo>
                      <a:pt x="360" y="184"/>
                    </a:lnTo>
                    <a:lnTo>
                      <a:pt x="400" y="192"/>
                    </a:lnTo>
                    <a:lnTo>
                      <a:pt x="416" y="240"/>
                    </a:lnTo>
                    <a:lnTo>
                      <a:pt x="360" y="304"/>
                    </a:lnTo>
                    <a:lnTo>
                      <a:pt x="344" y="368"/>
                    </a:lnTo>
                    <a:lnTo>
                      <a:pt x="256" y="376"/>
                    </a:lnTo>
                    <a:lnTo>
                      <a:pt x="224" y="408"/>
                    </a:lnTo>
                    <a:lnTo>
                      <a:pt x="168" y="408"/>
                    </a:lnTo>
                    <a:lnTo>
                      <a:pt x="104" y="448"/>
                    </a:lnTo>
                    <a:lnTo>
                      <a:pt x="24" y="448"/>
                    </a:lnTo>
                    <a:lnTo>
                      <a:pt x="0" y="480"/>
                    </a:lnTo>
                    <a:lnTo>
                      <a:pt x="72" y="512"/>
                    </a:lnTo>
                    <a:lnTo>
                      <a:pt x="80" y="528"/>
                    </a:lnTo>
                    <a:lnTo>
                      <a:pt x="184" y="528"/>
                    </a:lnTo>
                    <a:lnTo>
                      <a:pt x="200" y="496"/>
                    </a:lnTo>
                    <a:lnTo>
                      <a:pt x="224" y="536"/>
                    </a:lnTo>
                    <a:lnTo>
                      <a:pt x="240" y="560"/>
                    </a:lnTo>
                    <a:lnTo>
                      <a:pt x="296" y="552"/>
                    </a:lnTo>
                    <a:lnTo>
                      <a:pt x="328" y="528"/>
                    </a:lnTo>
                    <a:lnTo>
                      <a:pt x="352" y="560"/>
                    </a:lnTo>
                    <a:lnTo>
                      <a:pt x="360" y="616"/>
                    </a:lnTo>
                    <a:lnTo>
                      <a:pt x="416" y="656"/>
                    </a:lnTo>
                    <a:lnTo>
                      <a:pt x="488" y="688"/>
                    </a:lnTo>
                    <a:lnTo>
                      <a:pt x="560" y="688"/>
                    </a:lnTo>
                    <a:lnTo>
                      <a:pt x="656" y="696"/>
                    </a:lnTo>
                    <a:lnTo>
                      <a:pt x="656" y="648"/>
                    </a:lnTo>
                    <a:lnTo>
                      <a:pt x="672" y="576"/>
                    </a:lnTo>
                    <a:lnTo>
                      <a:pt x="688" y="512"/>
                    </a:lnTo>
                    <a:lnTo>
                      <a:pt x="664" y="448"/>
                    </a:lnTo>
                    <a:lnTo>
                      <a:pt x="688" y="408"/>
                    </a:lnTo>
                    <a:lnTo>
                      <a:pt x="696" y="376"/>
                    </a:lnTo>
                    <a:lnTo>
                      <a:pt x="656" y="360"/>
                    </a:lnTo>
                    <a:lnTo>
                      <a:pt x="656" y="312"/>
                    </a:lnTo>
                    <a:lnTo>
                      <a:pt x="688" y="288"/>
                    </a:lnTo>
                    <a:lnTo>
                      <a:pt x="696" y="264"/>
                    </a:lnTo>
                    <a:lnTo>
                      <a:pt x="720" y="232"/>
                    </a:lnTo>
                    <a:lnTo>
                      <a:pt x="752" y="192"/>
                    </a:lnTo>
                    <a:lnTo>
                      <a:pt x="768" y="144"/>
                    </a:lnTo>
                    <a:lnTo>
                      <a:pt x="792" y="112"/>
                    </a:lnTo>
                    <a:lnTo>
                      <a:pt x="768" y="128"/>
                    </a:lnTo>
                    <a:lnTo>
                      <a:pt x="736" y="168"/>
                    </a:lnTo>
                    <a:lnTo>
                      <a:pt x="712" y="208"/>
                    </a:lnTo>
                    <a:lnTo>
                      <a:pt x="712" y="152"/>
                    </a:lnTo>
                    <a:lnTo>
                      <a:pt x="696" y="144"/>
                    </a:lnTo>
                    <a:lnTo>
                      <a:pt x="720" y="128"/>
                    </a:lnTo>
                    <a:lnTo>
                      <a:pt x="704" y="96"/>
                    </a:lnTo>
                    <a:lnTo>
                      <a:pt x="720" y="96"/>
                    </a:lnTo>
                    <a:lnTo>
                      <a:pt x="728" y="80"/>
                    </a:lnTo>
                    <a:close/>
                  </a:path>
                </a:pathLst>
              </a:custGeom>
              <a:solidFill>
                <a:srgbClr val="4670F8"/>
              </a:solidFill>
              <a:ln w="9525">
                <a:solidFill>
                  <a:schemeClr val="bg1"/>
                </a:solidFill>
                <a:round/>
                <a:headEnd/>
                <a:tailEnd/>
              </a:ln>
            </p:spPr>
            <p:txBody>
              <a:bodyPr/>
              <a:lstStyle/>
              <a:p>
                <a:endParaRPr lang="en-US" sz="1050"/>
              </a:p>
            </p:txBody>
          </p:sp>
          <p:sp>
            <p:nvSpPr>
              <p:cNvPr id="127" name="Freeform 126"/>
              <p:cNvSpPr>
                <a:spLocks/>
              </p:cNvSpPr>
              <p:nvPr/>
            </p:nvSpPr>
            <p:spPr bwMode="auto">
              <a:xfrm>
                <a:off x="5589346" y="5020729"/>
                <a:ext cx="1055976" cy="364353"/>
              </a:xfrm>
              <a:custGeom>
                <a:avLst/>
                <a:gdLst>
                  <a:gd name="T0" fmla="*/ 2147483646 w 896"/>
                  <a:gd name="T1" fmla="*/ 2147483646 h 336"/>
                  <a:gd name="T2" fmla="*/ 2147483646 w 896"/>
                  <a:gd name="T3" fmla="*/ 2147483646 h 336"/>
                  <a:gd name="T4" fmla="*/ 2147483646 w 896"/>
                  <a:gd name="T5" fmla="*/ 2147483646 h 336"/>
                  <a:gd name="T6" fmla="*/ 2147483646 w 896"/>
                  <a:gd name="T7" fmla="*/ 2147483646 h 336"/>
                  <a:gd name="T8" fmla="*/ 2147483646 w 896"/>
                  <a:gd name="T9" fmla="*/ 2147483646 h 336"/>
                  <a:gd name="T10" fmla="*/ 2147483646 w 896"/>
                  <a:gd name="T11" fmla="*/ 2147483646 h 336"/>
                  <a:gd name="T12" fmla="*/ 2147483646 w 896"/>
                  <a:gd name="T13" fmla="*/ 2147483646 h 336"/>
                  <a:gd name="T14" fmla="*/ 2147483646 w 896"/>
                  <a:gd name="T15" fmla="*/ 2147483646 h 336"/>
                  <a:gd name="T16" fmla="*/ 2147483646 w 896"/>
                  <a:gd name="T17" fmla="*/ 2147483646 h 336"/>
                  <a:gd name="T18" fmla="*/ 2147483646 w 896"/>
                  <a:gd name="T19" fmla="*/ 2147483646 h 336"/>
                  <a:gd name="T20" fmla="*/ 2147483646 w 896"/>
                  <a:gd name="T21" fmla="*/ 2147483646 h 336"/>
                  <a:gd name="T22" fmla="*/ 2147483646 w 896"/>
                  <a:gd name="T23" fmla="*/ 2147483646 h 336"/>
                  <a:gd name="T24" fmla="*/ 2147483646 w 896"/>
                  <a:gd name="T25" fmla="*/ 2147483646 h 336"/>
                  <a:gd name="T26" fmla="*/ 2147483646 w 896"/>
                  <a:gd name="T27" fmla="*/ 2147483646 h 336"/>
                  <a:gd name="T28" fmla="*/ 2147483646 w 896"/>
                  <a:gd name="T29" fmla="*/ 2147483646 h 336"/>
                  <a:gd name="T30" fmla="*/ 2147483646 w 896"/>
                  <a:gd name="T31" fmla="*/ 2147483646 h 336"/>
                  <a:gd name="T32" fmla="*/ 2147483646 w 896"/>
                  <a:gd name="T33" fmla="*/ 2147483646 h 336"/>
                  <a:gd name="T34" fmla="*/ 2147483646 w 896"/>
                  <a:gd name="T35" fmla="*/ 2147483646 h 336"/>
                  <a:gd name="T36" fmla="*/ 2147483646 w 896"/>
                  <a:gd name="T37" fmla="*/ 2147483646 h 336"/>
                  <a:gd name="T38" fmla="*/ 2147483646 w 896"/>
                  <a:gd name="T39" fmla="*/ 2147483646 h 336"/>
                  <a:gd name="T40" fmla="*/ 2147483646 w 896"/>
                  <a:gd name="T41" fmla="*/ 2147483646 h 336"/>
                  <a:gd name="T42" fmla="*/ 2147483646 w 896"/>
                  <a:gd name="T43" fmla="*/ 2147483646 h 336"/>
                  <a:gd name="T44" fmla="*/ 2147483646 w 896"/>
                  <a:gd name="T45" fmla="*/ 0 h 336"/>
                  <a:gd name="T46" fmla="*/ 2147483646 w 896"/>
                  <a:gd name="T47" fmla="*/ 2147483646 h 336"/>
                  <a:gd name="T48" fmla="*/ 2147483646 w 896"/>
                  <a:gd name="T49" fmla="*/ 2147483646 h 336"/>
                  <a:gd name="T50" fmla="*/ 2147483646 w 896"/>
                  <a:gd name="T51" fmla="*/ 2147483646 h 336"/>
                  <a:gd name="T52" fmla="*/ 0 w 896"/>
                  <a:gd name="T53" fmla="*/ 2147483646 h 336"/>
                  <a:gd name="T54" fmla="*/ 2147483646 w 896"/>
                  <a:gd name="T55" fmla="*/ 2147483646 h 336"/>
                  <a:gd name="T56" fmla="*/ 2147483646 w 896"/>
                  <a:gd name="T57" fmla="*/ 2147483646 h 336"/>
                  <a:gd name="T58" fmla="*/ 2147483646 w 896"/>
                  <a:gd name="T59" fmla="*/ 2147483646 h 336"/>
                  <a:gd name="T60" fmla="*/ 2147483646 w 896"/>
                  <a:gd name="T61" fmla="*/ 2147483646 h 336"/>
                  <a:gd name="T62" fmla="*/ 2147483646 w 896"/>
                  <a:gd name="T63" fmla="*/ 2147483646 h 336"/>
                  <a:gd name="T64" fmla="*/ 2147483646 w 896"/>
                  <a:gd name="T65" fmla="*/ 2147483646 h 336"/>
                  <a:gd name="T66" fmla="*/ 2147483646 w 896"/>
                  <a:gd name="T67" fmla="*/ 2147483646 h 336"/>
                  <a:gd name="T68" fmla="*/ 2147483646 w 896"/>
                  <a:gd name="T69" fmla="*/ 2147483646 h 336"/>
                  <a:gd name="T70" fmla="*/ 2147483646 w 896"/>
                  <a:gd name="T71" fmla="*/ 2147483646 h 336"/>
                  <a:gd name="T72" fmla="*/ 2147483646 w 896"/>
                  <a:gd name="T73" fmla="*/ 2147483646 h 336"/>
                  <a:gd name="T74" fmla="*/ 2147483646 w 896"/>
                  <a:gd name="T75" fmla="*/ 2147483646 h 336"/>
                  <a:gd name="T76" fmla="*/ 2147483646 w 896"/>
                  <a:gd name="T77" fmla="*/ 2147483646 h 336"/>
                  <a:gd name="T78" fmla="*/ 2147483646 w 896"/>
                  <a:gd name="T79" fmla="*/ 2147483646 h 336"/>
                  <a:gd name="T80" fmla="*/ 2147483646 w 896"/>
                  <a:gd name="T81" fmla="*/ 2147483646 h 336"/>
                  <a:gd name="T82" fmla="*/ 2147483646 w 896"/>
                  <a:gd name="T83" fmla="*/ 2147483646 h 336"/>
                  <a:gd name="T84" fmla="*/ 2147483646 w 896"/>
                  <a:gd name="T85" fmla="*/ 2147483646 h 336"/>
                  <a:gd name="T86" fmla="*/ 2147483646 w 896"/>
                  <a:gd name="T87" fmla="*/ 2147483646 h 336"/>
                  <a:gd name="T88" fmla="*/ 2147483646 w 896"/>
                  <a:gd name="T89" fmla="*/ 2147483646 h 336"/>
                  <a:gd name="T90" fmla="*/ 2147483646 w 896"/>
                  <a:gd name="T91" fmla="*/ 2147483646 h 336"/>
                  <a:gd name="T92" fmla="*/ 2147483646 w 896"/>
                  <a:gd name="T93" fmla="*/ 2147483646 h 336"/>
                  <a:gd name="T94" fmla="*/ 2147483646 w 896"/>
                  <a:gd name="T95" fmla="*/ 2147483646 h 336"/>
                  <a:gd name="T96" fmla="*/ 2147483646 w 896"/>
                  <a:gd name="T97" fmla="*/ 2147483646 h 3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6"/>
                  <a:gd name="T148" fmla="*/ 0 h 336"/>
                  <a:gd name="T149" fmla="*/ 896 w 896"/>
                  <a:gd name="T150" fmla="*/ 336 h 3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6" h="336">
                    <a:moveTo>
                      <a:pt x="840" y="336"/>
                    </a:moveTo>
                    <a:lnTo>
                      <a:pt x="896" y="272"/>
                    </a:lnTo>
                    <a:lnTo>
                      <a:pt x="880" y="224"/>
                    </a:lnTo>
                    <a:lnTo>
                      <a:pt x="840" y="216"/>
                    </a:lnTo>
                    <a:lnTo>
                      <a:pt x="848" y="128"/>
                    </a:lnTo>
                    <a:lnTo>
                      <a:pt x="800" y="120"/>
                    </a:lnTo>
                    <a:lnTo>
                      <a:pt x="760" y="56"/>
                    </a:lnTo>
                    <a:lnTo>
                      <a:pt x="744" y="16"/>
                    </a:lnTo>
                    <a:lnTo>
                      <a:pt x="696" y="56"/>
                    </a:lnTo>
                    <a:lnTo>
                      <a:pt x="624" y="40"/>
                    </a:lnTo>
                    <a:lnTo>
                      <a:pt x="584" y="8"/>
                    </a:lnTo>
                    <a:lnTo>
                      <a:pt x="568" y="48"/>
                    </a:lnTo>
                    <a:lnTo>
                      <a:pt x="536" y="8"/>
                    </a:lnTo>
                    <a:lnTo>
                      <a:pt x="504" y="16"/>
                    </a:lnTo>
                    <a:lnTo>
                      <a:pt x="496" y="48"/>
                    </a:lnTo>
                    <a:lnTo>
                      <a:pt x="456" y="56"/>
                    </a:lnTo>
                    <a:lnTo>
                      <a:pt x="424" y="80"/>
                    </a:lnTo>
                    <a:lnTo>
                      <a:pt x="424" y="32"/>
                    </a:lnTo>
                    <a:lnTo>
                      <a:pt x="392" y="24"/>
                    </a:lnTo>
                    <a:lnTo>
                      <a:pt x="360" y="56"/>
                    </a:lnTo>
                    <a:lnTo>
                      <a:pt x="280" y="24"/>
                    </a:lnTo>
                    <a:lnTo>
                      <a:pt x="208" y="48"/>
                    </a:lnTo>
                    <a:lnTo>
                      <a:pt x="176" y="0"/>
                    </a:lnTo>
                    <a:lnTo>
                      <a:pt x="136" y="8"/>
                    </a:lnTo>
                    <a:lnTo>
                      <a:pt x="120" y="40"/>
                    </a:lnTo>
                    <a:lnTo>
                      <a:pt x="32" y="48"/>
                    </a:lnTo>
                    <a:lnTo>
                      <a:pt x="0" y="88"/>
                    </a:lnTo>
                    <a:lnTo>
                      <a:pt x="24" y="136"/>
                    </a:lnTo>
                    <a:lnTo>
                      <a:pt x="24" y="192"/>
                    </a:lnTo>
                    <a:lnTo>
                      <a:pt x="64" y="208"/>
                    </a:lnTo>
                    <a:lnTo>
                      <a:pt x="128" y="200"/>
                    </a:lnTo>
                    <a:lnTo>
                      <a:pt x="160" y="216"/>
                    </a:lnTo>
                    <a:lnTo>
                      <a:pt x="176" y="272"/>
                    </a:lnTo>
                    <a:lnTo>
                      <a:pt x="256" y="248"/>
                    </a:lnTo>
                    <a:lnTo>
                      <a:pt x="296" y="192"/>
                    </a:lnTo>
                    <a:lnTo>
                      <a:pt x="312" y="224"/>
                    </a:lnTo>
                    <a:lnTo>
                      <a:pt x="392" y="208"/>
                    </a:lnTo>
                    <a:lnTo>
                      <a:pt x="400" y="248"/>
                    </a:lnTo>
                    <a:lnTo>
                      <a:pt x="480" y="240"/>
                    </a:lnTo>
                    <a:lnTo>
                      <a:pt x="512" y="256"/>
                    </a:lnTo>
                    <a:lnTo>
                      <a:pt x="536" y="224"/>
                    </a:lnTo>
                    <a:lnTo>
                      <a:pt x="576" y="264"/>
                    </a:lnTo>
                    <a:lnTo>
                      <a:pt x="616" y="224"/>
                    </a:lnTo>
                    <a:lnTo>
                      <a:pt x="624" y="272"/>
                    </a:lnTo>
                    <a:lnTo>
                      <a:pt x="656" y="256"/>
                    </a:lnTo>
                    <a:lnTo>
                      <a:pt x="704" y="288"/>
                    </a:lnTo>
                    <a:lnTo>
                      <a:pt x="760" y="328"/>
                    </a:lnTo>
                    <a:lnTo>
                      <a:pt x="776" y="312"/>
                    </a:lnTo>
                    <a:lnTo>
                      <a:pt x="840" y="336"/>
                    </a:lnTo>
                    <a:close/>
                  </a:path>
                </a:pathLst>
              </a:custGeom>
              <a:solidFill>
                <a:srgbClr val="9950A8"/>
              </a:solidFill>
              <a:ln w="9525">
                <a:solidFill>
                  <a:schemeClr val="bg1"/>
                </a:solidFill>
                <a:round/>
                <a:headEnd/>
                <a:tailEnd/>
              </a:ln>
            </p:spPr>
            <p:txBody>
              <a:bodyPr/>
              <a:lstStyle/>
              <a:p>
                <a:endParaRPr lang="en-US" sz="1050"/>
              </a:p>
            </p:txBody>
          </p:sp>
          <p:sp>
            <p:nvSpPr>
              <p:cNvPr id="128" name="Freeform 127"/>
              <p:cNvSpPr>
                <a:spLocks/>
              </p:cNvSpPr>
              <p:nvPr/>
            </p:nvSpPr>
            <p:spPr bwMode="auto">
              <a:xfrm>
                <a:off x="5598775" y="5228931"/>
                <a:ext cx="980549" cy="390378"/>
              </a:xfrm>
              <a:custGeom>
                <a:avLst/>
                <a:gdLst>
                  <a:gd name="T0" fmla="*/ 2147483646 w 832"/>
                  <a:gd name="T1" fmla="*/ 2147483646 h 360"/>
                  <a:gd name="T2" fmla="*/ 2147483646 w 832"/>
                  <a:gd name="T3" fmla="*/ 2147483646 h 360"/>
                  <a:gd name="T4" fmla="*/ 2147483646 w 832"/>
                  <a:gd name="T5" fmla="*/ 2147483646 h 360"/>
                  <a:gd name="T6" fmla="*/ 2147483646 w 832"/>
                  <a:gd name="T7" fmla="*/ 2147483646 h 360"/>
                  <a:gd name="T8" fmla="*/ 2147483646 w 832"/>
                  <a:gd name="T9" fmla="*/ 2147483646 h 360"/>
                  <a:gd name="T10" fmla="*/ 2147483646 w 832"/>
                  <a:gd name="T11" fmla="*/ 2147483646 h 360"/>
                  <a:gd name="T12" fmla="*/ 2147483646 w 832"/>
                  <a:gd name="T13" fmla="*/ 2147483646 h 360"/>
                  <a:gd name="T14" fmla="*/ 2147483646 w 832"/>
                  <a:gd name="T15" fmla="*/ 2147483646 h 360"/>
                  <a:gd name="T16" fmla="*/ 2147483646 w 832"/>
                  <a:gd name="T17" fmla="*/ 2147483646 h 360"/>
                  <a:gd name="T18" fmla="*/ 2147483646 w 832"/>
                  <a:gd name="T19" fmla="*/ 2147483646 h 360"/>
                  <a:gd name="T20" fmla="*/ 2147483646 w 832"/>
                  <a:gd name="T21" fmla="*/ 2147483646 h 360"/>
                  <a:gd name="T22" fmla="*/ 2147483646 w 832"/>
                  <a:gd name="T23" fmla="*/ 2147483646 h 360"/>
                  <a:gd name="T24" fmla="*/ 2147483646 w 832"/>
                  <a:gd name="T25" fmla="*/ 2147483646 h 360"/>
                  <a:gd name="T26" fmla="*/ 2147483646 w 832"/>
                  <a:gd name="T27" fmla="*/ 2147483646 h 360"/>
                  <a:gd name="T28" fmla="*/ 2147483646 w 832"/>
                  <a:gd name="T29" fmla="*/ 2147483646 h 360"/>
                  <a:gd name="T30" fmla="*/ 2147483646 w 832"/>
                  <a:gd name="T31" fmla="*/ 2147483646 h 360"/>
                  <a:gd name="T32" fmla="*/ 2147483646 w 832"/>
                  <a:gd name="T33" fmla="*/ 2147483646 h 360"/>
                  <a:gd name="T34" fmla="*/ 2147483646 w 832"/>
                  <a:gd name="T35" fmla="*/ 2147483646 h 360"/>
                  <a:gd name="T36" fmla="*/ 2147483646 w 832"/>
                  <a:gd name="T37" fmla="*/ 2147483646 h 360"/>
                  <a:gd name="T38" fmla="*/ 2147483646 w 832"/>
                  <a:gd name="T39" fmla="*/ 2147483646 h 360"/>
                  <a:gd name="T40" fmla="*/ 2147483646 w 832"/>
                  <a:gd name="T41" fmla="*/ 0 h 360"/>
                  <a:gd name="T42" fmla="*/ 2147483646 w 832"/>
                  <a:gd name="T43" fmla="*/ 2147483646 h 360"/>
                  <a:gd name="T44" fmla="*/ 2147483646 w 832"/>
                  <a:gd name="T45" fmla="*/ 2147483646 h 360"/>
                  <a:gd name="T46" fmla="*/ 2147483646 w 832"/>
                  <a:gd name="T47" fmla="*/ 2147483646 h 360"/>
                  <a:gd name="T48" fmla="*/ 2147483646 w 832"/>
                  <a:gd name="T49" fmla="*/ 2147483646 h 360"/>
                  <a:gd name="T50" fmla="*/ 2147483646 w 832"/>
                  <a:gd name="T51" fmla="*/ 2147483646 h 360"/>
                  <a:gd name="T52" fmla="*/ 2147483646 w 832"/>
                  <a:gd name="T53" fmla="*/ 2147483646 h 360"/>
                  <a:gd name="T54" fmla="*/ 2147483646 w 832"/>
                  <a:gd name="T55" fmla="*/ 2147483646 h 360"/>
                  <a:gd name="T56" fmla="*/ 2147483646 w 832"/>
                  <a:gd name="T57" fmla="*/ 2147483646 h 360"/>
                  <a:gd name="T58" fmla="*/ 0 w 832"/>
                  <a:gd name="T59" fmla="*/ 2147483646 h 360"/>
                  <a:gd name="T60" fmla="*/ 2147483646 w 832"/>
                  <a:gd name="T61" fmla="*/ 2147483646 h 360"/>
                  <a:gd name="T62" fmla="*/ 2147483646 w 832"/>
                  <a:gd name="T63" fmla="*/ 2147483646 h 360"/>
                  <a:gd name="T64" fmla="*/ 2147483646 w 832"/>
                  <a:gd name="T65" fmla="*/ 2147483646 h 360"/>
                  <a:gd name="T66" fmla="*/ 2147483646 w 832"/>
                  <a:gd name="T67" fmla="*/ 2147483646 h 360"/>
                  <a:gd name="T68" fmla="*/ 2147483646 w 832"/>
                  <a:gd name="T69" fmla="*/ 2147483646 h 360"/>
                  <a:gd name="T70" fmla="*/ 2147483646 w 832"/>
                  <a:gd name="T71" fmla="*/ 2147483646 h 360"/>
                  <a:gd name="T72" fmla="*/ 2147483646 w 832"/>
                  <a:gd name="T73" fmla="*/ 2147483646 h 360"/>
                  <a:gd name="T74" fmla="*/ 2147483646 w 832"/>
                  <a:gd name="T75" fmla="*/ 2147483646 h 360"/>
                  <a:gd name="T76" fmla="*/ 2147483646 w 832"/>
                  <a:gd name="T77" fmla="*/ 2147483646 h 360"/>
                  <a:gd name="T78" fmla="*/ 2147483646 w 832"/>
                  <a:gd name="T79" fmla="*/ 2147483646 h 360"/>
                  <a:gd name="T80" fmla="*/ 2147483646 w 832"/>
                  <a:gd name="T81" fmla="*/ 2147483646 h 360"/>
                  <a:gd name="T82" fmla="*/ 2147483646 w 832"/>
                  <a:gd name="T83" fmla="*/ 2147483646 h 3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2"/>
                  <a:gd name="T127" fmla="*/ 0 h 360"/>
                  <a:gd name="T128" fmla="*/ 832 w 832"/>
                  <a:gd name="T129" fmla="*/ 360 h 3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2" h="360">
                    <a:moveTo>
                      <a:pt x="472" y="320"/>
                    </a:moveTo>
                    <a:lnTo>
                      <a:pt x="496" y="288"/>
                    </a:lnTo>
                    <a:lnTo>
                      <a:pt x="576" y="288"/>
                    </a:lnTo>
                    <a:lnTo>
                      <a:pt x="640" y="248"/>
                    </a:lnTo>
                    <a:lnTo>
                      <a:pt x="696" y="248"/>
                    </a:lnTo>
                    <a:lnTo>
                      <a:pt x="728" y="216"/>
                    </a:lnTo>
                    <a:lnTo>
                      <a:pt x="816" y="208"/>
                    </a:lnTo>
                    <a:lnTo>
                      <a:pt x="832" y="144"/>
                    </a:lnTo>
                    <a:lnTo>
                      <a:pt x="768" y="120"/>
                    </a:lnTo>
                    <a:lnTo>
                      <a:pt x="752" y="136"/>
                    </a:lnTo>
                    <a:lnTo>
                      <a:pt x="648" y="64"/>
                    </a:lnTo>
                    <a:lnTo>
                      <a:pt x="616" y="80"/>
                    </a:lnTo>
                    <a:lnTo>
                      <a:pt x="608" y="32"/>
                    </a:lnTo>
                    <a:lnTo>
                      <a:pt x="568" y="72"/>
                    </a:lnTo>
                    <a:lnTo>
                      <a:pt x="528" y="32"/>
                    </a:lnTo>
                    <a:lnTo>
                      <a:pt x="504" y="64"/>
                    </a:lnTo>
                    <a:lnTo>
                      <a:pt x="472" y="48"/>
                    </a:lnTo>
                    <a:lnTo>
                      <a:pt x="392" y="56"/>
                    </a:lnTo>
                    <a:lnTo>
                      <a:pt x="384" y="16"/>
                    </a:lnTo>
                    <a:lnTo>
                      <a:pt x="304" y="32"/>
                    </a:lnTo>
                    <a:lnTo>
                      <a:pt x="288" y="0"/>
                    </a:lnTo>
                    <a:lnTo>
                      <a:pt x="248" y="56"/>
                    </a:lnTo>
                    <a:lnTo>
                      <a:pt x="168" y="80"/>
                    </a:lnTo>
                    <a:lnTo>
                      <a:pt x="152" y="24"/>
                    </a:lnTo>
                    <a:lnTo>
                      <a:pt x="120" y="8"/>
                    </a:lnTo>
                    <a:lnTo>
                      <a:pt x="40" y="8"/>
                    </a:lnTo>
                    <a:lnTo>
                      <a:pt x="56" y="48"/>
                    </a:lnTo>
                    <a:lnTo>
                      <a:pt x="96" y="80"/>
                    </a:lnTo>
                    <a:lnTo>
                      <a:pt x="32" y="120"/>
                    </a:lnTo>
                    <a:lnTo>
                      <a:pt x="0" y="160"/>
                    </a:lnTo>
                    <a:lnTo>
                      <a:pt x="16" y="200"/>
                    </a:lnTo>
                    <a:lnTo>
                      <a:pt x="48" y="192"/>
                    </a:lnTo>
                    <a:lnTo>
                      <a:pt x="112" y="272"/>
                    </a:lnTo>
                    <a:lnTo>
                      <a:pt x="64" y="360"/>
                    </a:lnTo>
                    <a:lnTo>
                      <a:pt x="160" y="352"/>
                    </a:lnTo>
                    <a:lnTo>
                      <a:pt x="224" y="328"/>
                    </a:lnTo>
                    <a:lnTo>
                      <a:pt x="248" y="336"/>
                    </a:lnTo>
                    <a:lnTo>
                      <a:pt x="288" y="304"/>
                    </a:lnTo>
                    <a:lnTo>
                      <a:pt x="328" y="288"/>
                    </a:lnTo>
                    <a:lnTo>
                      <a:pt x="384" y="288"/>
                    </a:lnTo>
                    <a:lnTo>
                      <a:pt x="440" y="296"/>
                    </a:lnTo>
                    <a:lnTo>
                      <a:pt x="472" y="320"/>
                    </a:lnTo>
                    <a:close/>
                  </a:path>
                </a:pathLst>
              </a:custGeom>
              <a:solidFill>
                <a:srgbClr val="9950A8"/>
              </a:solidFill>
              <a:ln w="9525">
                <a:solidFill>
                  <a:schemeClr val="bg1"/>
                </a:solidFill>
                <a:round/>
                <a:headEnd/>
                <a:tailEnd/>
              </a:ln>
            </p:spPr>
            <p:txBody>
              <a:bodyPr/>
              <a:lstStyle/>
              <a:p>
                <a:endParaRPr lang="en-US" sz="1050"/>
              </a:p>
            </p:txBody>
          </p:sp>
          <p:sp>
            <p:nvSpPr>
              <p:cNvPr id="129" name="Freeform 128"/>
              <p:cNvSpPr>
                <a:spLocks/>
              </p:cNvSpPr>
              <p:nvPr/>
            </p:nvSpPr>
            <p:spPr bwMode="auto">
              <a:xfrm>
                <a:off x="5391351" y="5098804"/>
                <a:ext cx="320564" cy="338328"/>
              </a:xfrm>
              <a:custGeom>
                <a:avLst/>
                <a:gdLst>
                  <a:gd name="T0" fmla="*/ 2147483646 w 272"/>
                  <a:gd name="T1" fmla="*/ 2147483646 h 312"/>
                  <a:gd name="T2" fmla="*/ 2147483646 w 272"/>
                  <a:gd name="T3" fmla="*/ 2147483646 h 312"/>
                  <a:gd name="T4" fmla="*/ 2147483646 w 272"/>
                  <a:gd name="T5" fmla="*/ 2147483646 h 312"/>
                  <a:gd name="T6" fmla="*/ 2147483646 w 272"/>
                  <a:gd name="T7" fmla="*/ 2147483646 h 312"/>
                  <a:gd name="T8" fmla="*/ 2147483646 w 272"/>
                  <a:gd name="T9" fmla="*/ 2147483646 h 312"/>
                  <a:gd name="T10" fmla="*/ 2147483646 w 272"/>
                  <a:gd name="T11" fmla="*/ 2147483646 h 312"/>
                  <a:gd name="T12" fmla="*/ 2147483646 w 272"/>
                  <a:gd name="T13" fmla="*/ 2147483646 h 312"/>
                  <a:gd name="T14" fmla="*/ 2147483646 w 272"/>
                  <a:gd name="T15" fmla="*/ 2147483646 h 312"/>
                  <a:gd name="T16" fmla="*/ 2147483646 w 272"/>
                  <a:gd name="T17" fmla="*/ 0 h 312"/>
                  <a:gd name="T18" fmla="*/ 2147483646 w 272"/>
                  <a:gd name="T19" fmla="*/ 2147483646 h 312"/>
                  <a:gd name="T20" fmla="*/ 2147483646 w 272"/>
                  <a:gd name="T21" fmla="*/ 2147483646 h 312"/>
                  <a:gd name="T22" fmla="*/ 2147483646 w 272"/>
                  <a:gd name="T23" fmla="*/ 2147483646 h 312"/>
                  <a:gd name="T24" fmla="*/ 2147483646 w 272"/>
                  <a:gd name="T25" fmla="*/ 2147483646 h 312"/>
                  <a:gd name="T26" fmla="*/ 2147483646 w 272"/>
                  <a:gd name="T27" fmla="*/ 2147483646 h 312"/>
                  <a:gd name="T28" fmla="*/ 0 w 272"/>
                  <a:gd name="T29" fmla="*/ 2147483646 h 312"/>
                  <a:gd name="T30" fmla="*/ 2147483646 w 272"/>
                  <a:gd name="T31" fmla="*/ 2147483646 h 312"/>
                  <a:gd name="T32" fmla="*/ 2147483646 w 272"/>
                  <a:gd name="T33" fmla="*/ 2147483646 h 312"/>
                  <a:gd name="T34" fmla="*/ 2147483646 w 272"/>
                  <a:gd name="T35" fmla="*/ 2147483646 h 312"/>
                  <a:gd name="T36" fmla="*/ 2147483646 w 272"/>
                  <a:gd name="T37" fmla="*/ 2147483646 h 312"/>
                  <a:gd name="T38" fmla="*/ 2147483646 w 272"/>
                  <a:gd name="T39" fmla="*/ 2147483646 h 312"/>
                  <a:gd name="T40" fmla="*/ 2147483646 w 272"/>
                  <a:gd name="T41" fmla="*/ 2147483646 h 312"/>
                  <a:gd name="T42" fmla="*/ 2147483646 w 272"/>
                  <a:gd name="T43" fmla="*/ 2147483646 h 312"/>
                  <a:gd name="T44" fmla="*/ 2147483646 w 272"/>
                  <a:gd name="T45" fmla="*/ 2147483646 h 312"/>
                  <a:gd name="T46" fmla="*/ 2147483646 w 272"/>
                  <a:gd name="T47" fmla="*/ 2147483646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2"/>
                  <a:gd name="T73" fmla="*/ 0 h 312"/>
                  <a:gd name="T74" fmla="*/ 272 w 272"/>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2" h="312">
                    <a:moveTo>
                      <a:pt x="184" y="288"/>
                    </a:moveTo>
                    <a:lnTo>
                      <a:pt x="216" y="240"/>
                    </a:lnTo>
                    <a:lnTo>
                      <a:pt x="272" y="200"/>
                    </a:lnTo>
                    <a:lnTo>
                      <a:pt x="232" y="176"/>
                    </a:lnTo>
                    <a:lnTo>
                      <a:pt x="216" y="136"/>
                    </a:lnTo>
                    <a:lnTo>
                      <a:pt x="200" y="120"/>
                    </a:lnTo>
                    <a:lnTo>
                      <a:pt x="192" y="72"/>
                    </a:lnTo>
                    <a:lnTo>
                      <a:pt x="168" y="16"/>
                    </a:lnTo>
                    <a:lnTo>
                      <a:pt x="136" y="0"/>
                    </a:lnTo>
                    <a:lnTo>
                      <a:pt x="112" y="16"/>
                    </a:lnTo>
                    <a:lnTo>
                      <a:pt x="24" y="24"/>
                    </a:lnTo>
                    <a:lnTo>
                      <a:pt x="32" y="56"/>
                    </a:lnTo>
                    <a:lnTo>
                      <a:pt x="8" y="64"/>
                    </a:lnTo>
                    <a:lnTo>
                      <a:pt x="32" y="104"/>
                    </a:lnTo>
                    <a:lnTo>
                      <a:pt x="0" y="144"/>
                    </a:lnTo>
                    <a:lnTo>
                      <a:pt x="40" y="184"/>
                    </a:lnTo>
                    <a:lnTo>
                      <a:pt x="64" y="200"/>
                    </a:lnTo>
                    <a:lnTo>
                      <a:pt x="40" y="216"/>
                    </a:lnTo>
                    <a:lnTo>
                      <a:pt x="32" y="280"/>
                    </a:lnTo>
                    <a:lnTo>
                      <a:pt x="80" y="280"/>
                    </a:lnTo>
                    <a:lnTo>
                      <a:pt x="96" y="312"/>
                    </a:lnTo>
                    <a:lnTo>
                      <a:pt x="128" y="280"/>
                    </a:lnTo>
                    <a:lnTo>
                      <a:pt x="152" y="304"/>
                    </a:lnTo>
                    <a:lnTo>
                      <a:pt x="184" y="288"/>
                    </a:lnTo>
                    <a:close/>
                  </a:path>
                </a:pathLst>
              </a:custGeom>
              <a:solidFill>
                <a:srgbClr val="FFC000"/>
              </a:solidFill>
              <a:ln w="9525">
                <a:solidFill>
                  <a:schemeClr val="bg1"/>
                </a:solidFill>
                <a:round/>
                <a:headEnd/>
                <a:tailEnd/>
              </a:ln>
            </p:spPr>
            <p:txBody>
              <a:bodyPr/>
              <a:lstStyle/>
              <a:p>
                <a:endParaRPr lang="en-US" sz="1050"/>
              </a:p>
            </p:txBody>
          </p:sp>
          <p:sp>
            <p:nvSpPr>
              <p:cNvPr id="130" name="Freeform 129"/>
              <p:cNvSpPr>
                <a:spLocks/>
              </p:cNvSpPr>
              <p:nvPr/>
            </p:nvSpPr>
            <p:spPr bwMode="auto">
              <a:xfrm>
                <a:off x="4948218" y="4569625"/>
                <a:ext cx="480846" cy="720031"/>
              </a:xfrm>
              <a:custGeom>
                <a:avLst/>
                <a:gdLst>
                  <a:gd name="T0" fmla="*/ 2147483646 w 408"/>
                  <a:gd name="T1" fmla="*/ 2147483646 h 664"/>
                  <a:gd name="T2" fmla="*/ 2147483646 w 408"/>
                  <a:gd name="T3" fmla="*/ 2147483646 h 664"/>
                  <a:gd name="T4" fmla="*/ 2147483646 w 408"/>
                  <a:gd name="T5" fmla="*/ 2147483646 h 664"/>
                  <a:gd name="T6" fmla="*/ 2147483646 w 408"/>
                  <a:gd name="T7" fmla="*/ 2147483646 h 664"/>
                  <a:gd name="T8" fmla="*/ 2147483646 w 408"/>
                  <a:gd name="T9" fmla="*/ 2147483646 h 664"/>
                  <a:gd name="T10" fmla="*/ 2147483646 w 408"/>
                  <a:gd name="T11" fmla="*/ 2147483646 h 664"/>
                  <a:gd name="T12" fmla="*/ 2147483646 w 408"/>
                  <a:gd name="T13" fmla="*/ 2147483646 h 664"/>
                  <a:gd name="T14" fmla="*/ 2147483646 w 408"/>
                  <a:gd name="T15" fmla="*/ 2147483646 h 664"/>
                  <a:gd name="T16" fmla="*/ 2147483646 w 408"/>
                  <a:gd name="T17" fmla="*/ 2147483646 h 664"/>
                  <a:gd name="T18" fmla="*/ 2147483646 w 408"/>
                  <a:gd name="T19" fmla="*/ 2147483646 h 664"/>
                  <a:gd name="T20" fmla="*/ 2147483646 w 408"/>
                  <a:gd name="T21" fmla="*/ 2147483646 h 664"/>
                  <a:gd name="T22" fmla="*/ 2147483646 w 408"/>
                  <a:gd name="T23" fmla="*/ 2147483646 h 664"/>
                  <a:gd name="T24" fmla="*/ 2147483646 w 408"/>
                  <a:gd name="T25" fmla="*/ 2147483646 h 664"/>
                  <a:gd name="T26" fmla="*/ 2147483646 w 408"/>
                  <a:gd name="T27" fmla="*/ 2147483646 h 664"/>
                  <a:gd name="T28" fmla="*/ 2147483646 w 408"/>
                  <a:gd name="T29" fmla="*/ 2147483646 h 664"/>
                  <a:gd name="T30" fmla="*/ 2147483646 w 408"/>
                  <a:gd name="T31" fmla="*/ 0 h 664"/>
                  <a:gd name="T32" fmla="*/ 2147483646 w 408"/>
                  <a:gd name="T33" fmla="*/ 2147483646 h 664"/>
                  <a:gd name="T34" fmla="*/ 2147483646 w 408"/>
                  <a:gd name="T35" fmla="*/ 2147483646 h 664"/>
                  <a:gd name="T36" fmla="*/ 2147483646 w 408"/>
                  <a:gd name="T37" fmla="*/ 2147483646 h 664"/>
                  <a:gd name="T38" fmla="*/ 2147483646 w 408"/>
                  <a:gd name="T39" fmla="*/ 2147483646 h 664"/>
                  <a:gd name="T40" fmla="*/ 2147483646 w 408"/>
                  <a:gd name="T41" fmla="*/ 2147483646 h 664"/>
                  <a:gd name="T42" fmla="*/ 2147483646 w 408"/>
                  <a:gd name="T43" fmla="*/ 2147483646 h 664"/>
                  <a:gd name="T44" fmla="*/ 0 w 408"/>
                  <a:gd name="T45" fmla="*/ 2147483646 h 664"/>
                  <a:gd name="T46" fmla="*/ 2147483646 w 408"/>
                  <a:gd name="T47" fmla="*/ 2147483646 h 664"/>
                  <a:gd name="T48" fmla="*/ 2147483646 w 408"/>
                  <a:gd name="T49" fmla="*/ 2147483646 h 664"/>
                  <a:gd name="T50" fmla="*/ 2147483646 w 408"/>
                  <a:gd name="T51" fmla="*/ 2147483646 h 664"/>
                  <a:gd name="T52" fmla="*/ 2147483646 w 408"/>
                  <a:gd name="T53" fmla="*/ 2147483646 h 664"/>
                  <a:gd name="T54" fmla="*/ 2147483646 w 408"/>
                  <a:gd name="T55" fmla="*/ 2147483646 h 664"/>
                  <a:gd name="T56" fmla="*/ 2147483646 w 408"/>
                  <a:gd name="T57" fmla="*/ 2147483646 h 664"/>
                  <a:gd name="T58" fmla="*/ 2147483646 w 408"/>
                  <a:gd name="T59" fmla="*/ 2147483646 h 664"/>
                  <a:gd name="T60" fmla="*/ 2147483646 w 408"/>
                  <a:gd name="T61" fmla="*/ 2147483646 h 664"/>
                  <a:gd name="T62" fmla="*/ 2147483646 w 408"/>
                  <a:gd name="T63" fmla="*/ 2147483646 h 664"/>
                  <a:gd name="T64" fmla="*/ 2147483646 w 408"/>
                  <a:gd name="T65" fmla="*/ 2147483646 h 664"/>
                  <a:gd name="T66" fmla="*/ 2147483646 w 408"/>
                  <a:gd name="T67" fmla="*/ 2147483646 h 664"/>
                  <a:gd name="T68" fmla="*/ 2147483646 w 408"/>
                  <a:gd name="T69" fmla="*/ 2147483646 h 664"/>
                  <a:gd name="T70" fmla="*/ 2147483646 w 408"/>
                  <a:gd name="T71" fmla="*/ 2147483646 h 664"/>
                  <a:gd name="T72" fmla="*/ 2147483646 w 408"/>
                  <a:gd name="T73" fmla="*/ 2147483646 h 664"/>
                  <a:gd name="T74" fmla="*/ 2147483646 w 408"/>
                  <a:gd name="T75" fmla="*/ 2147483646 h 664"/>
                  <a:gd name="T76" fmla="*/ 2147483646 w 408"/>
                  <a:gd name="T77" fmla="*/ 2147483646 h 664"/>
                  <a:gd name="T78" fmla="*/ 2147483646 w 408"/>
                  <a:gd name="T79" fmla="*/ 2147483646 h 664"/>
                  <a:gd name="T80" fmla="*/ 2147483646 w 408"/>
                  <a:gd name="T81" fmla="*/ 2147483646 h 6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664"/>
                  <a:gd name="T125" fmla="*/ 408 w 408"/>
                  <a:gd name="T126" fmla="*/ 664 h 66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664">
                    <a:moveTo>
                      <a:pt x="376" y="632"/>
                    </a:moveTo>
                    <a:lnTo>
                      <a:pt x="408" y="592"/>
                    </a:lnTo>
                    <a:lnTo>
                      <a:pt x="384" y="552"/>
                    </a:lnTo>
                    <a:lnTo>
                      <a:pt x="408" y="544"/>
                    </a:lnTo>
                    <a:lnTo>
                      <a:pt x="400" y="504"/>
                    </a:lnTo>
                    <a:lnTo>
                      <a:pt x="400" y="480"/>
                    </a:lnTo>
                    <a:lnTo>
                      <a:pt x="368" y="440"/>
                    </a:lnTo>
                    <a:lnTo>
                      <a:pt x="336" y="440"/>
                    </a:lnTo>
                    <a:lnTo>
                      <a:pt x="336" y="344"/>
                    </a:lnTo>
                    <a:lnTo>
                      <a:pt x="280" y="328"/>
                    </a:lnTo>
                    <a:lnTo>
                      <a:pt x="288" y="264"/>
                    </a:lnTo>
                    <a:lnTo>
                      <a:pt x="208" y="184"/>
                    </a:lnTo>
                    <a:lnTo>
                      <a:pt x="240" y="136"/>
                    </a:lnTo>
                    <a:lnTo>
                      <a:pt x="176" y="80"/>
                    </a:lnTo>
                    <a:lnTo>
                      <a:pt x="184" y="24"/>
                    </a:lnTo>
                    <a:lnTo>
                      <a:pt x="144" y="0"/>
                    </a:lnTo>
                    <a:lnTo>
                      <a:pt x="104" y="48"/>
                    </a:lnTo>
                    <a:lnTo>
                      <a:pt x="96" y="128"/>
                    </a:lnTo>
                    <a:lnTo>
                      <a:pt x="64" y="160"/>
                    </a:lnTo>
                    <a:lnTo>
                      <a:pt x="72" y="200"/>
                    </a:lnTo>
                    <a:lnTo>
                      <a:pt x="32" y="224"/>
                    </a:lnTo>
                    <a:lnTo>
                      <a:pt x="16" y="200"/>
                    </a:lnTo>
                    <a:lnTo>
                      <a:pt x="0" y="264"/>
                    </a:lnTo>
                    <a:lnTo>
                      <a:pt x="64" y="368"/>
                    </a:lnTo>
                    <a:lnTo>
                      <a:pt x="48" y="448"/>
                    </a:lnTo>
                    <a:lnTo>
                      <a:pt x="72" y="472"/>
                    </a:lnTo>
                    <a:lnTo>
                      <a:pt x="56" y="512"/>
                    </a:lnTo>
                    <a:lnTo>
                      <a:pt x="80" y="560"/>
                    </a:lnTo>
                    <a:lnTo>
                      <a:pt x="112" y="568"/>
                    </a:lnTo>
                    <a:lnTo>
                      <a:pt x="88" y="600"/>
                    </a:lnTo>
                    <a:lnTo>
                      <a:pt x="96" y="640"/>
                    </a:lnTo>
                    <a:lnTo>
                      <a:pt x="64" y="664"/>
                    </a:lnTo>
                    <a:lnTo>
                      <a:pt x="104" y="664"/>
                    </a:lnTo>
                    <a:lnTo>
                      <a:pt x="168" y="632"/>
                    </a:lnTo>
                    <a:lnTo>
                      <a:pt x="200" y="656"/>
                    </a:lnTo>
                    <a:lnTo>
                      <a:pt x="200" y="624"/>
                    </a:lnTo>
                    <a:lnTo>
                      <a:pt x="240" y="632"/>
                    </a:lnTo>
                    <a:lnTo>
                      <a:pt x="280" y="600"/>
                    </a:lnTo>
                    <a:lnTo>
                      <a:pt x="320" y="600"/>
                    </a:lnTo>
                    <a:lnTo>
                      <a:pt x="344" y="632"/>
                    </a:lnTo>
                    <a:lnTo>
                      <a:pt x="376" y="632"/>
                    </a:lnTo>
                    <a:close/>
                  </a:path>
                </a:pathLst>
              </a:custGeom>
              <a:solidFill>
                <a:srgbClr val="C6CFEB"/>
              </a:solidFill>
              <a:ln w="9525">
                <a:solidFill>
                  <a:schemeClr val="bg1"/>
                </a:solidFill>
                <a:round/>
                <a:headEnd/>
                <a:tailEnd/>
              </a:ln>
            </p:spPr>
            <p:txBody>
              <a:bodyPr/>
              <a:lstStyle/>
              <a:p>
                <a:endParaRPr lang="en-US" sz="1050"/>
              </a:p>
            </p:txBody>
          </p:sp>
          <p:sp>
            <p:nvSpPr>
              <p:cNvPr id="131" name="Freeform 130"/>
              <p:cNvSpPr>
                <a:spLocks/>
              </p:cNvSpPr>
              <p:nvPr/>
            </p:nvSpPr>
            <p:spPr bwMode="auto">
              <a:xfrm>
                <a:off x="4589941" y="4456849"/>
                <a:ext cx="490275" cy="893533"/>
              </a:xfrm>
              <a:custGeom>
                <a:avLst/>
                <a:gdLst>
                  <a:gd name="T0" fmla="*/ 2147483646 w 416"/>
                  <a:gd name="T1" fmla="*/ 2147483646 h 824"/>
                  <a:gd name="T2" fmla="*/ 2147483646 w 416"/>
                  <a:gd name="T3" fmla="*/ 2147483646 h 824"/>
                  <a:gd name="T4" fmla="*/ 2147483646 w 416"/>
                  <a:gd name="T5" fmla="*/ 2147483646 h 824"/>
                  <a:gd name="T6" fmla="*/ 2147483646 w 416"/>
                  <a:gd name="T7" fmla="*/ 2147483646 h 824"/>
                  <a:gd name="T8" fmla="*/ 2147483646 w 416"/>
                  <a:gd name="T9" fmla="*/ 2147483646 h 824"/>
                  <a:gd name="T10" fmla="*/ 2147483646 w 416"/>
                  <a:gd name="T11" fmla="*/ 2147483646 h 824"/>
                  <a:gd name="T12" fmla="*/ 2147483646 w 416"/>
                  <a:gd name="T13" fmla="*/ 2147483646 h 824"/>
                  <a:gd name="T14" fmla="*/ 2147483646 w 416"/>
                  <a:gd name="T15" fmla="*/ 2147483646 h 824"/>
                  <a:gd name="T16" fmla="*/ 2147483646 w 416"/>
                  <a:gd name="T17" fmla="*/ 2147483646 h 824"/>
                  <a:gd name="T18" fmla="*/ 2147483646 w 416"/>
                  <a:gd name="T19" fmla="*/ 2147483646 h 824"/>
                  <a:gd name="T20" fmla="*/ 2147483646 w 416"/>
                  <a:gd name="T21" fmla="*/ 2147483646 h 824"/>
                  <a:gd name="T22" fmla="*/ 2147483646 w 416"/>
                  <a:gd name="T23" fmla="*/ 2147483646 h 824"/>
                  <a:gd name="T24" fmla="*/ 2147483646 w 416"/>
                  <a:gd name="T25" fmla="*/ 2147483646 h 824"/>
                  <a:gd name="T26" fmla="*/ 2147483646 w 416"/>
                  <a:gd name="T27" fmla="*/ 2147483646 h 824"/>
                  <a:gd name="T28" fmla="*/ 2147483646 w 416"/>
                  <a:gd name="T29" fmla="*/ 2147483646 h 824"/>
                  <a:gd name="T30" fmla="*/ 2147483646 w 416"/>
                  <a:gd name="T31" fmla="*/ 2147483646 h 824"/>
                  <a:gd name="T32" fmla="*/ 2147483646 w 416"/>
                  <a:gd name="T33" fmla="*/ 2147483646 h 824"/>
                  <a:gd name="T34" fmla="*/ 2147483646 w 416"/>
                  <a:gd name="T35" fmla="*/ 2147483646 h 824"/>
                  <a:gd name="T36" fmla="*/ 2147483646 w 416"/>
                  <a:gd name="T37" fmla="*/ 2147483646 h 824"/>
                  <a:gd name="T38" fmla="*/ 2147483646 w 416"/>
                  <a:gd name="T39" fmla="*/ 0 h 824"/>
                  <a:gd name="T40" fmla="*/ 2147483646 w 416"/>
                  <a:gd name="T41" fmla="*/ 2147483646 h 824"/>
                  <a:gd name="T42" fmla="*/ 2147483646 w 416"/>
                  <a:gd name="T43" fmla="*/ 2147483646 h 824"/>
                  <a:gd name="T44" fmla="*/ 2147483646 w 416"/>
                  <a:gd name="T45" fmla="*/ 2147483646 h 824"/>
                  <a:gd name="T46" fmla="*/ 2147483646 w 416"/>
                  <a:gd name="T47" fmla="*/ 2147483646 h 824"/>
                  <a:gd name="T48" fmla="*/ 2147483646 w 416"/>
                  <a:gd name="T49" fmla="*/ 2147483646 h 824"/>
                  <a:gd name="T50" fmla="*/ 2147483646 w 416"/>
                  <a:gd name="T51" fmla="*/ 2147483646 h 824"/>
                  <a:gd name="T52" fmla="*/ 2147483646 w 416"/>
                  <a:gd name="T53" fmla="*/ 2147483646 h 824"/>
                  <a:gd name="T54" fmla="*/ 0 w 416"/>
                  <a:gd name="T55" fmla="*/ 2147483646 h 824"/>
                  <a:gd name="T56" fmla="*/ 2147483646 w 416"/>
                  <a:gd name="T57" fmla="*/ 2147483646 h 824"/>
                  <a:gd name="T58" fmla="*/ 2147483646 w 416"/>
                  <a:gd name="T59" fmla="*/ 2147483646 h 824"/>
                  <a:gd name="T60" fmla="*/ 2147483646 w 416"/>
                  <a:gd name="T61" fmla="*/ 2147483646 h 824"/>
                  <a:gd name="T62" fmla="*/ 2147483646 w 416"/>
                  <a:gd name="T63" fmla="*/ 2147483646 h 824"/>
                  <a:gd name="T64" fmla="*/ 2147483646 w 416"/>
                  <a:gd name="T65" fmla="*/ 2147483646 h 824"/>
                  <a:gd name="T66" fmla="*/ 2147483646 w 416"/>
                  <a:gd name="T67" fmla="*/ 2147483646 h 824"/>
                  <a:gd name="T68" fmla="*/ 2147483646 w 416"/>
                  <a:gd name="T69" fmla="*/ 2147483646 h 824"/>
                  <a:gd name="T70" fmla="*/ 2147483646 w 416"/>
                  <a:gd name="T71" fmla="*/ 2147483646 h 824"/>
                  <a:gd name="T72" fmla="*/ 2147483646 w 416"/>
                  <a:gd name="T73" fmla="*/ 2147483646 h 824"/>
                  <a:gd name="T74" fmla="*/ 2147483646 w 416"/>
                  <a:gd name="T75" fmla="*/ 2147483646 h 824"/>
                  <a:gd name="T76" fmla="*/ 2147483646 w 416"/>
                  <a:gd name="T77" fmla="*/ 2147483646 h 824"/>
                  <a:gd name="T78" fmla="*/ 2147483646 w 416"/>
                  <a:gd name="T79" fmla="*/ 2147483646 h 824"/>
                  <a:gd name="T80" fmla="*/ 2147483646 w 416"/>
                  <a:gd name="T81" fmla="*/ 2147483646 h 8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6"/>
                  <a:gd name="T124" fmla="*/ 0 h 824"/>
                  <a:gd name="T125" fmla="*/ 416 w 416"/>
                  <a:gd name="T126" fmla="*/ 824 h 8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6" h="824">
                    <a:moveTo>
                      <a:pt x="368" y="768"/>
                    </a:moveTo>
                    <a:lnTo>
                      <a:pt x="400" y="744"/>
                    </a:lnTo>
                    <a:lnTo>
                      <a:pt x="392" y="704"/>
                    </a:lnTo>
                    <a:lnTo>
                      <a:pt x="416" y="672"/>
                    </a:lnTo>
                    <a:lnTo>
                      <a:pt x="384" y="664"/>
                    </a:lnTo>
                    <a:lnTo>
                      <a:pt x="360" y="616"/>
                    </a:lnTo>
                    <a:lnTo>
                      <a:pt x="376" y="576"/>
                    </a:lnTo>
                    <a:lnTo>
                      <a:pt x="352" y="552"/>
                    </a:lnTo>
                    <a:lnTo>
                      <a:pt x="368" y="472"/>
                    </a:lnTo>
                    <a:lnTo>
                      <a:pt x="304" y="368"/>
                    </a:lnTo>
                    <a:lnTo>
                      <a:pt x="320" y="304"/>
                    </a:lnTo>
                    <a:lnTo>
                      <a:pt x="336" y="328"/>
                    </a:lnTo>
                    <a:lnTo>
                      <a:pt x="376" y="304"/>
                    </a:lnTo>
                    <a:lnTo>
                      <a:pt x="368" y="264"/>
                    </a:lnTo>
                    <a:lnTo>
                      <a:pt x="400" y="232"/>
                    </a:lnTo>
                    <a:lnTo>
                      <a:pt x="408" y="152"/>
                    </a:lnTo>
                    <a:lnTo>
                      <a:pt x="360" y="112"/>
                    </a:lnTo>
                    <a:lnTo>
                      <a:pt x="368" y="72"/>
                    </a:lnTo>
                    <a:lnTo>
                      <a:pt x="272" y="16"/>
                    </a:lnTo>
                    <a:lnTo>
                      <a:pt x="176" y="0"/>
                    </a:lnTo>
                    <a:lnTo>
                      <a:pt x="128" y="8"/>
                    </a:lnTo>
                    <a:lnTo>
                      <a:pt x="48" y="32"/>
                    </a:lnTo>
                    <a:lnTo>
                      <a:pt x="40" y="176"/>
                    </a:lnTo>
                    <a:lnTo>
                      <a:pt x="16" y="240"/>
                    </a:lnTo>
                    <a:lnTo>
                      <a:pt x="48" y="320"/>
                    </a:lnTo>
                    <a:lnTo>
                      <a:pt x="16" y="376"/>
                    </a:lnTo>
                    <a:lnTo>
                      <a:pt x="16" y="480"/>
                    </a:lnTo>
                    <a:lnTo>
                      <a:pt x="0" y="512"/>
                    </a:lnTo>
                    <a:lnTo>
                      <a:pt x="8" y="536"/>
                    </a:lnTo>
                    <a:lnTo>
                      <a:pt x="48" y="480"/>
                    </a:lnTo>
                    <a:lnTo>
                      <a:pt x="72" y="504"/>
                    </a:lnTo>
                    <a:lnTo>
                      <a:pt x="64" y="576"/>
                    </a:lnTo>
                    <a:lnTo>
                      <a:pt x="88" y="608"/>
                    </a:lnTo>
                    <a:lnTo>
                      <a:pt x="136" y="600"/>
                    </a:lnTo>
                    <a:lnTo>
                      <a:pt x="120" y="632"/>
                    </a:lnTo>
                    <a:lnTo>
                      <a:pt x="152" y="744"/>
                    </a:lnTo>
                    <a:lnTo>
                      <a:pt x="128" y="784"/>
                    </a:lnTo>
                    <a:lnTo>
                      <a:pt x="144" y="824"/>
                    </a:lnTo>
                    <a:lnTo>
                      <a:pt x="208" y="816"/>
                    </a:lnTo>
                    <a:lnTo>
                      <a:pt x="320" y="800"/>
                    </a:lnTo>
                    <a:lnTo>
                      <a:pt x="368" y="768"/>
                    </a:lnTo>
                    <a:close/>
                  </a:path>
                </a:pathLst>
              </a:custGeom>
              <a:solidFill>
                <a:srgbClr val="C6CFEB"/>
              </a:solidFill>
              <a:ln w="9525">
                <a:solidFill>
                  <a:schemeClr val="bg1"/>
                </a:solidFill>
                <a:round/>
                <a:headEnd/>
                <a:tailEnd/>
              </a:ln>
            </p:spPr>
            <p:txBody>
              <a:bodyPr/>
              <a:lstStyle/>
              <a:p>
                <a:endParaRPr lang="en-US" sz="1050"/>
              </a:p>
            </p:txBody>
          </p:sp>
          <p:sp>
            <p:nvSpPr>
              <p:cNvPr id="132" name="Freeform 131"/>
              <p:cNvSpPr>
                <a:spLocks/>
              </p:cNvSpPr>
              <p:nvPr/>
            </p:nvSpPr>
            <p:spPr bwMode="auto">
              <a:xfrm>
                <a:off x="5136785" y="5220256"/>
                <a:ext cx="593987" cy="659306"/>
              </a:xfrm>
              <a:custGeom>
                <a:avLst/>
                <a:gdLst>
                  <a:gd name="T0" fmla="*/ 2147483646 w 504"/>
                  <a:gd name="T1" fmla="*/ 2147483646 h 608"/>
                  <a:gd name="T2" fmla="*/ 2147483646 w 504"/>
                  <a:gd name="T3" fmla="*/ 2147483646 h 608"/>
                  <a:gd name="T4" fmla="*/ 2147483646 w 504"/>
                  <a:gd name="T5" fmla="*/ 2147483646 h 608"/>
                  <a:gd name="T6" fmla="*/ 2147483646 w 504"/>
                  <a:gd name="T7" fmla="*/ 2147483646 h 608"/>
                  <a:gd name="T8" fmla="*/ 2147483646 w 504"/>
                  <a:gd name="T9" fmla="*/ 2147483646 h 608"/>
                  <a:gd name="T10" fmla="*/ 2147483646 w 504"/>
                  <a:gd name="T11" fmla="*/ 2147483646 h 608"/>
                  <a:gd name="T12" fmla="*/ 2147483646 w 504"/>
                  <a:gd name="T13" fmla="*/ 2147483646 h 608"/>
                  <a:gd name="T14" fmla="*/ 2147483646 w 504"/>
                  <a:gd name="T15" fmla="*/ 2147483646 h 608"/>
                  <a:gd name="T16" fmla="*/ 2147483646 w 504"/>
                  <a:gd name="T17" fmla="*/ 2147483646 h 608"/>
                  <a:gd name="T18" fmla="*/ 2147483646 w 504"/>
                  <a:gd name="T19" fmla="*/ 2147483646 h 608"/>
                  <a:gd name="T20" fmla="*/ 2147483646 w 504"/>
                  <a:gd name="T21" fmla="*/ 2147483646 h 608"/>
                  <a:gd name="T22" fmla="*/ 2147483646 w 504"/>
                  <a:gd name="T23" fmla="*/ 2147483646 h 608"/>
                  <a:gd name="T24" fmla="*/ 2147483646 w 504"/>
                  <a:gd name="T25" fmla="*/ 2147483646 h 608"/>
                  <a:gd name="T26" fmla="*/ 2147483646 w 504"/>
                  <a:gd name="T27" fmla="*/ 2147483646 h 608"/>
                  <a:gd name="T28" fmla="*/ 2147483646 w 504"/>
                  <a:gd name="T29" fmla="*/ 2147483646 h 608"/>
                  <a:gd name="T30" fmla="*/ 2147483646 w 504"/>
                  <a:gd name="T31" fmla="*/ 0 h 608"/>
                  <a:gd name="T32" fmla="*/ 2147483646 w 504"/>
                  <a:gd name="T33" fmla="*/ 0 h 608"/>
                  <a:gd name="T34" fmla="*/ 2147483646 w 504"/>
                  <a:gd name="T35" fmla="*/ 2147483646 h 608"/>
                  <a:gd name="T36" fmla="*/ 2147483646 w 504"/>
                  <a:gd name="T37" fmla="*/ 2147483646 h 608"/>
                  <a:gd name="T38" fmla="*/ 2147483646 w 504"/>
                  <a:gd name="T39" fmla="*/ 2147483646 h 608"/>
                  <a:gd name="T40" fmla="*/ 2147483646 w 504"/>
                  <a:gd name="T41" fmla="*/ 2147483646 h 608"/>
                  <a:gd name="T42" fmla="*/ 0 w 504"/>
                  <a:gd name="T43" fmla="*/ 2147483646 h 608"/>
                  <a:gd name="T44" fmla="*/ 2147483646 w 504"/>
                  <a:gd name="T45" fmla="*/ 2147483646 h 608"/>
                  <a:gd name="T46" fmla="*/ 2147483646 w 504"/>
                  <a:gd name="T47" fmla="*/ 2147483646 h 608"/>
                  <a:gd name="T48" fmla="*/ 2147483646 w 504"/>
                  <a:gd name="T49" fmla="*/ 2147483646 h 608"/>
                  <a:gd name="T50" fmla="*/ 2147483646 w 504"/>
                  <a:gd name="T51" fmla="*/ 2147483646 h 608"/>
                  <a:gd name="T52" fmla="*/ 2147483646 w 504"/>
                  <a:gd name="T53" fmla="*/ 2147483646 h 608"/>
                  <a:gd name="T54" fmla="*/ 2147483646 w 504"/>
                  <a:gd name="T55" fmla="*/ 2147483646 h 608"/>
                  <a:gd name="T56" fmla="*/ 2147483646 w 504"/>
                  <a:gd name="T57" fmla="*/ 2147483646 h 608"/>
                  <a:gd name="T58" fmla="*/ 2147483646 w 504"/>
                  <a:gd name="T59" fmla="*/ 2147483646 h 608"/>
                  <a:gd name="T60" fmla="*/ 2147483646 w 504"/>
                  <a:gd name="T61" fmla="*/ 2147483646 h 608"/>
                  <a:gd name="T62" fmla="*/ 2147483646 w 504"/>
                  <a:gd name="T63" fmla="*/ 2147483646 h 608"/>
                  <a:gd name="T64" fmla="*/ 2147483646 w 504"/>
                  <a:gd name="T65" fmla="*/ 2147483646 h 608"/>
                  <a:gd name="T66" fmla="*/ 2147483646 w 504"/>
                  <a:gd name="T67" fmla="*/ 2147483646 h 608"/>
                  <a:gd name="T68" fmla="*/ 2147483646 w 504"/>
                  <a:gd name="T69" fmla="*/ 2147483646 h 608"/>
                  <a:gd name="T70" fmla="*/ 2147483646 w 504"/>
                  <a:gd name="T71" fmla="*/ 2147483646 h 608"/>
                  <a:gd name="T72" fmla="*/ 2147483646 w 504"/>
                  <a:gd name="T73" fmla="*/ 2147483646 h 608"/>
                  <a:gd name="T74" fmla="*/ 2147483646 w 504"/>
                  <a:gd name="T75" fmla="*/ 2147483646 h 608"/>
                  <a:gd name="T76" fmla="*/ 2147483646 w 504"/>
                  <a:gd name="T77" fmla="*/ 2147483646 h 608"/>
                  <a:gd name="T78" fmla="*/ 2147483646 w 504"/>
                  <a:gd name="T79" fmla="*/ 2147483646 h 608"/>
                  <a:gd name="T80" fmla="*/ 2147483646 w 504"/>
                  <a:gd name="T81" fmla="*/ 2147483646 h 6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4"/>
                  <a:gd name="T124" fmla="*/ 0 h 608"/>
                  <a:gd name="T125" fmla="*/ 504 w 504"/>
                  <a:gd name="T126" fmla="*/ 608 h 6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4" h="608">
                    <a:moveTo>
                      <a:pt x="456" y="368"/>
                    </a:moveTo>
                    <a:lnTo>
                      <a:pt x="504" y="280"/>
                    </a:lnTo>
                    <a:lnTo>
                      <a:pt x="440" y="200"/>
                    </a:lnTo>
                    <a:lnTo>
                      <a:pt x="408" y="208"/>
                    </a:lnTo>
                    <a:lnTo>
                      <a:pt x="392" y="168"/>
                    </a:lnTo>
                    <a:lnTo>
                      <a:pt x="368" y="184"/>
                    </a:lnTo>
                    <a:lnTo>
                      <a:pt x="344" y="168"/>
                    </a:lnTo>
                    <a:lnTo>
                      <a:pt x="312" y="192"/>
                    </a:lnTo>
                    <a:lnTo>
                      <a:pt x="296" y="160"/>
                    </a:lnTo>
                    <a:lnTo>
                      <a:pt x="248" y="168"/>
                    </a:lnTo>
                    <a:lnTo>
                      <a:pt x="248" y="96"/>
                    </a:lnTo>
                    <a:lnTo>
                      <a:pt x="280" y="80"/>
                    </a:lnTo>
                    <a:lnTo>
                      <a:pt x="240" y="48"/>
                    </a:lnTo>
                    <a:lnTo>
                      <a:pt x="216" y="32"/>
                    </a:lnTo>
                    <a:lnTo>
                      <a:pt x="184" y="32"/>
                    </a:lnTo>
                    <a:lnTo>
                      <a:pt x="160" y="0"/>
                    </a:lnTo>
                    <a:lnTo>
                      <a:pt x="120" y="0"/>
                    </a:lnTo>
                    <a:lnTo>
                      <a:pt x="80" y="32"/>
                    </a:lnTo>
                    <a:lnTo>
                      <a:pt x="40" y="24"/>
                    </a:lnTo>
                    <a:lnTo>
                      <a:pt x="40" y="56"/>
                    </a:lnTo>
                    <a:lnTo>
                      <a:pt x="32" y="88"/>
                    </a:lnTo>
                    <a:lnTo>
                      <a:pt x="0" y="120"/>
                    </a:lnTo>
                    <a:lnTo>
                      <a:pt x="40" y="160"/>
                    </a:lnTo>
                    <a:lnTo>
                      <a:pt x="96" y="160"/>
                    </a:lnTo>
                    <a:lnTo>
                      <a:pt x="136" y="272"/>
                    </a:lnTo>
                    <a:lnTo>
                      <a:pt x="104" y="288"/>
                    </a:lnTo>
                    <a:lnTo>
                      <a:pt x="104" y="312"/>
                    </a:lnTo>
                    <a:lnTo>
                      <a:pt x="72" y="328"/>
                    </a:lnTo>
                    <a:lnTo>
                      <a:pt x="80" y="400"/>
                    </a:lnTo>
                    <a:lnTo>
                      <a:pt x="104" y="448"/>
                    </a:lnTo>
                    <a:lnTo>
                      <a:pt x="96" y="488"/>
                    </a:lnTo>
                    <a:lnTo>
                      <a:pt x="120" y="520"/>
                    </a:lnTo>
                    <a:lnTo>
                      <a:pt x="120" y="608"/>
                    </a:lnTo>
                    <a:lnTo>
                      <a:pt x="160" y="600"/>
                    </a:lnTo>
                    <a:lnTo>
                      <a:pt x="184" y="560"/>
                    </a:lnTo>
                    <a:lnTo>
                      <a:pt x="208" y="560"/>
                    </a:lnTo>
                    <a:lnTo>
                      <a:pt x="272" y="480"/>
                    </a:lnTo>
                    <a:lnTo>
                      <a:pt x="336" y="408"/>
                    </a:lnTo>
                    <a:lnTo>
                      <a:pt x="384" y="400"/>
                    </a:lnTo>
                    <a:lnTo>
                      <a:pt x="416" y="368"/>
                    </a:lnTo>
                    <a:lnTo>
                      <a:pt x="456" y="368"/>
                    </a:lnTo>
                    <a:close/>
                  </a:path>
                </a:pathLst>
              </a:custGeom>
              <a:solidFill>
                <a:srgbClr val="C6CFEB"/>
              </a:solidFill>
              <a:ln w="9525">
                <a:solidFill>
                  <a:schemeClr val="bg1"/>
                </a:solidFill>
                <a:round/>
                <a:headEnd/>
                <a:tailEnd/>
              </a:ln>
            </p:spPr>
            <p:txBody>
              <a:bodyPr/>
              <a:lstStyle/>
              <a:p>
                <a:endParaRPr lang="en-US" sz="1050"/>
              </a:p>
            </p:txBody>
          </p:sp>
          <p:sp>
            <p:nvSpPr>
              <p:cNvPr id="133" name="Freeform 132"/>
              <p:cNvSpPr>
                <a:spLocks/>
              </p:cNvSpPr>
              <p:nvPr/>
            </p:nvSpPr>
            <p:spPr bwMode="auto">
              <a:xfrm>
                <a:off x="4646511" y="5254956"/>
                <a:ext cx="650557" cy="685331"/>
              </a:xfrm>
              <a:custGeom>
                <a:avLst/>
                <a:gdLst>
                  <a:gd name="T0" fmla="*/ 2147483646 w 552"/>
                  <a:gd name="T1" fmla="*/ 2147483646 h 632"/>
                  <a:gd name="T2" fmla="*/ 2147483646 w 552"/>
                  <a:gd name="T3" fmla="*/ 2147483646 h 632"/>
                  <a:gd name="T4" fmla="*/ 2147483646 w 552"/>
                  <a:gd name="T5" fmla="*/ 2147483646 h 632"/>
                  <a:gd name="T6" fmla="*/ 2147483646 w 552"/>
                  <a:gd name="T7" fmla="*/ 2147483646 h 632"/>
                  <a:gd name="T8" fmla="*/ 2147483646 w 552"/>
                  <a:gd name="T9" fmla="*/ 2147483646 h 632"/>
                  <a:gd name="T10" fmla="*/ 2147483646 w 552"/>
                  <a:gd name="T11" fmla="*/ 2147483646 h 632"/>
                  <a:gd name="T12" fmla="*/ 2147483646 w 552"/>
                  <a:gd name="T13" fmla="*/ 2147483646 h 632"/>
                  <a:gd name="T14" fmla="*/ 2147483646 w 552"/>
                  <a:gd name="T15" fmla="*/ 2147483646 h 632"/>
                  <a:gd name="T16" fmla="*/ 2147483646 w 552"/>
                  <a:gd name="T17" fmla="*/ 2147483646 h 632"/>
                  <a:gd name="T18" fmla="*/ 2147483646 w 552"/>
                  <a:gd name="T19" fmla="*/ 2147483646 h 632"/>
                  <a:gd name="T20" fmla="*/ 2147483646 w 552"/>
                  <a:gd name="T21" fmla="*/ 2147483646 h 632"/>
                  <a:gd name="T22" fmla="*/ 2147483646 w 552"/>
                  <a:gd name="T23" fmla="*/ 2147483646 h 632"/>
                  <a:gd name="T24" fmla="*/ 2147483646 w 552"/>
                  <a:gd name="T25" fmla="*/ 2147483646 h 632"/>
                  <a:gd name="T26" fmla="*/ 2147483646 w 552"/>
                  <a:gd name="T27" fmla="*/ 2147483646 h 632"/>
                  <a:gd name="T28" fmla="*/ 2147483646 w 552"/>
                  <a:gd name="T29" fmla="*/ 0 h 632"/>
                  <a:gd name="T30" fmla="*/ 2147483646 w 552"/>
                  <a:gd name="T31" fmla="*/ 2147483646 h 632"/>
                  <a:gd name="T32" fmla="*/ 2147483646 w 552"/>
                  <a:gd name="T33" fmla="*/ 2147483646 h 632"/>
                  <a:gd name="T34" fmla="*/ 2147483646 w 552"/>
                  <a:gd name="T35" fmla="*/ 2147483646 h 632"/>
                  <a:gd name="T36" fmla="*/ 2147483646 w 552"/>
                  <a:gd name="T37" fmla="*/ 2147483646 h 632"/>
                  <a:gd name="T38" fmla="*/ 2147483646 w 552"/>
                  <a:gd name="T39" fmla="*/ 2147483646 h 632"/>
                  <a:gd name="T40" fmla="*/ 2147483646 w 552"/>
                  <a:gd name="T41" fmla="*/ 2147483646 h 632"/>
                  <a:gd name="T42" fmla="*/ 2147483646 w 552"/>
                  <a:gd name="T43" fmla="*/ 2147483646 h 632"/>
                  <a:gd name="T44" fmla="*/ 2147483646 w 552"/>
                  <a:gd name="T45" fmla="*/ 2147483646 h 632"/>
                  <a:gd name="T46" fmla="*/ 2147483646 w 552"/>
                  <a:gd name="T47" fmla="*/ 2147483646 h 632"/>
                  <a:gd name="T48" fmla="*/ 0 w 552"/>
                  <a:gd name="T49" fmla="*/ 2147483646 h 632"/>
                  <a:gd name="T50" fmla="*/ 2147483646 w 552"/>
                  <a:gd name="T51" fmla="*/ 2147483646 h 632"/>
                  <a:gd name="T52" fmla="*/ 2147483646 w 552"/>
                  <a:gd name="T53" fmla="*/ 2147483646 h 632"/>
                  <a:gd name="T54" fmla="*/ 2147483646 w 552"/>
                  <a:gd name="T55" fmla="*/ 2147483646 h 632"/>
                  <a:gd name="T56" fmla="*/ 2147483646 w 552"/>
                  <a:gd name="T57" fmla="*/ 2147483646 h 632"/>
                  <a:gd name="T58" fmla="*/ 2147483646 w 552"/>
                  <a:gd name="T59" fmla="*/ 2147483646 h 632"/>
                  <a:gd name="T60" fmla="*/ 2147483646 w 552"/>
                  <a:gd name="T61" fmla="*/ 2147483646 h 632"/>
                  <a:gd name="T62" fmla="*/ 2147483646 w 552"/>
                  <a:gd name="T63" fmla="*/ 2147483646 h 632"/>
                  <a:gd name="T64" fmla="*/ 2147483646 w 552"/>
                  <a:gd name="T65" fmla="*/ 2147483646 h 632"/>
                  <a:gd name="T66" fmla="*/ 2147483646 w 552"/>
                  <a:gd name="T67" fmla="*/ 2147483646 h 632"/>
                  <a:gd name="T68" fmla="*/ 2147483646 w 552"/>
                  <a:gd name="T69" fmla="*/ 2147483646 h 632"/>
                  <a:gd name="T70" fmla="*/ 2147483646 w 552"/>
                  <a:gd name="T71" fmla="*/ 2147483646 h 632"/>
                  <a:gd name="T72" fmla="*/ 2147483646 w 552"/>
                  <a:gd name="T73" fmla="*/ 2147483646 h 632"/>
                  <a:gd name="T74" fmla="*/ 2147483646 w 552"/>
                  <a:gd name="T75" fmla="*/ 2147483646 h 632"/>
                  <a:gd name="T76" fmla="*/ 2147483646 w 552"/>
                  <a:gd name="T77" fmla="*/ 2147483646 h 632"/>
                  <a:gd name="T78" fmla="*/ 2147483646 w 552"/>
                  <a:gd name="T79" fmla="*/ 2147483646 h 6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2"/>
                  <a:gd name="T121" fmla="*/ 0 h 632"/>
                  <a:gd name="T122" fmla="*/ 552 w 552"/>
                  <a:gd name="T123" fmla="*/ 632 h 6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2" h="632">
                    <a:moveTo>
                      <a:pt x="536" y="576"/>
                    </a:moveTo>
                    <a:lnTo>
                      <a:pt x="536" y="488"/>
                    </a:lnTo>
                    <a:lnTo>
                      <a:pt x="512" y="456"/>
                    </a:lnTo>
                    <a:lnTo>
                      <a:pt x="520" y="416"/>
                    </a:lnTo>
                    <a:lnTo>
                      <a:pt x="488" y="328"/>
                    </a:lnTo>
                    <a:lnTo>
                      <a:pt x="488" y="296"/>
                    </a:lnTo>
                    <a:lnTo>
                      <a:pt x="520" y="272"/>
                    </a:lnTo>
                    <a:lnTo>
                      <a:pt x="520" y="256"/>
                    </a:lnTo>
                    <a:lnTo>
                      <a:pt x="552" y="240"/>
                    </a:lnTo>
                    <a:lnTo>
                      <a:pt x="512" y="128"/>
                    </a:lnTo>
                    <a:lnTo>
                      <a:pt x="456" y="128"/>
                    </a:lnTo>
                    <a:lnTo>
                      <a:pt x="416" y="88"/>
                    </a:lnTo>
                    <a:lnTo>
                      <a:pt x="448" y="56"/>
                    </a:lnTo>
                    <a:lnTo>
                      <a:pt x="456" y="24"/>
                    </a:lnTo>
                    <a:lnTo>
                      <a:pt x="424" y="0"/>
                    </a:lnTo>
                    <a:lnTo>
                      <a:pt x="360" y="32"/>
                    </a:lnTo>
                    <a:lnTo>
                      <a:pt x="320" y="32"/>
                    </a:lnTo>
                    <a:lnTo>
                      <a:pt x="272" y="64"/>
                    </a:lnTo>
                    <a:lnTo>
                      <a:pt x="160" y="80"/>
                    </a:lnTo>
                    <a:lnTo>
                      <a:pt x="128" y="120"/>
                    </a:lnTo>
                    <a:lnTo>
                      <a:pt x="136" y="184"/>
                    </a:lnTo>
                    <a:lnTo>
                      <a:pt x="104" y="248"/>
                    </a:lnTo>
                    <a:lnTo>
                      <a:pt x="144" y="296"/>
                    </a:lnTo>
                    <a:lnTo>
                      <a:pt x="88" y="304"/>
                    </a:lnTo>
                    <a:lnTo>
                      <a:pt x="0" y="368"/>
                    </a:lnTo>
                    <a:lnTo>
                      <a:pt x="56" y="392"/>
                    </a:lnTo>
                    <a:lnTo>
                      <a:pt x="56" y="448"/>
                    </a:lnTo>
                    <a:lnTo>
                      <a:pt x="104" y="496"/>
                    </a:lnTo>
                    <a:lnTo>
                      <a:pt x="48" y="520"/>
                    </a:lnTo>
                    <a:lnTo>
                      <a:pt x="48" y="560"/>
                    </a:lnTo>
                    <a:lnTo>
                      <a:pt x="144" y="560"/>
                    </a:lnTo>
                    <a:lnTo>
                      <a:pt x="192" y="552"/>
                    </a:lnTo>
                    <a:lnTo>
                      <a:pt x="232" y="576"/>
                    </a:lnTo>
                    <a:lnTo>
                      <a:pt x="280" y="584"/>
                    </a:lnTo>
                    <a:lnTo>
                      <a:pt x="320" y="584"/>
                    </a:lnTo>
                    <a:lnTo>
                      <a:pt x="360" y="616"/>
                    </a:lnTo>
                    <a:lnTo>
                      <a:pt x="384" y="632"/>
                    </a:lnTo>
                    <a:lnTo>
                      <a:pt x="424" y="608"/>
                    </a:lnTo>
                    <a:lnTo>
                      <a:pt x="472" y="616"/>
                    </a:lnTo>
                    <a:lnTo>
                      <a:pt x="536" y="576"/>
                    </a:lnTo>
                    <a:close/>
                  </a:path>
                </a:pathLst>
              </a:custGeom>
              <a:solidFill>
                <a:srgbClr val="9950A8"/>
              </a:solidFill>
              <a:ln w="6350">
                <a:solidFill>
                  <a:schemeClr val="bg1"/>
                </a:solidFill>
                <a:round/>
                <a:headEnd/>
                <a:tailEnd/>
              </a:ln>
            </p:spPr>
            <p:txBody>
              <a:bodyPr/>
              <a:lstStyle/>
              <a:p>
                <a:endParaRPr lang="en-US" sz="1050"/>
              </a:p>
            </p:txBody>
          </p:sp>
          <p:sp>
            <p:nvSpPr>
              <p:cNvPr id="134" name="Freeform 133"/>
              <p:cNvSpPr>
                <a:spLocks/>
              </p:cNvSpPr>
              <p:nvPr/>
            </p:nvSpPr>
            <p:spPr bwMode="auto">
              <a:xfrm>
                <a:off x="4250519" y="4960003"/>
                <a:ext cx="584558" cy="919558"/>
              </a:xfrm>
              <a:custGeom>
                <a:avLst/>
                <a:gdLst>
                  <a:gd name="T0" fmla="*/ 2147483646 w 496"/>
                  <a:gd name="T1" fmla="*/ 2147483646 h 848"/>
                  <a:gd name="T2" fmla="*/ 2147483646 w 496"/>
                  <a:gd name="T3" fmla="*/ 2147483646 h 848"/>
                  <a:gd name="T4" fmla="*/ 2147483646 w 496"/>
                  <a:gd name="T5" fmla="*/ 2147483646 h 848"/>
                  <a:gd name="T6" fmla="*/ 2147483646 w 496"/>
                  <a:gd name="T7" fmla="*/ 2147483646 h 848"/>
                  <a:gd name="T8" fmla="*/ 2147483646 w 496"/>
                  <a:gd name="T9" fmla="*/ 2147483646 h 848"/>
                  <a:gd name="T10" fmla="*/ 2147483646 w 496"/>
                  <a:gd name="T11" fmla="*/ 2147483646 h 848"/>
                  <a:gd name="T12" fmla="*/ 2147483646 w 496"/>
                  <a:gd name="T13" fmla="*/ 2147483646 h 848"/>
                  <a:gd name="T14" fmla="*/ 2147483646 w 496"/>
                  <a:gd name="T15" fmla="*/ 2147483646 h 848"/>
                  <a:gd name="T16" fmla="*/ 2147483646 w 496"/>
                  <a:gd name="T17" fmla="*/ 2147483646 h 848"/>
                  <a:gd name="T18" fmla="*/ 2147483646 w 496"/>
                  <a:gd name="T19" fmla="*/ 2147483646 h 848"/>
                  <a:gd name="T20" fmla="*/ 2147483646 w 496"/>
                  <a:gd name="T21" fmla="*/ 2147483646 h 848"/>
                  <a:gd name="T22" fmla="*/ 2147483646 w 496"/>
                  <a:gd name="T23" fmla="*/ 2147483646 h 848"/>
                  <a:gd name="T24" fmla="*/ 2147483646 w 496"/>
                  <a:gd name="T25" fmla="*/ 2147483646 h 848"/>
                  <a:gd name="T26" fmla="*/ 2147483646 w 496"/>
                  <a:gd name="T27" fmla="*/ 2147483646 h 848"/>
                  <a:gd name="T28" fmla="*/ 2147483646 w 496"/>
                  <a:gd name="T29" fmla="*/ 2147483646 h 848"/>
                  <a:gd name="T30" fmla="*/ 2147483646 w 496"/>
                  <a:gd name="T31" fmla="*/ 2147483646 h 848"/>
                  <a:gd name="T32" fmla="*/ 2147483646 w 496"/>
                  <a:gd name="T33" fmla="*/ 2147483646 h 848"/>
                  <a:gd name="T34" fmla="*/ 2147483646 w 496"/>
                  <a:gd name="T35" fmla="*/ 2147483646 h 848"/>
                  <a:gd name="T36" fmla="*/ 2147483646 w 496"/>
                  <a:gd name="T37" fmla="*/ 2147483646 h 848"/>
                  <a:gd name="T38" fmla="*/ 2147483646 w 496"/>
                  <a:gd name="T39" fmla="*/ 2147483646 h 848"/>
                  <a:gd name="T40" fmla="*/ 2147483646 w 496"/>
                  <a:gd name="T41" fmla="*/ 2147483646 h 848"/>
                  <a:gd name="T42" fmla="*/ 2147483646 w 496"/>
                  <a:gd name="T43" fmla="*/ 2147483646 h 848"/>
                  <a:gd name="T44" fmla="*/ 2147483646 w 496"/>
                  <a:gd name="T45" fmla="*/ 2147483646 h 848"/>
                  <a:gd name="T46" fmla="*/ 2147483646 w 496"/>
                  <a:gd name="T47" fmla="*/ 0 h 848"/>
                  <a:gd name="T48" fmla="*/ 2147483646 w 496"/>
                  <a:gd name="T49" fmla="*/ 2147483646 h 848"/>
                  <a:gd name="T50" fmla="*/ 2147483646 w 496"/>
                  <a:gd name="T51" fmla="*/ 2147483646 h 848"/>
                  <a:gd name="T52" fmla="*/ 2147483646 w 496"/>
                  <a:gd name="T53" fmla="*/ 2147483646 h 848"/>
                  <a:gd name="T54" fmla="*/ 2147483646 w 496"/>
                  <a:gd name="T55" fmla="*/ 2147483646 h 848"/>
                  <a:gd name="T56" fmla="*/ 2147483646 w 496"/>
                  <a:gd name="T57" fmla="*/ 2147483646 h 848"/>
                  <a:gd name="T58" fmla="*/ 2147483646 w 496"/>
                  <a:gd name="T59" fmla="*/ 2147483646 h 848"/>
                  <a:gd name="T60" fmla="*/ 2147483646 w 496"/>
                  <a:gd name="T61" fmla="*/ 2147483646 h 848"/>
                  <a:gd name="T62" fmla="*/ 2147483646 w 496"/>
                  <a:gd name="T63" fmla="*/ 2147483646 h 848"/>
                  <a:gd name="T64" fmla="*/ 0 w 496"/>
                  <a:gd name="T65" fmla="*/ 2147483646 h 848"/>
                  <a:gd name="T66" fmla="*/ 2147483646 w 496"/>
                  <a:gd name="T67" fmla="*/ 2147483646 h 848"/>
                  <a:gd name="T68" fmla="*/ 2147483646 w 496"/>
                  <a:gd name="T69" fmla="*/ 2147483646 h 848"/>
                  <a:gd name="T70" fmla="*/ 2147483646 w 496"/>
                  <a:gd name="T71" fmla="*/ 2147483646 h 848"/>
                  <a:gd name="T72" fmla="*/ 2147483646 w 496"/>
                  <a:gd name="T73" fmla="*/ 2147483646 h 848"/>
                  <a:gd name="T74" fmla="*/ 2147483646 w 496"/>
                  <a:gd name="T75" fmla="*/ 2147483646 h 848"/>
                  <a:gd name="T76" fmla="*/ 2147483646 w 496"/>
                  <a:gd name="T77" fmla="*/ 2147483646 h 848"/>
                  <a:gd name="T78" fmla="*/ 2147483646 w 496"/>
                  <a:gd name="T79" fmla="*/ 2147483646 h 848"/>
                  <a:gd name="T80" fmla="*/ 2147483646 w 496"/>
                  <a:gd name="T81" fmla="*/ 2147483646 h 848"/>
                  <a:gd name="T82" fmla="*/ 2147483646 w 496"/>
                  <a:gd name="T83" fmla="*/ 2147483646 h 848"/>
                  <a:gd name="T84" fmla="*/ 2147483646 w 496"/>
                  <a:gd name="T85" fmla="*/ 2147483646 h 848"/>
                  <a:gd name="T86" fmla="*/ 2147483646 w 496"/>
                  <a:gd name="T87" fmla="*/ 2147483646 h 848"/>
                  <a:gd name="T88" fmla="*/ 2147483646 w 496"/>
                  <a:gd name="T89" fmla="*/ 2147483646 h 848"/>
                  <a:gd name="T90" fmla="*/ 2147483646 w 496"/>
                  <a:gd name="T91" fmla="*/ 2147483646 h 848"/>
                  <a:gd name="T92" fmla="*/ 2147483646 w 496"/>
                  <a:gd name="T93" fmla="*/ 2147483646 h 848"/>
                  <a:gd name="T94" fmla="*/ 2147483646 w 496"/>
                  <a:gd name="T95" fmla="*/ 2147483646 h 848"/>
                  <a:gd name="T96" fmla="*/ 2147483646 w 496"/>
                  <a:gd name="T97" fmla="*/ 2147483646 h 848"/>
                  <a:gd name="T98" fmla="*/ 2147483646 w 496"/>
                  <a:gd name="T99" fmla="*/ 2147483646 h 848"/>
                  <a:gd name="T100" fmla="*/ 2147483646 w 496"/>
                  <a:gd name="T101" fmla="*/ 2147483646 h 848"/>
                  <a:gd name="T102" fmla="*/ 2147483646 w 496"/>
                  <a:gd name="T103" fmla="*/ 2147483646 h 848"/>
                  <a:gd name="T104" fmla="*/ 2147483646 w 496"/>
                  <a:gd name="T105" fmla="*/ 2147483646 h 8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848"/>
                  <a:gd name="T161" fmla="*/ 496 w 496"/>
                  <a:gd name="T162" fmla="*/ 848 h 8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848">
                    <a:moveTo>
                      <a:pt x="384" y="832"/>
                    </a:moveTo>
                    <a:lnTo>
                      <a:pt x="384" y="792"/>
                    </a:lnTo>
                    <a:lnTo>
                      <a:pt x="440" y="768"/>
                    </a:lnTo>
                    <a:lnTo>
                      <a:pt x="392" y="720"/>
                    </a:lnTo>
                    <a:lnTo>
                      <a:pt x="392" y="664"/>
                    </a:lnTo>
                    <a:lnTo>
                      <a:pt x="336" y="640"/>
                    </a:lnTo>
                    <a:lnTo>
                      <a:pt x="424" y="576"/>
                    </a:lnTo>
                    <a:lnTo>
                      <a:pt x="480" y="568"/>
                    </a:lnTo>
                    <a:lnTo>
                      <a:pt x="440" y="520"/>
                    </a:lnTo>
                    <a:lnTo>
                      <a:pt x="472" y="456"/>
                    </a:lnTo>
                    <a:lnTo>
                      <a:pt x="464" y="392"/>
                    </a:lnTo>
                    <a:lnTo>
                      <a:pt x="496" y="352"/>
                    </a:lnTo>
                    <a:lnTo>
                      <a:pt x="432" y="360"/>
                    </a:lnTo>
                    <a:lnTo>
                      <a:pt x="416" y="320"/>
                    </a:lnTo>
                    <a:lnTo>
                      <a:pt x="440" y="280"/>
                    </a:lnTo>
                    <a:lnTo>
                      <a:pt x="408" y="168"/>
                    </a:lnTo>
                    <a:lnTo>
                      <a:pt x="424" y="136"/>
                    </a:lnTo>
                    <a:lnTo>
                      <a:pt x="376" y="144"/>
                    </a:lnTo>
                    <a:lnTo>
                      <a:pt x="352" y="112"/>
                    </a:lnTo>
                    <a:lnTo>
                      <a:pt x="360" y="40"/>
                    </a:lnTo>
                    <a:lnTo>
                      <a:pt x="336" y="16"/>
                    </a:lnTo>
                    <a:lnTo>
                      <a:pt x="288" y="64"/>
                    </a:lnTo>
                    <a:lnTo>
                      <a:pt x="288" y="48"/>
                    </a:lnTo>
                    <a:lnTo>
                      <a:pt x="288" y="0"/>
                    </a:lnTo>
                    <a:lnTo>
                      <a:pt x="208" y="64"/>
                    </a:lnTo>
                    <a:lnTo>
                      <a:pt x="200" y="160"/>
                    </a:lnTo>
                    <a:lnTo>
                      <a:pt x="224" y="248"/>
                    </a:lnTo>
                    <a:lnTo>
                      <a:pt x="184" y="232"/>
                    </a:lnTo>
                    <a:lnTo>
                      <a:pt x="160" y="264"/>
                    </a:lnTo>
                    <a:lnTo>
                      <a:pt x="128" y="264"/>
                    </a:lnTo>
                    <a:lnTo>
                      <a:pt x="104" y="280"/>
                    </a:lnTo>
                    <a:lnTo>
                      <a:pt x="48" y="264"/>
                    </a:lnTo>
                    <a:lnTo>
                      <a:pt x="0" y="312"/>
                    </a:lnTo>
                    <a:lnTo>
                      <a:pt x="64" y="344"/>
                    </a:lnTo>
                    <a:lnTo>
                      <a:pt x="80" y="400"/>
                    </a:lnTo>
                    <a:lnTo>
                      <a:pt x="136" y="416"/>
                    </a:lnTo>
                    <a:lnTo>
                      <a:pt x="176" y="472"/>
                    </a:lnTo>
                    <a:lnTo>
                      <a:pt x="168" y="536"/>
                    </a:lnTo>
                    <a:lnTo>
                      <a:pt x="200" y="560"/>
                    </a:lnTo>
                    <a:lnTo>
                      <a:pt x="160" y="576"/>
                    </a:lnTo>
                    <a:lnTo>
                      <a:pt x="152" y="616"/>
                    </a:lnTo>
                    <a:lnTo>
                      <a:pt x="184" y="648"/>
                    </a:lnTo>
                    <a:lnTo>
                      <a:pt x="160" y="672"/>
                    </a:lnTo>
                    <a:lnTo>
                      <a:pt x="176" y="704"/>
                    </a:lnTo>
                    <a:lnTo>
                      <a:pt x="144" y="712"/>
                    </a:lnTo>
                    <a:lnTo>
                      <a:pt x="152" y="752"/>
                    </a:lnTo>
                    <a:lnTo>
                      <a:pt x="120" y="760"/>
                    </a:lnTo>
                    <a:lnTo>
                      <a:pt x="112" y="840"/>
                    </a:lnTo>
                    <a:lnTo>
                      <a:pt x="160" y="848"/>
                    </a:lnTo>
                    <a:lnTo>
                      <a:pt x="224" y="840"/>
                    </a:lnTo>
                    <a:lnTo>
                      <a:pt x="304" y="800"/>
                    </a:lnTo>
                    <a:lnTo>
                      <a:pt x="352" y="800"/>
                    </a:lnTo>
                    <a:lnTo>
                      <a:pt x="384" y="832"/>
                    </a:lnTo>
                    <a:close/>
                  </a:path>
                </a:pathLst>
              </a:custGeom>
              <a:solidFill>
                <a:srgbClr val="9950A8"/>
              </a:solidFill>
              <a:ln w="9525">
                <a:solidFill>
                  <a:schemeClr val="bg1"/>
                </a:solidFill>
                <a:round/>
                <a:headEnd/>
                <a:tailEnd/>
              </a:ln>
            </p:spPr>
            <p:txBody>
              <a:bodyPr/>
              <a:lstStyle/>
              <a:p>
                <a:endParaRPr lang="en-US" sz="1050"/>
              </a:p>
            </p:txBody>
          </p:sp>
          <p:sp>
            <p:nvSpPr>
              <p:cNvPr id="135" name="Freeform 134"/>
              <p:cNvSpPr>
                <a:spLocks/>
              </p:cNvSpPr>
              <p:nvPr/>
            </p:nvSpPr>
            <p:spPr bwMode="auto">
              <a:xfrm>
                <a:off x="4156236" y="4482874"/>
                <a:ext cx="490275" cy="780757"/>
              </a:xfrm>
              <a:custGeom>
                <a:avLst/>
                <a:gdLst>
                  <a:gd name="T0" fmla="*/ 2147483646 w 416"/>
                  <a:gd name="T1" fmla="*/ 2147483646 h 720"/>
                  <a:gd name="T2" fmla="*/ 2147483646 w 416"/>
                  <a:gd name="T3" fmla="*/ 2147483646 h 720"/>
                  <a:gd name="T4" fmla="*/ 2147483646 w 416"/>
                  <a:gd name="T5" fmla="*/ 2147483646 h 720"/>
                  <a:gd name="T6" fmla="*/ 2147483646 w 416"/>
                  <a:gd name="T7" fmla="*/ 2147483646 h 720"/>
                  <a:gd name="T8" fmla="*/ 2147483646 w 416"/>
                  <a:gd name="T9" fmla="*/ 2147483646 h 720"/>
                  <a:gd name="T10" fmla="*/ 2147483646 w 416"/>
                  <a:gd name="T11" fmla="*/ 2147483646 h 720"/>
                  <a:gd name="T12" fmla="*/ 2147483646 w 416"/>
                  <a:gd name="T13" fmla="*/ 2147483646 h 720"/>
                  <a:gd name="T14" fmla="*/ 2147483646 w 416"/>
                  <a:gd name="T15" fmla="*/ 2147483646 h 720"/>
                  <a:gd name="T16" fmla="*/ 2147483646 w 416"/>
                  <a:gd name="T17" fmla="*/ 2147483646 h 720"/>
                  <a:gd name="T18" fmla="*/ 2147483646 w 416"/>
                  <a:gd name="T19" fmla="*/ 2147483646 h 720"/>
                  <a:gd name="T20" fmla="*/ 2147483646 w 416"/>
                  <a:gd name="T21" fmla="*/ 2147483646 h 720"/>
                  <a:gd name="T22" fmla="*/ 2147483646 w 416"/>
                  <a:gd name="T23" fmla="*/ 2147483646 h 720"/>
                  <a:gd name="T24" fmla="*/ 2147483646 w 416"/>
                  <a:gd name="T25" fmla="*/ 2147483646 h 720"/>
                  <a:gd name="T26" fmla="*/ 2147483646 w 416"/>
                  <a:gd name="T27" fmla="*/ 2147483646 h 720"/>
                  <a:gd name="T28" fmla="*/ 2147483646 w 416"/>
                  <a:gd name="T29" fmla="*/ 2147483646 h 720"/>
                  <a:gd name="T30" fmla="*/ 2147483646 w 416"/>
                  <a:gd name="T31" fmla="*/ 2147483646 h 720"/>
                  <a:gd name="T32" fmla="*/ 2147483646 w 416"/>
                  <a:gd name="T33" fmla="*/ 0 h 720"/>
                  <a:gd name="T34" fmla="*/ 2147483646 w 416"/>
                  <a:gd name="T35" fmla="*/ 2147483646 h 720"/>
                  <a:gd name="T36" fmla="*/ 2147483646 w 416"/>
                  <a:gd name="T37" fmla="*/ 2147483646 h 720"/>
                  <a:gd name="T38" fmla="*/ 0 w 416"/>
                  <a:gd name="T39" fmla="*/ 2147483646 h 720"/>
                  <a:gd name="T40" fmla="*/ 2147483646 w 416"/>
                  <a:gd name="T41" fmla="*/ 2147483646 h 720"/>
                  <a:gd name="T42" fmla="*/ 2147483646 w 416"/>
                  <a:gd name="T43" fmla="*/ 2147483646 h 720"/>
                  <a:gd name="T44" fmla="*/ 2147483646 w 416"/>
                  <a:gd name="T45" fmla="*/ 2147483646 h 720"/>
                  <a:gd name="T46" fmla="*/ 2147483646 w 416"/>
                  <a:gd name="T47" fmla="*/ 2147483646 h 720"/>
                  <a:gd name="T48" fmla="*/ 2147483646 w 416"/>
                  <a:gd name="T49" fmla="*/ 2147483646 h 720"/>
                  <a:gd name="T50" fmla="*/ 2147483646 w 416"/>
                  <a:gd name="T51" fmla="*/ 2147483646 h 720"/>
                  <a:gd name="T52" fmla="*/ 2147483646 w 416"/>
                  <a:gd name="T53" fmla="*/ 2147483646 h 720"/>
                  <a:gd name="T54" fmla="*/ 2147483646 w 416"/>
                  <a:gd name="T55" fmla="*/ 2147483646 h 720"/>
                  <a:gd name="T56" fmla="*/ 2147483646 w 416"/>
                  <a:gd name="T57" fmla="*/ 2147483646 h 720"/>
                  <a:gd name="T58" fmla="*/ 2147483646 w 416"/>
                  <a:gd name="T59" fmla="*/ 2147483646 h 720"/>
                  <a:gd name="T60" fmla="*/ 2147483646 w 416"/>
                  <a:gd name="T61" fmla="*/ 2147483646 h 720"/>
                  <a:gd name="T62" fmla="*/ 2147483646 w 416"/>
                  <a:gd name="T63" fmla="*/ 2147483646 h 720"/>
                  <a:gd name="T64" fmla="*/ 2147483646 w 416"/>
                  <a:gd name="T65" fmla="*/ 2147483646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720"/>
                  <a:gd name="T101" fmla="*/ 416 w 416"/>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720">
                    <a:moveTo>
                      <a:pt x="128" y="704"/>
                    </a:moveTo>
                    <a:lnTo>
                      <a:pt x="184" y="720"/>
                    </a:lnTo>
                    <a:lnTo>
                      <a:pt x="208" y="704"/>
                    </a:lnTo>
                    <a:lnTo>
                      <a:pt x="240" y="704"/>
                    </a:lnTo>
                    <a:lnTo>
                      <a:pt x="264" y="672"/>
                    </a:lnTo>
                    <a:lnTo>
                      <a:pt x="304" y="688"/>
                    </a:lnTo>
                    <a:lnTo>
                      <a:pt x="280" y="600"/>
                    </a:lnTo>
                    <a:lnTo>
                      <a:pt x="288" y="504"/>
                    </a:lnTo>
                    <a:lnTo>
                      <a:pt x="368" y="440"/>
                    </a:lnTo>
                    <a:lnTo>
                      <a:pt x="368" y="480"/>
                    </a:lnTo>
                    <a:lnTo>
                      <a:pt x="384" y="456"/>
                    </a:lnTo>
                    <a:lnTo>
                      <a:pt x="384" y="352"/>
                    </a:lnTo>
                    <a:lnTo>
                      <a:pt x="416" y="296"/>
                    </a:lnTo>
                    <a:lnTo>
                      <a:pt x="384" y="216"/>
                    </a:lnTo>
                    <a:lnTo>
                      <a:pt x="408" y="152"/>
                    </a:lnTo>
                    <a:lnTo>
                      <a:pt x="416" y="8"/>
                    </a:lnTo>
                    <a:lnTo>
                      <a:pt x="280" y="0"/>
                    </a:lnTo>
                    <a:lnTo>
                      <a:pt x="152" y="24"/>
                    </a:lnTo>
                    <a:lnTo>
                      <a:pt x="16" y="72"/>
                    </a:lnTo>
                    <a:lnTo>
                      <a:pt x="0" y="64"/>
                    </a:lnTo>
                    <a:lnTo>
                      <a:pt x="8" y="136"/>
                    </a:lnTo>
                    <a:lnTo>
                      <a:pt x="120" y="168"/>
                    </a:lnTo>
                    <a:lnTo>
                      <a:pt x="112" y="272"/>
                    </a:lnTo>
                    <a:lnTo>
                      <a:pt x="64" y="344"/>
                    </a:lnTo>
                    <a:lnTo>
                      <a:pt x="72" y="400"/>
                    </a:lnTo>
                    <a:lnTo>
                      <a:pt x="40" y="424"/>
                    </a:lnTo>
                    <a:lnTo>
                      <a:pt x="64" y="456"/>
                    </a:lnTo>
                    <a:lnTo>
                      <a:pt x="56" y="496"/>
                    </a:lnTo>
                    <a:lnTo>
                      <a:pt x="72" y="520"/>
                    </a:lnTo>
                    <a:lnTo>
                      <a:pt x="64" y="568"/>
                    </a:lnTo>
                    <a:lnTo>
                      <a:pt x="72" y="624"/>
                    </a:lnTo>
                    <a:lnTo>
                      <a:pt x="112" y="640"/>
                    </a:lnTo>
                    <a:lnTo>
                      <a:pt x="128" y="704"/>
                    </a:lnTo>
                    <a:close/>
                  </a:path>
                </a:pathLst>
              </a:custGeom>
              <a:solidFill>
                <a:srgbClr val="9950A8"/>
              </a:solidFill>
              <a:ln w="9525">
                <a:solidFill>
                  <a:schemeClr val="bg1"/>
                </a:solidFill>
                <a:round/>
                <a:headEnd/>
                <a:tailEnd/>
              </a:ln>
            </p:spPr>
            <p:txBody>
              <a:bodyPr/>
              <a:lstStyle/>
              <a:p>
                <a:endParaRPr lang="en-US" sz="1050"/>
              </a:p>
            </p:txBody>
          </p:sp>
          <p:sp>
            <p:nvSpPr>
              <p:cNvPr id="136" name="Freeform 135"/>
              <p:cNvSpPr>
                <a:spLocks/>
              </p:cNvSpPr>
              <p:nvPr/>
            </p:nvSpPr>
            <p:spPr bwMode="auto">
              <a:xfrm>
                <a:off x="3581106" y="4630350"/>
                <a:ext cx="716555" cy="589905"/>
              </a:xfrm>
              <a:custGeom>
                <a:avLst/>
                <a:gdLst>
                  <a:gd name="T0" fmla="*/ 2147483646 w 608"/>
                  <a:gd name="T1" fmla="*/ 2147483646 h 544"/>
                  <a:gd name="T2" fmla="*/ 2147483646 w 608"/>
                  <a:gd name="T3" fmla="*/ 2147483646 h 544"/>
                  <a:gd name="T4" fmla="*/ 2147483646 w 608"/>
                  <a:gd name="T5" fmla="*/ 2147483646 h 544"/>
                  <a:gd name="T6" fmla="*/ 2147483646 w 608"/>
                  <a:gd name="T7" fmla="*/ 2147483646 h 544"/>
                  <a:gd name="T8" fmla="*/ 2147483646 w 608"/>
                  <a:gd name="T9" fmla="*/ 2147483646 h 544"/>
                  <a:gd name="T10" fmla="*/ 2147483646 w 608"/>
                  <a:gd name="T11" fmla="*/ 0 h 544"/>
                  <a:gd name="T12" fmla="*/ 2147483646 w 608"/>
                  <a:gd name="T13" fmla="*/ 2147483646 h 544"/>
                  <a:gd name="T14" fmla="*/ 2147483646 w 608"/>
                  <a:gd name="T15" fmla="*/ 2147483646 h 544"/>
                  <a:gd name="T16" fmla="*/ 2147483646 w 608"/>
                  <a:gd name="T17" fmla="*/ 2147483646 h 544"/>
                  <a:gd name="T18" fmla="*/ 2147483646 w 608"/>
                  <a:gd name="T19" fmla="*/ 2147483646 h 544"/>
                  <a:gd name="T20" fmla="*/ 2147483646 w 608"/>
                  <a:gd name="T21" fmla="*/ 2147483646 h 544"/>
                  <a:gd name="T22" fmla="*/ 2147483646 w 608"/>
                  <a:gd name="T23" fmla="*/ 2147483646 h 544"/>
                  <a:gd name="T24" fmla="*/ 2147483646 w 608"/>
                  <a:gd name="T25" fmla="*/ 2147483646 h 544"/>
                  <a:gd name="T26" fmla="*/ 2147483646 w 608"/>
                  <a:gd name="T27" fmla="*/ 2147483646 h 544"/>
                  <a:gd name="T28" fmla="*/ 2147483646 w 608"/>
                  <a:gd name="T29" fmla="*/ 2147483646 h 544"/>
                  <a:gd name="T30" fmla="*/ 2147483646 w 608"/>
                  <a:gd name="T31" fmla="*/ 2147483646 h 544"/>
                  <a:gd name="T32" fmla="*/ 2147483646 w 608"/>
                  <a:gd name="T33" fmla="*/ 2147483646 h 544"/>
                  <a:gd name="T34" fmla="*/ 2147483646 w 608"/>
                  <a:gd name="T35" fmla="*/ 2147483646 h 544"/>
                  <a:gd name="T36" fmla="*/ 2147483646 w 608"/>
                  <a:gd name="T37" fmla="*/ 2147483646 h 544"/>
                  <a:gd name="T38" fmla="*/ 2147483646 w 608"/>
                  <a:gd name="T39" fmla="*/ 2147483646 h 544"/>
                  <a:gd name="T40" fmla="*/ 2147483646 w 608"/>
                  <a:gd name="T41" fmla="*/ 2147483646 h 544"/>
                  <a:gd name="T42" fmla="*/ 2147483646 w 608"/>
                  <a:gd name="T43" fmla="*/ 2147483646 h 544"/>
                  <a:gd name="T44" fmla="*/ 2147483646 w 608"/>
                  <a:gd name="T45" fmla="*/ 2147483646 h 544"/>
                  <a:gd name="T46" fmla="*/ 2147483646 w 608"/>
                  <a:gd name="T47" fmla="*/ 2147483646 h 544"/>
                  <a:gd name="T48" fmla="*/ 2147483646 w 608"/>
                  <a:gd name="T49" fmla="*/ 2147483646 h 544"/>
                  <a:gd name="T50" fmla="*/ 2147483646 w 608"/>
                  <a:gd name="T51" fmla="*/ 2147483646 h 544"/>
                  <a:gd name="T52" fmla="*/ 2147483646 w 608"/>
                  <a:gd name="T53" fmla="*/ 2147483646 h 544"/>
                  <a:gd name="T54" fmla="*/ 2147483646 w 608"/>
                  <a:gd name="T55" fmla="*/ 2147483646 h 544"/>
                  <a:gd name="T56" fmla="*/ 0 w 608"/>
                  <a:gd name="T57" fmla="*/ 2147483646 h 544"/>
                  <a:gd name="T58" fmla="*/ 0 w 608"/>
                  <a:gd name="T59" fmla="*/ 2147483646 h 544"/>
                  <a:gd name="T60" fmla="*/ 2147483646 w 608"/>
                  <a:gd name="T61" fmla="*/ 2147483646 h 5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8"/>
                  <a:gd name="T94" fmla="*/ 0 h 544"/>
                  <a:gd name="T95" fmla="*/ 608 w 608"/>
                  <a:gd name="T96" fmla="*/ 544 h 5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8" h="544">
                    <a:moveTo>
                      <a:pt x="40" y="48"/>
                    </a:moveTo>
                    <a:lnTo>
                      <a:pt x="88" y="40"/>
                    </a:lnTo>
                    <a:lnTo>
                      <a:pt x="200" y="72"/>
                    </a:lnTo>
                    <a:lnTo>
                      <a:pt x="312" y="32"/>
                    </a:lnTo>
                    <a:lnTo>
                      <a:pt x="440" y="32"/>
                    </a:lnTo>
                    <a:lnTo>
                      <a:pt x="496" y="0"/>
                    </a:lnTo>
                    <a:lnTo>
                      <a:pt x="608" y="32"/>
                    </a:lnTo>
                    <a:lnTo>
                      <a:pt x="600" y="136"/>
                    </a:lnTo>
                    <a:lnTo>
                      <a:pt x="552" y="208"/>
                    </a:lnTo>
                    <a:lnTo>
                      <a:pt x="560" y="264"/>
                    </a:lnTo>
                    <a:lnTo>
                      <a:pt x="528" y="288"/>
                    </a:lnTo>
                    <a:lnTo>
                      <a:pt x="544" y="304"/>
                    </a:lnTo>
                    <a:lnTo>
                      <a:pt x="544" y="360"/>
                    </a:lnTo>
                    <a:lnTo>
                      <a:pt x="560" y="384"/>
                    </a:lnTo>
                    <a:lnTo>
                      <a:pt x="552" y="432"/>
                    </a:lnTo>
                    <a:lnTo>
                      <a:pt x="520" y="440"/>
                    </a:lnTo>
                    <a:lnTo>
                      <a:pt x="496" y="528"/>
                    </a:lnTo>
                    <a:lnTo>
                      <a:pt x="424" y="520"/>
                    </a:lnTo>
                    <a:lnTo>
                      <a:pt x="384" y="544"/>
                    </a:lnTo>
                    <a:lnTo>
                      <a:pt x="304" y="488"/>
                    </a:lnTo>
                    <a:lnTo>
                      <a:pt x="216" y="456"/>
                    </a:lnTo>
                    <a:lnTo>
                      <a:pt x="192" y="408"/>
                    </a:lnTo>
                    <a:lnTo>
                      <a:pt x="136" y="392"/>
                    </a:lnTo>
                    <a:lnTo>
                      <a:pt x="144" y="320"/>
                    </a:lnTo>
                    <a:lnTo>
                      <a:pt x="120" y="280"/>
                    </a:lnTo>
                    <a:lnTo>
                      <a:pt x="152" y="264"/>
                    </a:lnTo>
                    <a:lnTo>
                      <a:pt x="120" y="192"/>
                    </a:lnTo>
                    <a:lnTo>
                      <a:pt x="56" y="152"/>
                    </a:lnTo>
                    <a:lnTo>
                      <a:pt x="0" y="112"/>
                    </a:lnTo>
                    <a:lnTo>
                      <a:pt x="0" y="80"/>
                    </a:lnTo>
                    <a:lnTo>
                      <a:pt x="40" y="48"/>
                    </a:lnTo>
                    <a:close/>
                  </a:path>
                </a:pathLst>
              </a:custGeom>
              <a:solidFill>
                <a:srgbClr val="002060"/>
              </a:solidFill>
              <a:ln w="9525">
                <a:solidFill>
                  <a:schemeClr val="bg1"/>
                </a:solidFill>
                <a:round/>
                <a:headEnd/>
                <a:tailEnd/>
              </a:ln>
            </p:spPr>
            <p:txBody>
              <a:bodyPr/>
              <a:lstStyle/>
              <a:p>
                <a:endParaRPr lang="en-US" sz="1050"/>
              </a:p>
            </p:txBody>
          </p:sp>
          <p:sp>
            <p:nvSpPr>
              <p:cNvPr id="137" name="Freeform 136"/>
              <p:cNvSpPr>
                <a:spLocks/>
              </p:cNvSpPr>
              <p:nvPr/>
            </p:nvSpPr>
            <p:spPr bwMode="auto">
              <a:xfrm>
                <a:off x="3203972" y="4795177"/>
                <a:ext cx="829695" cy="772082"/>
              </a:xfrm>
              <a:custGeom>
                <a:avLst/>
                <a:gdLst>
                  <a:gd name="T0" fmla="*/ 2147483646 w 704"/>
                  <a:gd name="T1" fmla="*/ 0 h 712"/>
                  <a:gd name="T2" fmla="*/ 2147483646 w 704"/>
                  <a:gd name="T3" fmla="*/ 2147483646 h 712"/>
                  <a:gd name="T4" fmla="*/ 2147483646 w 704"/>
                  <a:gd name="T5" fmla="*/ 2147483646 h 712"/>
                  <a:gd name="T6" fmla="*/ 2147483646 w 704"/>
                  <a:gd name="T7" fmla="*/ 2147483646 h 712"/>
                  <a:gd name="T8" fmla="*/ 2147483646 w 704"/>
                  <a:gd name="T9" fmla="*/ 2147483646 h 712"/>
                  <a:gd name="T10" fmla="*/ 2147483646 w 704"/>
                  <a:gd name="T11" fmla="*/ 2147483646 h 712"/>
                  <a:gd name="T12" fmla="*/ 2147483646 w 704"/>
                  <a:gd name="T13" fmla="*/ 2147483646 h 712"/>
                  <a:gd name="T14" fmla="*/ 2147483646 w 704"/>
                  <a:gd name="T15" fmla="*/ 2147483646 h 712"/>
                  <a:gd name="T16" fmla="*/ 2147483646 w 704"/>
                  <a:gd name="T17" fmla="*/ 2147483646 h 712"/>
                  <a:gd name="T18" fmla="*/ 2147483646 w 704"/>
                  <a:gd name="T19" fmla="*/ 2147483646 h 712"/>
                  <a:gd name="T20" fmla="*/ 2147483646 w 704"/>
                  <a:gd name="T21" fmla="*/ 2147483646 h 712"/>
                  <a:gd name="T22" fmla="*/ 2147483646 w 704"/>
                  <a:gd name="T23" fmla="*/ 2147483646 h 712"/>
                  <a:gd name="T24" fmla="*/ 2147483646 w 704"/>
                  <a:gd name="T25" fmla="*/ 2147483646 h 712"/>
                  <a:gd name="T26" fmla="*/ 2147483646 w 704"/>
                  <a:gd name="T27" fmla="*/ 2147483646 h 712"/>
                  <a:gd name="T28" fmla="*/ 2147483646 w 704"/>
                  <a:gd name="T29" fmla="*/ 2147483646 h 712"/>
                  <a:gd name="T30" fmla="*/ 2147483646 w 704"/>
                  <a:gd name="T31" fmla="*/ 2147483646 h 712"/>
                  <a:gd name="T32" fmla="*/ 2147483646 w 704"/>
                  <a:gd name="T33" fmla="*/ 2147483646 h 712"/>
                  <a:gd name="T34" fmla="*/ 2147483646 w 704"/>
                  <a:gd name="T35" fmla="*/ 2147483646 h 712"/>
                  <a:gd name="T36" fmla="*/ 2147483646 w 704"/>
                  <a:gd name="T37" fmla="*/ 2147483646 h 712"/>
                  <a:gd name="T38" fmla="*/ 2147483646 w 704"/>
                  <a:gd name="T39" fmla="*/ 2147483646 h 712"/>
                  <a:gd name="T40" fmla="*/ 2147483646 w 704"/>
                  <a:gd name="T41" fmla="*/ 2147483646 h 712"/>
                  <a:gd name="T42" fmla="*/ 2147483646 w 704"/>
                  <a:gd name="T43" fmla="*/ 2147483646 h 712"/>
                  <a:gd name="T44" fmla="*/ 2147483646 w 704"/>
                  <a:gd name="T45" fmla="*/ 2147483646 h 712"/>
                  <a:gd name="T46" fmla="*/ 2147483646 w 704"/>
                  <a:gd name="T47" fmla="*/ 2147483646 h 712"/>
                  <a:gd name="T48" fmla="*/ 2147483646 w 704"/>
                  <a:gd name="T49" fmla="*/ 2147483646 h 712"/>
                  <a:gd name="T50" fmla="*/ 2147483646 w 704"/>
                  <a:gd name="T51" fmla="*/ 2147483646 h 712"/>
                  <a:gd name="T52" fmla="*/ 2147483646 w 704"/>
                  <a:gd name="T53" fmla="*/ 2147483646 h 712"/>
                  <a:gd name="T54" fmla="*/ 2147483646 w 704"/>
                  <a:gd name="T55" fmla="*/ 2147483646 h 712"/>
                  <a:gd name="T56" fmla="*/ 2147483646 w 704"/>
                  <a:gd name="T57" fmla="*/ 2147483646 h 712"/>
                  <a:gd name="T58" fmla="*/ 2147483646 w 704"/>
                  <a:gd name="T59" fmla="*/ 2147483646 h 712"/>
                  <a:gd name="T60" fmla="*/ 2147483646 w 704"/>
                  <a:gd name="T61" fmla="*/ 2147483646 h 712"/>
                  <a:gd name="T62" fmla="*/ 2147483646 w 704"/>
                  <a:gd name="T63" fmla="*/ 2147483646 h 712"/>
                  <a:gd name="T64" fmla="*/ 2147483646 w 704"/>
                  <a:gd name="T65" fmla="*/ 2147483646 h 712"/>
                  <a:gd name="T66" fmla="*/ 2147483646 w 704"/>
                  <a:gd name="T67" fmla="*/ 2147483646 h 712"/>
                  <a:gd name="T68" fmla="*/ 2147483646 w 704"/>
                  <a:gd name="T69" fmla="*/ 2147483646 h 712"/>
                  <a:gd name="T70" fmla="*/ 2147483646 w 704"/>
                  <a:gd name="T71" fmla="*/ 2147483646 h 712"/>
                  <a:gd name="T72" fmla="*/ 2147483646 w 704"/>
                  <a:gd name="T73" fmla="*/ 2147483646 h 712"/>
                  <a:gd name="T74" fmla="*/ 2147483646 w 704"/>
                  <a:gd name="T75" fmla="*/ 2147483646 h 712"/>
                  <a:gd name="T76" fmla="*/ 2147483646 w 704"/>
                  <a:gd name="T77" fmla="*/ 2147483646 h 712"/>
                  <a:gd name="T78" fmla="*/ 2147483646 w 704"/>
                  <a:gd name="T79" fmla="*/ 2147483646 h 712"/>
                  <a:gd name="T80" fmla="*/ 2147483646 w 704"/>
                  <a:gd name="T81" fmla="*/ 2147483646 h 712"/>
                  <a:gd name="T82" fmla="*/ 2147483646 w 704"/>
                  <a:gd name="T83" fmla="*/ 2147483646 h 712"/>
                  <a:gd name="T84" fmla="*/ 2147483646 w 704"/>
                  <a:gd name="T85" fmla="*/ 2147483646 h 712"/>
                  <a:gd name="T86" fmla="*/ 2147483646 w 704"/>
                  <a:gd name="T87" fmla="*/ 2147483646 h 712"/>
                  <a:gd name="T88" fmla="*/ 2147483646 w 704"/>
                  <a:gd name="T89" fmla="*/ 2147483646 h 712"/>
                  <a:gd name="T90" fmla="*/ 2147483646 w 704"/>
                  <a:gd name="T91" fmla="*/ 2147483646 h 712"/>
                  <a:gd name="T92" fmla="*/ 2147483646 w 704"/>
                  <a:gd name="T93" fmla="*/ 2147483646 h 712"/>
                  <a:gd name="T94" fmla="*/ 2147483646 w 704"/>
                  <a:gd name="T95" fmla="*/ 2147483646 h 712"/>
                  <a:gd name="T96" fmla="*/ 0 w 704"/>
                  <a:gd name="T97" fmla="*/ 2147483646 h 712"/>
                  <a:gd name="T98" fmla="*/ 2147483646 w 704"/>
                  <a:gd name="T99" fmla="*/ 2147483646 h 712"/>
                  <a:gd name="T100" fmla="*/ 2147483646 w 704"/>
                  <a:gd name="T101" fmla="*/ 2147483646 h 712"/>
                  <a:gd name="T102" fmla="*/ 2147483646 w 704"/>
                  <a:gd name="T103" fmla="*/ 2147483646 h 712"/>
                  <a:gd name="T104" fmla="*/ 2147483646 w 704"/>
                  <a:gd name="T105" fmla="*/ 2147483646 h 712"/>
                  <a:gd name="T106" fmla="*/ 2147483646 w 704"/>
                  <a:gd name="T107" fmla="*/ 2147483646 h 712"/>
                  <a:gd name="T108" fmla="*/ 2147483646 w 704"/>
                  <a:gd name="T109" fmla="*/ 2147483646 h 712"/>
                  <a:gd name="T110" fmla="*/ 2147483646 w 704"/>
                  <a:gd name="T111" fmla="*/ 2147483646 h 712"/>
                  <a:gd name="T112" fmla="*/ 2147483646 w 704"/>
                  <a:gd name="T113" fmla="*/ 2147483646 h 712"/>
                  <a:gd name="T114" fmla="*/ 2147483646 w 704"/>
                  <a:gd name="T115" fmla="*/ 2147483646 h 712"/>
                  <a:gd name="T116" fmla="*/ 2147483646 w 704"/>
                  <a:gd name="T117" fmla="*/ 2147483646 h 712"/>
                  <a:gd name="T118" fmla="*/ 2147483646 w 704"/>
                  <a:gd name="T119" fmla="*/ 2147483646 h 712"/>
                  <a:gd name="T120" fmla="*/ 2147483646 w 704"/>
                  <a:gd name="T121" fmla="*/ 2147483646 h 712"/>
                  <a:gd name="T122" fmla="*/ 2147483646 w 704"/>
                  <a:gd name="T123" fmla="*/ 0 h 7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
                  <a:gd name="T187" fmla="*/ 0 h 712"/>
                  <a:gd name="T188" fmla="*/ 704 w 704"/>
                  <a:gd name="T189" fmla="*/ 712 h 7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 h="712">
                    <a:moveTo>
                      <a:pt x="376" y="0"/>
                    </a:moveTo>
                    <a:lnTo>
                      <a:pt x="440" y="40"/>
                    </a:lnTo>
                    <a:lnTo>
                      <a:pt x="472" y="112"/>
                    </a:lnTo>
                    <a:lnTo>
                      <a:pt x="440" y="128"/>
                    </a:lnTo>
                    <a:lnTo>
                      <a:pt x="464" y="168"/>
                    </a:lnTo>
                    <a:lnTo>
                      <a:pt x="456" y="240"/>
                    </a:lnTo>
                    <a:lnTo>
                      <a:pt x="512" y="256"/>
                    </a:lnTo>
                    <a:lnTo>
                      <a:pt x="536" y="304"/>
                    </a:lnTo>
                    <a:lnTo>
                      <a:pt x="624" y="336"/>
                    </a:lnTo>
                    <a:lnTo>
                      <a:pt x="704" y="392"/>
                    </a:lnTo>
                    <a:lnTo>
                      <a:pt x="616" y="424"/>
                    </a:lnTo>
                    <a:lnTo>
                      <a:pt x="552" y="472"/>
                    </a:lnTo>
                    <a:lnTo>
                      <a:pt x="552" y="504"/>
                    </a:lnTo>
                    <a:lnTo>
                      <a:pt x="584" y="512"/>
                    </a:lnTo>
                    <a:lnTo>
                      <a:pt x="552" y="544"/>
                    </a:lnTo>
                    <a:lnTo>
                      <a:pt x="520" y="600"/>
                    </a:lnTo>
                    <a:lnTo>
                      <a:pt x="528" y="680"/>
                    </a:lnTo>
                    <a:lnTo>
                      <a:pt x="488" y="672"/>
                    </a:lnTo>
                    <a:lnTo>
                      <a:pt x="464" y="712"/>
                    </a:lnTo>
                    <a:lnTo>
                      <a:pt x="416" y="704"/>
                    </a:lnTo>
                    <a:lnTo>
                      <a:pt x="392" y="680"/>
                    </a:lnTo>
                    <a:lnTo>
                      <a:pt x="368" y="664"/>
                    </a:lnTo>
                    <a:lnTo>
                      <a:pt x="352" y="640"/>
                    </a:lnTo>
                    <a:lnTo>
                      <a:pt x="304" y="632"/>
                    </a:lnTo>
                    <a:lnTo>
                      <a:pt x="304" y="576"/>
                    </a:lnTo>
                    <a:lnTo>
                      <a:pt x="264" y="568"/>
                    </a:lnTo>
                    <a:lnTo>
                      <a:pt x="240" y="520"/>
                    </a:lnTo>
                    <a:lnTo>
                      <a:pt x="232" y="480"/>
                    </a:lnTo>
                    <a:lnTo>
                      <a:pt x="200" y="456"/>
                    </a:lnTo>
                    <a:lnTo>
                      <a:pt x="224" y="432"/>
                    </a:lnTo>
                    <a:lnTo>
                      <a:pt x="248" y="432"/>
                    </a:lnTo>
                    <a:lnTo>
                      <a:pt x="264" y="392"/>
                    </a:lnTo>
                    <a:lnTo>
                      <a:pt x="304" y="392"/>
                    </a:lnTo>
                    <a:lnTo>
                      <a:pt x="344" y="416"/>
                    </a:lnTo>
                    <a:lnTo>
                      <a:pt x="360" y="392"/>
                    </a:lnTo>
                    <a:lnTo>
                      <a:pt x="344" y="360"/>
                    </a:lnTo>
                    <a:lnTo>
                      <a:pt x="320" y="352"/>
                    </a:lnTo>
                    <a:lnTo>
                      <a:pt x="288" y="344"/>
                    </a:lnTo>
                    <a:lnTo>
                      <a:pt x="240" y="312"/>
                    </a:lnTo>
                    <a:lnTo>
                      <a:pt x="216" y="280"/>
                    </a:lnTo>
                    <a:lnTo>
                      <a:pt x="192" y="296"/>
                    </a:lnTo>
                    <a:lnTo>
                      <a:pt x="168" y="312"/>
                    </a:lnTo>
                    <a:lnTo>
                      <a:pt x="144" y="312"/>
                    </a:lnTo>
                    <a:lnTo>
                      <a:pt x="112" y="368"/>
                    </a:lnTo>
                    <a:lnTo>
                      <a:pt x="80" y="440"/>
                    </a:lnTo>
                    <a:lnTo>
                      <a:pt x="48" y="448"/>
                    </a:lnTo>
                    <a:lnTo>
                      <a:pt x="16" y="416"/>
                    </a:lnTo>
                    <a:lnTo>
                      <a:pt x="32" y="392"/>
                    </a:lnTo>
                    <a:lnTo>
                      <a:pt x="0" y="384"/>
                    </a:lnTo>
                    <a:lnTo>
                      <a:pt x="8" y="360"/>
                    </a:lnTo>
                    <a:lnTo>
                      <a:pt x="40" y="352"/>
                    </a:lnTo>
                    <a:lnTo>
                      <a:pt x="56" y="384"/>
                    </a:lnTo>
                    <a:lnTo>
                      <a:pt x="80" y="360"/>
                    </a:lnTo>
                    <a:lnTo>
                      <a:pt x="64" y="296"/>
                    </a:lnTo>
                    <a:lnTo>
                      <a:pt x="104" y="256"/>
                    </a:lnTo>
                    <a:lnTo>
                      <a:pt x="104" y="208"/>
                    </a:lnTo>
                    <a:lnTo>
                      <a:pt x="136" y="208"/>
                    </a:lnTo>
                    <a:lnTo>
                      <a:pt x="168" y="256"/>
                    </a:lnTo>
                    <a:lnTo>
                      <a:pt x="208" y="248"/>
                    </a:lnTo>
                    <a:lnTo>
                      <a:pt x="240" y="168"/>
                    </a:lnTo>
                    <a:lnTo>
                      <a:pt x="304" y="56"/>
                    </a:lnTo>
                    <a:lnTo>
                      <a:pt x="376" y="0"/>
                    </a:lnTo>
                    <a:close/>
                  </a:path>
                </a:pathLst>
              </a:custGeom>
              <a:solidFill>
                <a:srgbClr val="9950A8"/>
              </a:solidFill>
              <a:ln w="9525">
                <a:solidFill>
                  <a:schemeClr val="bg1"/>
                </a:solidFill>
                <a:round/>
                <a:headEnd/>
                <a:tailEnd/>
              </a:ln>
            </p:spPr>
            <p:txBody>
              <a:bodyPr/>
              <a:lstStyle/>
              <a:p>
                <a:endParaRPr lang="en-US" sz="1050"/>
              </a:p>
            </p:txBody>
          </p:sp>
          <p:sp>
            <p:nvSpPr>
              <p:cNvPr id="138" name="Freeform 137"/>
              <p:cNvSpPr>
                <a:spLocks/>
              </p:cNvSpPr>
              <p:nvPr/>
            </p:nvSpPr>
            <p:spPr bwMode="auto">
              <a:xfrm>
                <a:off x="3628248" y="5098804"/>
                <a:ext cx="857981" cy="772082"/>
              </a:xfrm>
              <a:custGeom>
                <a:avLst/>
                <a:gdLst>
                  <a:gd name="T0" fmla="*/ 2147483646 w 728"/>
                  <a:gd name="T1" fmla="*/ 2147483646 h 712"/>
                  <a:gd name="T2" fmla="*/ 2147483646 w 728"/>
                  <a:gd name="T3" fmla="*/ 2147483646 h 712"/>
                  <a:gd name="T4" fmla="*/ 2147483646 w 728"/>
                  <a:gd name="T5" fmla="*/ 2147483646 h 712"/>
                  <a:gd name="T6" fmla="*/ 2147483646 w 728"/>
                  <a:gd name="T7" fmla="*/ 2147483646 h 712"/>
                  <a:gd name="T8" fmla="*/ 2147483646 w 728"/>
                  <a:gd name="T9" fmla="*/ 2147483646 h 712"/>
                  <a:gd name="T10" fmla="*/ 2147483646 w 728"/>
                  <a:gd name="T11" fmla="*/ 2147483646 h 712"/>
                  <a:gd name="T12" fmla="*/ 2147483646 w 728"/>
                  <a:gd name="T13" fmla="*/ 2147483646 h 712"/>
                  <a:gd name="T14" fmla="*/ 2147483646 w 728"/>
                  <a:gd name="T15" fmla="*/ 2147483646 h 712"/>
                  <a:gd name="T16" fmla="*/ 2147483646 w 728"/>
                  <a:gd name="T17" fmla="*/ 2147483646 h 712"/>
                  <a:gd name="T18" fmla="*/ 2147483646 w 728"/>
                  <a:gd name="T19" fmla="*/ 2147483646 h 712"/>
                  <a:gd name="T20" fmla="*/ 2147483646 w 728"/>
                  <a:gd name="T21" fmla="*/ 2147483646 h 712"/>
                  <a:gd name="T22" fmla="*/ 2147483646 w 728"/>
                  <a:gd name="T23" fmla="*/ 2147483646 h 712"/>
                  <a:gd name="T24" fmla="*/ 2147483646 w 728"/>
                  <a:gd name="T25" fmla="*/ 2147483646 h 712"/>
                  <a:gd name="T26" fmla="*/ 2147483646 w 728"/>
                  <a:gd name="T27" fmla="*/ 0 h 712"/>
                  <a:gd name="T28" fmla="*/ 2147483646 w 728"/>
                  <a:gd name="T29" fmla="*/ 2147483646 h 712"/>
                  <a:gd name="T30" fmla="*/ 2147483646 w 728"/>
                  <a:gd name="T31" fmla="*/ 2147483646 h 712"/>
                  <a:gd name="T32" fmla="*/ 2147483646 w 728"/>
                  <a:gd name="T33" fmla="*/ 2147483646 h 712"/>
                  <a:gd name="T34" fmla="*/ 2147483646 w 728"/>
                  <a:gd name="T35" fmla="*/ 2147483646 h 712"/>
                  <a:gd name="T36" fmla="*/ 2147483646 w 728"/>
                  <a:gd name="T37" fmla="*/ 2147483646 h 712"/>
                  <a:gd name="T38" fmla="*/ 2147483646 w 728"/>
                  <a:gd name="T39" fmla="*/ 2147483646 h 712"/>
                  <a:gd name="T40" fmla="*/ 2147483646 w 728"/>
                  <a:gd name="T41" fmla="*/ 2147483646 h 712"/>
                  <a:gd name="T42" fmla="*/ 2147483646 w 728"/>
                  <a:gd name="T43" fmla="*/ 2147483646 h 712"/>
                  <a:gd name="T44" fmla="*/ 2147483646 w 728"/>
                  <a:gd name="T45" fmla="*/ 2147483646 h 712"/>
                  <a:gd name="T46" fmla="*/ 2147483646 w 728"/>
                  <a:gd name="T47" fmla="*/ 2147483646 h 712"/>
                  <a:gd name="T48" fmla="*/ 2147483646 w 728"/>
                  <a:gd name="T49" fmla="*/ 2147483646 h 712"/>
                  <a:gd name="T50" fmla="*/ 2147483646 w 728"/>
                  <a:gd name="T51" fmla="*/ 2147483646 h 712"/>
                  <a:gd name="T52" fmla="*/ 2147483646 w 728"/>
                  <a:gd name="T53" fmla="*/ 2147483646 h 712"/>
                  <a:gd name="T54" fmla="*/ 2147483646 w 728"/>
                  <a:gd name="T55" fmla="*/ 2147483646 h 712"/>
                  <a:gd name="T56" fmla="*/ 2147483646 w 728"/>
                  <a:gd name="T57" fmla="*/ 2147483646 h 712"/>
                  <a:gd name="T58" fmla="*/ 2147483646 w 728"/>
                  <a:gd name="T59" fmla="*/ 2147483646 h 712"/>
                  <a:gd name="T60" fmla="*/ 2147483646 w 728"/>
                  <a:gd name="T61" fmla="*/ 2147483646 h 712"/>
                  <a:gd name="T62" fmla="*/ 2147483646 w 728"/>
                  <a:gd name="T63" fmla="*/ 2147483646 h 712"/>
                  <a:gd name="T64" fmla="*/ 2147483646 w 728"/>
                  <a:gd name="T65" fmla="*/ 2147483646 h 712"/>
                  <a:gd name="T66" fmla="*/ 2147483646 w 728"/>
                  <a:gd name="T67" fmla="*/ 2147483646 h 712"/>
                  <a:gd name="T68" fmla="*/ 2147483646 w 728"/>
                  <a:gd name="T69" fmla="*/ 2147483646 h 712"/>
                  <a:gd name="T70" fmla="*/ 2147483646 w 728"/>
                  <a:gd name="T71" fmla="*/ 2147483646 h 712"/>
                  <a:gd name="T72" fmla="*/ 2147483646 w 728"/>
                  <a:gd name="T73" fmla="*/ 2147483646 h 712"/>
                  <a:gd name="T74" fmla="*/ 2147483646 w 728"/>
                  <a:gd name="T75" fmla="*/ 2147483646 h 712"/>
                  <a:gd name="T76" fmla="*/ 2147483646 w 728"/>
                  <a:gd name="T77" fmla="*/ 2147483646 h 712"/>
                  <a:gd name="T78" fmla="*/ 2147483646 w 728"/>
                  <a:gd name="T79" fmla="*/ 2147483646 h 712"/>
                  <a:gd name="T80" fmla="*/ 2147483646 w 728"/>
                  <a:gd name="T81" fmla="*/ 2147483646 h 712"/>
                  <a:gd name="T82" fmla="*/ 2147483646 w 728"/>
                  <a:gd name="T83" fmla="*/ 2147483646 h 712"/>
                  <a:gd name="T84" fmla="*/ 2147483646 w 728"/>
                  <a:gd name="T85" fmla="*/ 2147483646 h 712"/>
                  <a:gd name="T86" fmla="*/ 2147483646 w 728"/>
                  <a:gd name="T87" fmla="*/ 2147483646 h 712"/>
                  <a:gd name="T88" fmla="*/ 2147483646 w 728"/>
                  <a:gd name="T89" fmla="*/ 2147483646 h 712"/>
                  <a:gd name="T90" fmla="*/ 2147483646 w 728"/>
                  <a:gd name="T91" fmla="*/ 2147483646 h 712"/>
                  <a:gd name="T92" fmla="*/ 2147483646 w 728"/>
                  <a:gd name="T93" fmla="*/ 2147483646 h 712"/>
                  <a:gd name="T94" fmla="*/ 2147483646 w 728"/>
                  <a:gd name="T95" fmla="*/ 2147483646 h 712"/>
                  <a:gd name="T96" fmla="*/ 0 w 728"/>
                  <a:gd name="T97" fmla="*/ 2147483646 h 712"/>
                  <a:gd name="T98" fmla="*/ 2147483646 w 728"/>
                  <a:gd name="T99" fmla="*/ 2147483646 h 712"/>
                  <a:gd name="T100" fmla="*/ 2147483646 w 728"/>
                  <a:gd name="T101" fmla="*/ 2147483646 h 712"/>
                  <a:gd name="T102" fmla="*/ 2147483646 w 728"/>
                  <a:gd name="T103" fmla="*/ 2147483646 h 712"/>
                  <a:gd name="T104" fmla="*/ 2147483646 w 728"/>
                  <a:gd name="T105" fmla="*/ 2147483646 h 712"/>
                  <a:gd name="T106" fmla="*/ 2147483646 w 728"/>
                  <a:gd name="T107" fmla="*/ 2147483646 h 712"/>
                  <a:gd name="T108" fmla="*/ 2147483646 w 728"/>
                  <a:gd name="T109" fmla="*/ 2147483646 h 712"/>
                  <a:gd name="T110" fmla="*/ 2147483646 w 728"/>
                  <a:gd name="T111" fmla="*/ 2147483646 h 7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12"/>
                  <a:gd name="T170" fmla="*/ 728 w 728"/>
                  <a:gd name="T171" fmla="*/ 712 h 7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12">
                    <a:moveTo>
                      <a:pt x="104" y="432"/>
                    </a:moveTo>
                    <a:lnTo>
                      <a:pt x="128" y="392"/>
                    </a:lnTo>
                    <a:lnTo>
                      <a:pt x="168" y="400"/>
                    </a:lnTo>
                    <a:lnTo>
                      <a:pt x="160" y="320"/>
                    </a:lnTo>
                    <a:lnTo>
                      <a:pt x="192" y="264"/>
                    </a:lnTo>
                    <a:lnTo>
                      <a:pt x="224" y="232"/>
                    </a:lnTo>
                    <a:lnTo>
                      <a:pt x="192" y="224"/>
                    </a:lnTo>
                    <a:lnTo>
                      <a:pt x="192" y="192"/>
                    </a:lnTo>
                    <a:lnTo>
                      <a:pt x="256" y="144"/>
                    </a:lnTo>
                    <a:lnTo>
                      <a:pt x="344" y="112"/>
                    </a:lnTo>
                    <a:lnTo>
                      <a:pt x="384" y="88"/>
                    </a:lnTo>
                    <a:lnTo>
                      <a:pt x="456" y="96"/>
                    </a:lnTo>
                    <a:lnTo>
                      <a:pt x="480" y="8"/>
                    </a:lnTo>
                    <a:lnTo>
                      <a:pt x="512" y="0"/>
                    </a:lnTo>
                    <a:lnTo>
                      <a:pt x="520" y="56"/>
                    </a:lnTo>
                    <a:lnTo>
                      <a:pt x="560" y="72"/>
                    </a:lnTo>
                    <a:lnTo>
                      <a:pt x="576" y="136"/>
                    </a:lnTo>
                    <a:lnTo>
                      <a:pt x="528" y="184"/>
                    </a:lnTo>
                    <a:lnTo>
                      <a:pt x="592" y="216"/>
                    </a:lnTo>
                    <a:lnTo>
                      <a:pt x="608" y="272"/>
                    </a:lnTo>
                    <a:lnTo>
                      <a:pt x="664" y="288"/>
                    </a:lnTo>
                    <a:lnTo>
                      <a:pt x="704" y="344"/>
                    </a:lnTo>
                    <a:lnTo>
                      <a:pt x="696" y="408"/>
                    </a:lnTo>
                    <a:lnTo>
                      <a:pt x="728" y="432"/>
                    </a:lnTo>
                    <a:lnTo>
                      <a:pt x="688" y="448"/>
                    </a:lnTo>
                    <a:lnTo>
                      <a:pt x="680" y="488"/>
                    </a:lnTo>
                    <a:lnTo>
                      <a:pt x="712" y="520"/>
                    </a:lnTo>
                    <a:lnTo>
                      <a:pt x="688" y="544"/>
                    </a:lnTo>
                    <a:lnTo>
                      <a:pt x="704" y="576"/>
                    </a:lnTo>
                    <a:lnTo>
                      <a:pt x="672" y="584"/>
                    </a:lnTo>
                    <a:lnTo>
                      <a:pt x="680" y="624"/>
                    </a:lnTo>
                    <a:lnTo>
                      <a:pt x="648" y="632"/>
                    </a:lnTo>
                    <a:lnTo>
                      <a:pt x="640" y="712"/>
                    </a:lnTo>
                    <a:lnTo>
                      <a:pt x="592" y="688"/>
                    </a:lnTo>
                    <a:lnTo>
                      <a:pt x="560" y="672"/>
                    </a:lnTo>
                    <a:lnTo>
                      <a:pt x="528" y="672"/>
                    </a:lnTo>
                    <a:lnTo>
                      <a:pt x="504" y="656"/>
                    </a:lnTo>
                    <a:lnTo>
                      <a:pt x="456" y="648"/>
                    </a:lnTo>
                    <a:lnTo>
                      <a:pt x="424" y="624"/>
                    </a:lnTo>
                    <a:lnTo>
                      <a:pt x="384" y="640"/>
                    </a:lnTo>
                    <a:lnTo>
                      <a:pt x="360" y="624"/>
                    </a:lnTo>
                    <a:lnTo>
                      <a:pt x="320" y="608"/>
                    </a:lnTo>
                    <a:lnTo>
                      <a:pt x="288" y="600"/>
                    </a:lnTo>
                    <a:lnTo>
                      <a:pt x="240" y="600"/>
                    </a:lnTo>
                    <a:lnTo>
                      <a:pt x="200" y="616"/>
                    </a:lnTo>
                    <a:lnTo>
                      <a:pt x="144" y="624"/>
                    </a:lnTo>
                    <a:lnTo>
                      <a:pt x="88" y="616"/>
                    </a:lnTo>
                    <a:lnTo>
                      <a:pt x="40" y="608"/>
                    </a:lnTo>
                    <a:lnTo>
                      <a:pt x="0" y="576"/>
                    </a:lnTo>
                    <a:lnTo>
                      <a:pt x="16" y="536"/>
                    </a:lnTo>
                    <a:lnTo>
                      <a:pt x="24" y="512"/>
                    </a:lnTo>
                    <a:lnTo>
                      <a:pt x="32" y="488"/>
                    </a:lnTo>
                    <a:lnTo>
                      <a:pt x="80" y="480"/>
                    </a:lnTo>
                    <a:lnTo>
                      <a:pt x="120" y="464"/>
                    </a:lnTo>
                    <a:lnTo>
                      <a:pt x="120" y="440"/>
                    </a:lnTo>
                    <a:lnTo>
                      <a:pt x="104" y="432"/>
                    </a:lnTo>
                    <a:close/>
                  </a:path>
                </a:pathLst>
              </a:custGeom>
              <a:solidFill>
                <a:srgbClr val="C6CFEB"/>
              </a:solidFill>
              <a:ln w="9525">
                <a:solidFill>
                  <a:schemeClr val="bg1"/>
                </a:solidFill>
                <a:round/>
                <a:headEnd/>
                <a:tailEnd/>
              </a:ln>
            </p:spPr>
            <p:txBody>
              <a:bodyPr/>
              <a:lstStyle/>
              <a:p>
                <a:endParaRPr lang="en-US" sz="1050"/>
              </a:p>
            </p:txBody>
          </p:sp>
          <p:sp>
            <p:nvSpPr>
              <p:cNvPr id="139" name="Freeform 138"/>
              <p:cNvSpPr>
                <a:spLocks/>
              </p:cNvSpPr>
              <p:nvPr/>
            </p:nvSpPr>
            <p:spPr bwMode="auto">
              <a:xfrm>
                <a:off x="2855123" y="4378773"/>
                <a:ext cx="810839" cy="832807"/>
              </a:xfrm>
              <a:custGeom>
                <a:avLst/>
                <a:gdLst>
                  <a:gd name="T0" fmla="*/ 2147483646 w 688"/>
                  <a:gd name="T1" fmla="*/ 2147483646 h 768"/>
                  <a:gd name="T2" fmla="*/ 2147483646 w 688"/>
                  <a:gd name="T3" fmla="*/ 2147483646 h 768"/>
                  <a:gd name="T4" fmla="*/ 2147483646 w 688"/>
                  <a:gd name="T5" fmla="*/ 2147483646 h 768"/>
                  <a:gd name="T6" fmla="*/ 2147483646 w 688"/>
                  <a:gd name="T7" fmla="*/ 2147483646 h 768"/>
                  <a:gd name="T8" fmla="*/ 2147483646 w 688"/>
                  <a:gd name="T9" fmla="*/ 2147483646 h 768"/>
                  <a:gd name="T10" fmla="*/ 2147483646 w 688"/>
                  <a:gd name="T11" fmla="*/ 2147483646 h 768"/>
                  <a:gd name="T12" fmla="*/ 2147483646 w 688"/>
                  <a:gd name="T13" fmla="*/ 2147483646 h 768"/>
                  <a:gd name="T14" fmla="*/ 2147483646 w 688"/>
                  <a:gd name="T15" fmla="*/ 2147483646 h 768"/>
                  <a:gd name="T16" fmla="*/ 2147483646 w 688"/>
                  <a:gd name="T17" fmla="*/ 2147483646 h 768"/>
                  <a:gd name="T18" fmla="*/ 2147483646 w 688"/>
                  <a:gd name="T19" fmla="*/ 2147483646 h 768"/>
                  <a:gd name="T20" fmla="*/ 2147483646 w 688"/>
                  <a:gd name="T21" fmla="*/ 2147483646 h 768"/>
                  <a:gd name="T22" fmla="*/ 2147483646 w 688"/>
                  <a:gd name="T23" fmla="*/ 2147483646 h 768"/>
                  <a:gd name="T24" fmla="*/ 2147483646 w 688"/>
                  <a:gd name="T25" fmla="*/ 2147483646 h 768"/>
                  <a:gd name="T26" fmla="*/ 2147483646 w 688"/>
                  <a:gd name="T27" fmla="*/ 2147483646 h 768"/>
                  <a:gd name="T28" fmla="*/ 2147483646 w 688"/>
                  <a:gd name="T29" fmla="*/ 2147483646 h 768"/>
                  <a:gd name="T30" fmla="*/ 2147483646 w 688"/>
                  <a:gd name="T31" fmla="*/ 2147483646 h 768"/>
                  <a:gd name="T32" fmla="*/ 2147483646 w 688"/>
                  <a:gd name="T33" fmla="*/ 2147483646 h 768"/>
                  <a:gd name="T34" fmla="*/ 2147483646 w 688"/>
                  <a:gd name="T35" fmla="*/ 2147483646 h 768"/>
                  <a:gd name="T36" fmla="*/ 2147483646 w 688"/>
                  <a:gd name="T37" fmla="*/ 2147483646 h 768"/>
                  <a:gd name="T38" fmla="*/ 2147483646 w 688"/>
                  <a:gd name="T39" fmla="*/ 2147483646 h 768"/>
                  <a:gd name="T40" fmla="*/ 2147483646 w 688"/>
                  <a:gd name="T41" fmla="*/ 2147483646 h 768"/>
                  <a:gd name="T42" fmla="*/ 2147483646 w 688"/>
                  <a:gd name="T43" fmla="*/ 2147483646 h 768"/>
                  <a:gd name="T44" fmla="*/ 2147483646 w 688"/>
                  <a:gd name="T45" fmla="*/ 0 h 768"/>
                  <a:gd name="T46" fmla="*/ 2147483646 w 688"/>
                  <a:gd name="T47" fmla="*/ 2147483646 h 768"/>
                  <a:gd name="T48" fmla="*/ 2147483646 w 688"/>
                  <a:gd name="T49" fmla="*/ 2147483646 h 768"/>
                  <a:gd name="T50" fmla="*/ 2147483646 w 688"/>
                  <a:gd name="T51" fmla="*/ 2147483646 h 768"/>
                  <a:gd name="T52" fmla="*/ 2147483646 w 688"/>
                  <a:gd name="T53" fmla="*/ 2147483646 h 768"/>
                  <a:gd name="T54" fmla="*/ 2147483646 w 688"/>
                  <a:gd name="T55" fmla="*/ 2147483646 h 768"/>
                  <a:gd name="T56" fmla="*/ 2147483646 w 688"/>
                  <a:gd name="T57" fmla="*/ 2147483646 h 768"/>
                  <a:gd name="T58" fmla="*/ 2147483646 w 688"/>
                  <a:gd name="T59" fmla="*/ 2147483646 h 768"/>
                  <a:gd name="T60" fmla="*/ 2147483646 w 688"/>
                  <a:gd name="T61" fmla="*/ 2147483646 h 768"/>
                  <a:gd name="T62" fmla="*/ 2147483646 w 688"/>
                  <a:gd name="T63" fmla="*/ 2147483646 h 768"/>
                  <a:gd name="T64" fmla="*/ 2147483646 w 688"/>
                  <a:gd name="T65" fmla="*/ 2147483646 h 768"/>
                  <a:gd name="T66" fmla="*/ 2147483646 w 688"/>
                  <a:gd name="T67" fmla="*/ 2147483646 h 768"/>
                  <a:gd name="T68" fmla="*/ 2147483646 w 688"/>
                  <a:gd name="T69" fmla="*/ 2147483646 h 768"/>
                  <a:gd name="T70" fmla="*/ 2147483646 w 688"/>
                  <a:gd name="T71" fmla="*/ 2147483646 h 768"/>
                  <a:gd name="T72" fmla="*/ 2147483646 w 688"/>
                  <a:gd name="T73" fmla="*/ 2147483646 h 768"/>
                  <a:gd name="T74" fmla="*/ 2147483646 w 688"/>
                  <a:gd name="T75" fmla="*/ 2147483646 h 768"/>
                  <a:gd name="T76" fmla="*/ 2147483646 w 688"/>
                  <a:gd name="T77" fmla="*/ 2147483646 h 768"/>
                  <a:gd name="T78" fmla="*/ 2147483646 w 688"/>
                  <a:gd name="T79" fmla="*/ 2147483646 h 768"/>
                  <a:gd name="T80" fmla="*/ 2147483646 w 688"/>
                  <a:gd name="T81" fmla="*/ 2147483646 h 768"/>
                  <a:gd name="T82" fmla="*/ 2147483646 w 688"/>
                  <a:gd name="T83" fmla="*/ 2147483646 h 768"/>
                  <a:gd name="T84" fmla="*/ 2147483646 w 688"/>
                  <a:gd name="T85" fmla="*/ 2147483646 h 768"/>
                  <a:gd name="T86" fmla="*/ 2147483646 w 688"/>
                  <a:gd name="T87" fmla="*/ 2147483646 h 768"/>
                  <a:gd name="T88" fmla="*/ 2147483646 w 688"/>
                  <a:gd name="T89" fmla="*/ 2147483646 h 768"/>
                  <a:gd name="T90" fmla="*/ 2147483646 w 688"/>
                  <a:gd name="T91" fmla="*/ 2147483646 h 768"/>
                  <a:gd name="T92" fmla="*/ 2147483646 w 688"/>
                  <a:gd name="T93" fmla="*/ 2147483646 h 768"/>
                  <a:gd name="T94" fmla="*/ 2147483646 w 688"/>
                  <a:gd name="T95" fmla="*/ 2147483646 h 768"/>
                  <a:gd name="T96" fmla="*/ 0 w 688"/>
                  <a:gd name="T97" fmla="*/ 2147483646 h 768"/>
                  <a:gd name="T98" fmla="*/ 0 w 688"/>
                  <a:gd name="T99" fmla="*/ 2147483646 h 768"/>
                  <a:gd name="T100" fmla="*/ 2147483646 w 688"/>
                  <a:gd name="T101" fmla="*/ 2147483646 h 768"/>
                  <a:gd name="T102" fmla="*/ 2147483646 w 688"/>
                  <a:gd name="T103" fmla="*/ 2147483646 h 768"/>
                  <a:gd name="T104" fmla="*/ 2147483646 w 688"/>
                  <a:gd name="T105" fmla="*/ 2147483646 h 768"/>
                  <a:gd name="T106" fmla="*/ 2147483646 w 688"/>
                  <a:gd name="T107" fmla="*/ 2147483646 h 768"/>
                  <a:gd name="T108" fmla="*/ 2147483646 w 688"/>
                  <a:gd name="T109" fmla="*/ 2147483646 h 768"/>
                  <a:gd name="T110" fmla="*/ 2147483646 w 688"/>
                  <a:gd name="T111" fmla="*/ 2147483646 h 768"/>
                  <a:gd name="T112" fmla="*/ 2147483646 w 688"/>
                  <a:gd name="T113" fmla="*/ 2147483646 h 768"/>
                  <a:gd name="T114" fmla="*/ 2147483646 w 688"/>
                  <a:gd name="T115" fmla="*/ 2147483646 h 768"/>
                  <a:gd name="T116" fmla="*/ 2147483646 w 688"/>
                  <a:gd name="T117" fmla="*/ 2147483646 h 7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8"/>
                  <a:gd name="T178" fmla="*/ 0 h 768"/>
                  <a:gd name="T179" fmla="*/ 688 w 688"/>
                  <a:gd name="T180" fmla="*/ 768 h 7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8" h="768">
                    <a:moveTo>
                      <a:pt x="304" y="744"/>
                    </a:moveTo>
                    <a:lnTo>
                      <a:pt x="336" y="736"/>
                    </a:lnTo>
                    <a:lnTo>
                      <a:pt x="352" y="768"/>
                    </a:lnTo>
                    <a:lnTo>
                      <a:pt x="376" y="744"/>
                    </a:lnTo>
                    <a:lnTo>
                      <a:pt x="360" y="680"/>
                    </a:lnTo>
                    <a:lnTo>
                      <a:pt x="400" y="640"/>
                    </a:lnTo>
                    <a:lnTo>
                      <a:pt x="400" y="592"/>
                    </a:lnTo>
                    <a:lnTo>
                      <a:pt x="432" y="592"/>
                    </a:lnTo>
                    <a:lnTo>
                      <a:pt x="464" y="640"/>
                    </a:lnTo>
                    <a:lnTo>
                      <a:pt x="504" y="632"/>
                    </a:lnTo>
                    <a:lnTo>
                      <a:pt x="536" y="552"/>
                    </a:lnTo>
                    <a:lnTo>
                      <a:pt x="600" y="440"/>
                    </a:lnTo>
                    <a:lnTo>
                      <a:pt x="672" y="384"/>
                    </a:lnTo>
                    <a:lnTo>
                      <a:pt x="616" y="344"/>
                    </a:lnTo>
                    <a:lnTo>
                      <a:pt x="616" y="312"/>
                    </a:lnTo>
                    <a:lnTo>
                      <a:pt x="656" y="280"/>
                    </a:lnTo>
                    <a:lnTo>
                      <a:pt x="648" y="200"/>
                    </a:lnTo>
                    <a:lnTo>
                      <a:pt x="688" y="168"/>
                    </a:lnTo>
                    <a:lnTo>
                      <a:pt x="600" y="32"/>
                    </a:lnTo>
                    <a:lnTo>
                      <a:pt x="560" y="16"/>
                    </a:lnTo>
                    <a:lnTo>
                      <a:pt x="512" y="16"/>
                    </a:lnTo>
                    <a:lnTo>
                      <a:pt x="464" y="56"/>
                    </a:lnTo>
                    <a:lnTo>
                      <a:pt x="432" y="0"/>
                    </a:lnTo>
                    <a:lnTo>
                      <a:pt x="392" y="64"/>
                    </a:lnTo>
                    <a:lnTo>
                      <a:pt x="360" y="72"/>
                    </a:lnTo>
                    <a:lnTo>
                      <a:pt x="360" y="120"/>
                    </a:lnTo>
                    <a:lnTo>
                      <a:pt x="320" y="128"/>
                    </a:lnTo>
                    <a:lnTo>
                      <a:pt x="192" y="64"/>
                    </a:lnTo>
                    <a:lnTo>
                      <a:pt x="144" y="80"/>
                    </a:lnTo>
                    <a:lnTo>
                      <a:pt x="128" y="136"/>
                    </a:lnTo>
                    <a:lnTo>
                      <a:pt x="80" y="152"/>
                    </a:lnTo>
                    <a:lnTo>
                      <a:pt x="112" y="184"/>
                    </a:lnTo>
                    <a:lnTo>
                      <a:pt x="72" y="208"/>
                    </a:lnTo>
                    <a:lnTo>
                      <a:pt x="112" y="264"/>
                    </a:lnTo>
                    <a:lnTo>
                      <a:pt x="96" y="304"/>
                    </a:lnTo>
                    <a:lnTo>
                      <a:pt x="64" y="336"/>
                    </a:lnTo>
                    <a:lnTo>
                      <a:pt x="72" y="360"/>
                    </a:lnTo>
                    <a:lnTo>
                      <a:pt x="64" y="376"/>
                    </a:lnTo>
                    <a:lnTo>
                      <a:pt x="48" y="384"/>
                    </a:lnTo>
                    <a:lnTo>
                      <a:pt x="48" y="408"/>
                    </a:lnTo>
                    <a:lnTo>
                      <a:pt x="40" y="440"/>
                    </a:lnTo>
                    <a:lnTo>
                      <a:pt x="8" y="440"/>
                    </a:lnTo>
                    <a:lnTo>
                      <a:pt x="8" y="472"/>
                    </a:lnTo>
                    <a:lnTo>
                      <a:pt x="24" y="472"/>
                    </a:lnTo>
                    <a:lnTo>
                      <a:pt x="64" y="496"/>
                    </a:lnTo>
                    <a:lnTo>
                      <a:pt x="80" y="512"/>
                    </a:lnTo>
                    <a:lnTo>
                      <a:pt x="80" y="536"/>
                    </a:lnTo>
                    <a:lnTo>
                      <a:pt x="48" y="544"/>
                    </a:lnTo>
                    <a:lnTo>
                      <a:pt x="0" y="544"/>
                    </a:lnTo>
                    <a:lnTo>
                      <a:pt x="0" y="568"/>
                    </a:lnTo>
                    <a:lnTo>
                      <a:pt x="16" y="600"/>
                    </a:lnTo>
                    <a:lnTo>
                      <a:pt x="64" y="608"/>
                    </a:lnTo>
                    <a:lnTo>
                      <a:pt x="96" y="616"/>
                    </a:lnTo>
                    <a:lnTo>
                      <a:pt x="112" y="672"/>
                    </a:lnTo>
                    <a:lnTo>
                      <a:pt x="144" y="696"/>
                    </a:lnTo>
                    <a:lnTo>
                      <a:pt x="192" y="688"/>
                    </a:lnTo>
                    <a:lnTo>
                      <a:pt x="240" y="712"/>
                    </a:lnTo>
                    <a:lnTo>
                      <a:pt x="288" y="720"/>
                    </a:lnTo>
                    <a:lnTo>
                      <a:pt x="304" y="744"/>
                    </a:lnTo>
                    <a:close/>
                  </a:path>
                </a:pathLst>
              </a:custGeom>
              <a:solidFill>
                <a:srgbClr val="4670F8"/>
              </a:solidFill>
              <a:ln w="9525">
                <a:solidFill>
                  <a:schemeClr val="bg1"/>
                </a:solidFill>
                <a:round/>
                <a:headEnd/>
                <a:tailEnd/>
              </a:ln>
            </p:spPr>
            <p:txBody>
              <a:bodyPr/>
              <a:lstStyle/>
              <a:p>
                <a:endParaRPr lang="en-US" sz="1050"/>
              </a:p>
            </p:txBody>
          </p:sp>
          <p:sp>
            <p:nvSpPr>
              <p:cNvPr id="140" name="Freeform 139"/>
              <p:cNvSpPr>
                <a:spLocks/>
              </p:cNvSpPr>
              <p:nvPr/>
            </p:nvSpPr>
            <p:spPr bwMode="auto">
              <a:xfrm>
                <a:off x="2298850" y="3988395"/>
                <a:ext cx="1272829" cy="754732"/>
              </a:xfrm>
              <a:custGeom>
                <a:avLst/>
                <a:gdLst>
                  <a:gd name="T0" fmla="*/ 2147483646 w 1080"/>
                  <a:gd name="T1" fmla="*/ 2147483646 h 696"/>
                  <a:gd name="T2" fmla="*/ 2147483646 w 1080"/>
                  <a:gd name="T3" fmla="*/ 2147483646 h 696"/>
                  <a:gd name="T4" fmla="*/ 2147483646 w 1080"/>
                  <a:gd name="T5" fmla="*/ 2147483646 h 696"/>
                  <a:gd name="T6" fmla="*/ 2147483646 w 1080"/>
                  <a:gd name="T7" fmla="*/ 2147483646 h 696"/>
                  <a:gd name="T8" fmla="*/ 2147483646 w 1080"/>
                  <a:gd name="T9" fmla="*/ 2147483646 h 696"/>
                  <a:gd name="T10" fmla="*/ 2147483646 w 1080"/>
                  <a:gd name="T11" fmla="*/ 2147483646 h 696"/>
                  <a:gd name="T12" fmla="*/ 2147483646 w 1080"/>
                  <a:gd name="T13" fmla="*/ 2147483646 h 696"/>
                  <a:gd name="T14" fmla="*/ 2147483646 w 1080"/>
                  <a:gd name="T15" fmla="*/ 2147483646 h 696"/>
                  <a:gd name="T16" fmla="*/ 2147483646 w 1080"/>
                  <a:gd name="T17" fmla="*/ 2147483646 h 696"/>
                  <a:gd name="T18" fmla="*/ 2147483646 w 1080"/>
                  <a:gd name="T19" fmla="*/ 2147483646 h 696"/>
                  <a:gd name="T20" fmla="*/ 2147483646 w 1080"/>
                  <a:gd name="T21" fmla="*/ 2147483646 h 696"/>
                  <a:gd name="T22" fmla="*/ 2147483646 w 1080"/>
                  <a:gd name="T23" fmla="*/ 2147483646 h 696"/>
                  <a:gd name="T24" fmla="*/ 2147483646 w 1080"/>
                  <a:gd name="T25" fmla="*/ 2147483646 h 696"/>
                  <a:gd name="T26" fmla="*/ 2147483646 w 1080"/>
                  <a:gd name="T27" fmla="*/ 2147483646 h 696"/>
                  <a:gd name="T28" fmla="*/ 2147483646 w 1080"/>
                  <a:gd name="T29" fmla="*/ 2147483646 h 696"/>
                  <a:gd name="T30" fmla="*/ 2147483646 w 1080"/>
                  <a:gd name="T31" fmla="*/ 2147483646 h 696"/>
                  <a:gd name="T32" fmla="*/ 2147483646 w 1080"/>
                  <a:gd name="T33" fmla="*/ 2147483646 h 696"/>
                  <a:gd name="T34" fmla="*/ 2147483646 w 1080"/>
                  <a:gd name="T35" fmla="*/ 2147483646 h 696"/>
                  <a:gd name="T36" fmla="*/ 2147483646 w 1080"/>
                  <a:gd name="T37" fmla="*/ 2147483646 h 696"/>
                  <a:gd name="T38" fmla="*/ 2147483646 w 1080"/>
                  <a:gd name="T39" fmla="*/ 2147483646 h 696"/>
                  <a:gd name="T40" fmla="*/ 2147483646 w 1080"/>
                  <a:gd name="T41" fmla="*/ 2147483646 h 696"/>
                  <a:gd name="T42" fmla="*/ 2147483646 w 1080"/>
                  <a:gd name="T43" fmla="*/ 0 h 696"/>
                  <a:gd name="T44" fmla="*/ 2147483646 w 1080"/>
                  <a:gd name="T45" fmla="*/ 2147483646 h 696"/>
                  <a:gd name="T46" fmla="*/ 2147483646 w 1080"/>
                  <a:gd name="T47" fmla="*/ 2147483646 h 696"/>
                  <a:gd name="T48" fmla="*/ 2147483646 w 1080"/>
                  <a:gd name="T49" fmla="*/ 2147483646 h 696"/>
                  <a:gd name="T50" fmla="*/ 2147483646 w 1080"/>
                  <a:gd name="T51" fmla="*/ 2147483646 h 696"/>
                  <a:gd name="T52" fmla="*/ 2147483646 w 1080"/>
                  <a:gd name="T53" fmla="*/ 2147483646 h 696"/>
                  <a:gd name="T54" fmla="*/ 2147483646 w 1080"/>
                  <a:gd name="T55" fmla="*/ 2147483646 h 696"/>
                  <a:gd name="T56" fmla="*/ 2147483646 w 1080"/>
                  <a:gd name="T57" fmla="*/ 2147483646 h 696"/>
                  <a:gd name="T58" fmla="*/ 2147483646 w 1080"/>
                  <a:gd name="T59" fmla="*/ 2147483646 h 696"/>
                  <a:gd name="T60" fmla="*/ 2147483646 w 1080"/>
                  <a:gd name="T61" fmla="*/ 2147483646 h 696"/>
                  <a:gd name="T62" fmla="*/ 2147483646 w 1080"/>
                  <a:gd name="T63" fmla="*/ 2147483646 h 696"/>
                  <a:gd name="T64" fmla="*/ 2147483646 w 1080"/>
                  <a:gd name="T65" fmla="*/ 2147483646 h 696"/>
                  <a:gd name="T66" fmla="*/ 2147483646 w 1080"/>
                  <a:gd name="T67" fmla="*/ 2147483646 h 696"/>
                  <a:gd name="T68" fmla="*/ 2147483646 w 1080"/>
                  <a:gd name="T69" fmla="*/ 2147483646 h 696"/>
                  <a:gd name="T70" fmla="*/ 2147483646 w 1080"/>
                  <a:gd name="T71" fmla="*/ 2147483646 h 696"/>
                  <a:gd name="T72" fmla="*/ 2147483646 w 1080"/>
                  <a:gd name="T73" fmla="*/ 2147483646 h 6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0"/>
                  <a:gd name="T112" fmla="*/ 0 h 696"/>
                  <a:gd name="T113" fmla="*/ 1080 w 1080"/>
                  <a:gd name="T114" fmla="*/ 696 h 6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0" h="696">
                    <a:moveTo>
                      <a:pt x="536" y="696"/>
                    </a:moveTo>
                    <a:lnTo>
                      <a:pt x="584" y="624"/>
                    </a:lnTo>
                    <a:lnTo>
                      <a:pt x="544" y="568"/>
                    </a:lnTo>
                    <a:lnTo>
                      <a:pt x="584" y="544"/>
                    </a:lnTo>
                    <a:lnTo>
                      <a:pt x="552" y="512"/>
                    </a:lnTo>
                    <a:lnTo>
                      <a:pt x="600" y="496"/>
                    </a:lnTo>
                    <a:lnTo>
                      <a:pt x="616" y="440"/>
                    </a:lnTo>
                    <a:lnTo>
                      <a:pt x="664" y="424"/>
                    </a:lnTo>
                    <a:lnTo>
                      <a:pt x="792" y="488"/>
                    </a:lnTo>
                    <a:lnTo>
                      <a:pt x="832" y="480"/>
                    </a:lnTo>
                    <a:lnTo>
                      <a:pt x="832" y="432"/>
                    </a:lnTo>
                    <a:lnTo>
                      <a:pt x="864" y="424"/>
                    </a:lnTo>
                    <a:lnTo>
                      <a:pt x="904" y="360"/>
                    </a:lnTo>
                    <a:lnTo>
                      <a:pt x="936" y="416"/>
                    </a:lnTo>
                    <a:lnTo>
                      <a:pt x="984" y="376"/>
                    </a:lnTo>
                    <a:lnTo>
                      <a:pt x="1032" y="376"/>
                    </a:lnTo>
                    <a:lnTo>
                      <a:pt x="1080" y="312"/>
                    </a:lnTo>
                    <a:lnTo>
                      <a:pt x="1048" y="256"/>
                    </a:lnTo>
                    <a:lnTo>
                      <a:pt x="1008" y="248"/>
                    </a:lnTo>
                    <a:lnTo>
                      <a:pt x="1008" y="200"/>
                    </a:lnTo>
                    <a:lnTo>
                      <a:pt x="976" y="192"/>
                    </a:lnTo>
                    <a:lnTo>
                      <a:pt x="912" y="232"/>
                    </a:lnTo>
                    <a:lnTo>
                      <a:pt x="840" y="176"/>
                    </a:lnTo>
                    <a:lnTo>
                      <a:pt x="784" y="192"/>
                    </a:lnTo>
                    <a:lnTo>
                      <a:pt x="752" y="160"/>
                    </a:lnTo>
                    <a:lnTo>
                      <a:pt x="720" y="208"/>
                    </a:lnTo>
                    <a:lnTo>
                      <a:pt x="688" y="208"/>
                    </a:lnTo>
                    <a:lnTo>
                      <a:pt x="672" y="168"/>
                    </a:lnTo>
                    <a:lnTo>
                      <a:pt x="624" y="184"/>
                    </a:lnTo>
                    <a:lnTo>
                      <a:pt x="592" y="120"/>
                    </a:lnTo>
                    <a:lnTo>
                      <a:pt x="568" y="120"/>
                    </a:lnTo>
                    <a:lnTo>
                      <a:pt x="552" y="160"/>
                    </a:lnTo>
                    <a:lnTo>
                      <a:pt x="488" y="168"/>
                    </a:lnTo>
                    <a:lnTo>
                      <a:pt x="464" y="152"/>
                    </a:lnTo>
                    <a:lnTo>
                      <a:pt x="432" y="152"/>
                    </a:lnTo>
                    <a:lnTo>
                      <a:pt x="408" y="104"/>
                    </a:lnTo>
                    <a:lnTo>
                      <a:pt x="352" y="120"/>
                    </a:lnTo>
                    <a:lnTo>
                      <a:pt x="280" y="24"/>
                    </a:lnTo>
                    <a:lnTo>
                      <a:pt x="216" y="8"/>
                    </a:lnTo>
                    <a:lnTo>
                      <a:pt x="192" y="32"/>
                    </a:lnTo>
                    <a:lnTo>
                      <a:pt x="176" y="40"/>
                    </a:lnTo>
                    <a:lnTo>
                      <a:pt x="160" y="32"/>
                    </a:lnTo>
                    <a:lnTo>
                      <a:pt x="144" y="8"/>
                    </a:lnTo>
                    <a:lnTo>
                      <a:pt x="112" y="0"/>
                    </a:lnTo>
                    <a:lnTo>
                      <a:pt x="104" y="24"/>
                    </a:lnTo>
                    <a:lnTo>
                      <a:pt x="72" y="24"/>
                    </a:lnTo>
                    <a:lnTo>
                      <a:pt x="48" y="8"/>
                    </a:lnTo>
                    <a:lnTo>
                      <a:pt x="16" y="24"/>
                    </a:lnTo>
                    <a:lnTo>
                      <a:pt x="0" y="32"/>
                    </a:lnTo>
                    <a:lnTo>
                      <a:pt x="24" y="80"/>
                    </a:lnTo>
                    <a:lnTo>
                      <a:pt x="40" y="128"/>
                    </a:lnTo>
                    <a:lnTo>
                      <a:pt x="72" y="152"/>
                    </a:lnTo>
                    <a:lnTo>
                      <a:pt x="96" y="176"/>
                    </a:lnTo>
                    <a:lnTo>
                      <a:pt x="128" y="192"/>
                    </a:lnTo>
                    <a:lnTo>
                      <a:pt x="160" y="224"/>
                    </a:lnTo>
                    <a:lnTo>
                      <a:pt x="176" y="264"/>
                    </a:lnTo>
                    <a:lnTo>
                      <a:pt x="200" y="304"/>
                    </a:lnTo>
                    <a:lnTo>
                      <a:pt x="224" y="296"/>
                    </a:lnTo>
                    <a:lnTo>
                      <a:pt x="240" y="304"/>
                    </a:lnTo>
                    <a:lnTo>
                      <a:pt x="232" y="360"/>
                    </a:lnTo>
                    <a:lnTo>
                      <a:pt x="216" y="384"/>
                    </a:lnTo>
                    <a:lnTo>
                      <a:pt x="216" y="416"/>
                    </a:lnTo>
                    <a:lnTo>
                      <a:pt x="240" y="440"/>
                    </a:lnTo>
                    <a:lnTo>
                      <a:pt x="232" y="456"/>
                    </a:lnTo>
                    <a:lnTo>
                      <a:pt x="216" y="472"/>
                    </a:lnTo>
                    <a:lnTo>
                      <a:pt x="248" y="488"/>
                    </a:lnTo>
                    <a:lnTo>
                      <a:pt x="280" y="536"/>
                    </a:lnTo>
                    <a:lnTo>
                      <a:pt x="312" y="584"/>
                    </a:lnTo>
                    <a:lnTo>
                      <a:pt x="360" y="608"/>
                    </a:lnTo>
                    <a:lnTo>
                      <a:pt x="384" y="600"/>
                    </a:lnTo>
                    <a:lnTo>
                      <a:pt x="408" y="640"/>
                    </a:lnTo>
                    <a:lnTo>
                      <a:pt x="464" y="672"/>
                    </a:lnTo>
                    <a:lnTo>
                      <a:pt x="512" y="688"/>
                    </a:lnTo>
                    <a:lnTo>
                      <a:pt x="536" y="696"/>
                    </a:lnTo>
                    <a:close/>
                  </a:path>
                </a:pathLst>
              </a:custGeom>
              <a:solidFill>
                <a:srgbClr val="C6B89B"/>
              </a:solidFill>
              <a:ln w="9525">
                <a:solidFill>
                  <a:schemeClr val="bg1"/>
                </a:solidFill>
                <a:round/>
                <a:headEnd/>
                <a:tailEnd/>
              </a:ln>
            </p:spPr>
            <p:txBody>
              <a:bodyPr/>
              <a:lstStyle/>
              <a:p>
                <a:endParaRPr lang="en-US" sz="1050"/>
              </a:p>
            </p:txBody>
          </p:sp>
          <p:sp>
            <p:nvSpPr>
              <p:cNvPr id="141" name="Freeform 140"/>
              <p:cNvSpPr>
                <a:spLocks/>
              </p:cNvSpPr>
              <p:nvPr/>
            </p:nvSpPr>
            <p:spPr bwMode="auto">
              <a:xfrm>
                <a:off x="2553416" y="3658742"/>
                <a:ext cx="1112547" cy="581230"/>
              </a:xfrm>
              <a:custGeom>
                <a:avLst/>
                <a:gdLst>
                  <a:gd name="T0" fmla="*/ 0 w 944"/>
                  <a:gd name="T1" fmla="*/ 2147483646 h 536"/>
                  <a:gd name="T2" fmla="*/ 2147483646 w 944"/>
                  <a:gd name="T3" fmla="*/ 2147483646 h 536"/>
                  <a:gd name="T4" fmla="*/ 2147483646 w 944"/>
                  <a:gd name="T5" fmla="*/ 2147483646 h 536"/>
                  <a:gd name="T6" fmla="*/ 2147483646 w 944"/>
                  <a:gd name="T7" fmla="*/ 2147483646 h 536"/>
                  <a:gd name="T8" fmla="*/ 2147483646 w 944"/>
                  <a:gd name="T9" fmla="*/ 2147483646 h 536"/>
                  <a:gd name="T10" fmla="*/ 2147483646 w 944"/>
                  <a:gd name="T11" fmla="*/ 2147483646 h 536"/>
                  <a:gd name="T12" fmla="*/ 2147483646 w 944"/>
                  <a:gd name="T13" fmla="*/ 2147483646 h 536"/>
                  <a:gd name="T14" fmla="*/ 2147483646 w 944"/>
                  <a:gd name="T15" fmla="*/ 2147483646 h 536"/>
                  <a:gd name="T16" fmla="*/ 2147483646 w 944"/>
                  <a:gd name="T17" fmla="*/ 2147483646 h 536"/>
                  <a:gd name="T18" fmla="*/ 2147483646 w 944"/>
                  <a:gd name="T19" fmla="*/ 2147483646 h 536"/>
                  <a:gd name="T20" fmla="*/ 2147483646 w 944"/>
                  <a:gd name="T21" fmla="*/ 2147483646 h 536"/>
                  <a:gd name="T22" fmla="*/ 2147483646 w 944"/>
                  <a:gd name="T23" fmla="*/ 2147483646 h 536"/>
                  <a:gd name="T24" fmla="*/ 2147483646 w 944"/>
                  <a:gd name="T25" fmla="*/ 2147483646 h 536"/>
                  <a:gd name="T26" fmla="*/ 2147483646 w 944"/>
                  <a:gd name="T27" fmla="*/ 2147483646 h 536"/>
                  <a:gd name="T28" fmla="*/ 2147483646 w 944"/>
                  <a:gd name="T29" fmla="*/ 2147483646 h 536"/>
                  <a:gd name="T30" fmla="*/ 2147483646 w 944"/>
                  <a:gd name="T31" fmla="*/ 2147483646 h 536"/>
                  <a:gd name="T32" fmla="*/ 2147483646 w 944"/>
                  <a:gd name="T33" fmla="*/ 2147483646 h 536"/>
                  <a:gd name="T34" fmla="*/ 2147483646 w 944"/>
                  <a:gd name="T35" fmla="*/ 2147483646 h 536"/>
                  <a:gd name="T36" fmla="*/ 2147483646 w 944"/>
                  <a:gd name="T37" fmla="*/ 2147483646 h 536"/>
                  <a:gd name="T38" fmla="*/ 2147483646 w 944"/>
                  <a:gd name="T39" fmla="*/ 2147483646 h 536"/>
                  <a:gd name="T40" fmla="*/ 2147483646 w 944"/>
                  <a:gd name="T41" fmla="*/ 2147483646 h 536"/>
                  <a:gd name="T42" fmla="*/ 2147483646 w 944"/>
                  <a:gd name="T43" fmla="*/ 2147483646 h 536"/>
                  <a:gd name="T44" fmla="*/ 2147483646 w 944"/>
                  <a:gd name="T45" fmla="*/ 2147483646 h 536"/>
                  <a:gd name="T46" fmla="*/ 2147483646 w 944"/>
                  <a:gd name="T47" fmla="*/ 2147483646 h 536"/>
                  <a:gd name="T48" fmla="*/ 2147483646 w 944"/>
                  <a:gd name="T49" fmla="*/ 2147483646 h 536"/>
                  <a:gd name="T50" fmla="*/ 2147483646 w 944"/>
                  <a:gd name="T51" fmla="*/ 2147483646 h 536"/>
                  <a:gd name="T52" fmla="*/ 2147483646 w 944"/>
                  <a:gd name="T53" fmla="*/ 2147483646 h 536"/>
                  <a:gd name="T54" fmla="*/ 2147483646 w 944"/>
                  <a:gd name="T55" fmla="*/ 2147483646 h 536"/>
                  <a:gd name="T56" fmla="*/ 2147483646 w 944"/>
                  <a:gd name="T57" fmla="*/ 2147483646 h 536"/>
                  <a:gd name="T58" fmla="*/ 2147483646 w 944"/>
                  <a:gd name="T59" fmla="*/ 2147483646 h 536"/>
                  <a:gd name="T60" fmla="*/ 2147483646 w 944"/>
                  <a:gd name="T61" fmla="*/ 2147483646 h 536"/>
                  <a:gd name="T62" fmla="*/ 2147483646 w 944"/>
                  <a:gd name="T63" fmla="*/ 2147483646 h 536"/>
                  <a:gd name="T64" fmla="*/ 2147483646 w 944"/>
                  <a:gd name="T65" fmla="*/ 2147483646 h 536"/>
                  <a:gd name="T66" fmla="*/ 2147483646 w 944"/>
                  <a:gd name="T67" fmla="*/ 2147483646 h 536"/>
                  <a:gd name="T68" fmla="*/ 2147483646 w 944"/>
                  <a:gd name="T69" fmla="*/ 2147483646 h 536"/>
                  <a:gd name="T70" fmla="*/ 2147483646 w 944"/>
                  <a:gd name="T71" fmla="*/ 2147483646 h 536"/>
                  <a:gd name="T72" fmla="*/ 2147483646 w 944"/>
                  <a:gd name="T73" fmla="*/ 0 h 536"/>
                  <a:gd name="T74" fmla="*/ 2147483646 w 944"/>
                  <a:gd name="T75" fmla="*/ 0 h 536"/>
                  <a:gd name="T76" fmla="*/ 2147483646 w 944"/>
                  <a:gd name="T77" fmla="*/ 2147483646 h 536"/>
                  <a:gd name="T78" fmla="*/ 2147483646 w 944"/>
                  <a:gd name="T79" fmla="*/ 2147483646 h 536"/>
                  <a:gd name="T80" fmla="*/ 2147483646 w 944"/>
                  <a:gd name="T81" fmla="*/ 2147483646 h 536"/>
                  <a:gd name="T82" fmla="*/ 2147483646 w 944"/>
                  <a:gd name="T83" fmla="*/ 2147483646 h 536"/>
                  <a:gd name="T84" fmla="*/ 2147483646 w 944"/>
                  <a:gd name="T85" fmla="*/ 2147483646 h 536"/>
                  <a:gd name="T86" fmla="*/ 2147483646 w 944"/>
                  <a:gd name="T87" fmla="*/ 2147483646 h 536"/>
                  <a:gd name="T88" fmla="*/ 2147483646 w 944"/>
                  <a:gd name="T89" fmla="*/ 2147483646 h 536"/>
                  <a:gd name="T90" fmla="*/ 2147483646 w 944"/>
                  <a:gd name="T91" fmla="*/ 2147483646 h 536"/>
                  <a:gd name="T92" fmla="*/ 2147483646 w 944"/>
                  <a:gd name="T93" fmla="*/ 2147483646 h 536"/>
                  <a:gd name="T94" fmla="*/ 2147483646 w 944"/>
                  <a:gd name="T95" fmla="*/ 2147483646 h 536"/>
                  <a:gd name="T96" fmla="*/ 2147483646 w 944"/>
                  <a:gd name="T97" fmla="*/ 2147483646 h 536"/>
                  <a:gd name="T98" fmla="*/ 2147483646 w 944"/>
                  <a:gd name="T99" fmla="*/ 2147483646 h 536"/>
                  <a:gd name="T100" fmla="*/ 2147483646 w 944"/>
                  <a:gd name="T101" fmla="*/ 2147483646 h 536"/>
                  <a:gd name="T102" fmla="*/ 2147483646 w 944"/>
                  <a:gd name="T103" fmla="*/ 2147483646 h 536"/>
                  <a:gd name="T104" fmla="*/ 2147483646 w 944"/>
                  <a:gd name="T105" fmla="*/ 2147483646 h 536"/>
                  <a:gd name="T106" fmla="*/ 2147483646 w 944"/>
                  <a:gd name="T107" fmla="*/ 2147483646 h 536"/>
                  <a:gd name="T108" fmla="*/ 2147483646 w 944"/>
                  <a:gd name="T109" fmla="*/ 2147483646 h 536"/>
                  <a:gd name="T110" fmla="*/ 2147483646 w 944"/>
                  <a:gd name="T111" fmla="*/ 2147483646 h 536"/>
                  <a:gd name="T112" fmla="*/ 2147483646 w 944"/>
                  <a:gd name="T113" fmla="*/ 2147483646 h 536"/>
                  <a:gd name="T114" fmla="*/ 2147483646 w 944"/>
                  <a:gd name="T115" fmla="*/ 2147483646 h 536"/>
                  <a:gd name="T116" fmla="*/ 2147483646 w 944"/>
                  <a:gd name="T117" fmla="*/ 2147483646 h 536"/>
                  <a:gd name="T118" fmla="*/ 0 w 944"/>
                  <a:gd name="T119" fmla="*/ 2147483646 h 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4"/>
                  <a:gd name="T181" fmla="*/ 0 h 536"/>
                  <a:gd name="T182" fmla="*/ 944 w 944"/>
                  <a:gd name="T183" fmla="*/ 536 h 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4" h="536">
                    <a:moveTo>
                      <a:pt x="0" y="312"/>
                    </a:moveTo>
                    <a:lnTo>
                      <a:pt x="64" y="328"/>
                    </a:lnTo>
                    <a:lnTo>
                      <a:pt x="136" y="424"/>
                    </a:lnTo>
                    <a:lnTo>
                      <a:pt x="192" y="408"/>
                    </a:lnTo>
                    <a:lnTo>
                      <a:pt x="216" y="456"/>
                    </a:lnTo>
                    <a:lnTo>
                      <a:pt x="248" y="456"/>
                    </a:lnTo>
                    <a:lnTo>
                      <a:pt x="272" y="472"/>
                    </a:lnTo>
                    <a:lnTo>
                      <a:pt x="336" y="464"/>
                    </a:lnTo>
                    <a:lnTo>
                      <a:pt x="352" y="424"/>
                    </a:lnTo>
                    <a:lnTo>
                      <a:pt x="376" y="424"/>
                    </a:lnTo>
                    <a:lnTo>
                      <a:pt x="408" y="488"/>
                    </a:lnTo>
                    <a:lnTo>
                      <a:pt x="456" y="472"/>
                    </a:lnTo>
                    <a:lnTo>
                      <a:pt x="472" y="512"/>
                    </a:lnTo>
                    <a:lnTo>
                      <a:pt x="504" y="512"/>
                    </a:lnTo>
                    <a:lnTo>
                      <a:pt x="536" y="464"/>
                    </a:lnTo>
                    <a:lnTo>
                      <a:pt x="568" y="496"/>
                    </a:lnTo>
                    <a:lnTo>
                      <a:pt x="624" y="480"/>
                    </a:lnTo>
                    <a:lnTo>
                      <a:pt x="696" y="536"/>
                    </a:lnTo>
                    <a:lnTo>
                      <a:pt x="760" y="496"/>
                    </a:lnTo>
                    <a:lnTo>
                      <a:pt x="776" y="464"/>
                    </a:lnTo>
                    <a:lnTo>
                      <a:pt x="808" y="448"/>
                    </a:lnTo>
                    <a:lnTo>
                      <a:pt x="808" y="424"/>
                    </a:lnTo>
                    <a:lnTo>
                      <a:pt x="848" y="400"/>
                    </a:lnTo>
                    <a:lnTo>
                      <a:pt x="856" y="328"/>
                    </a:lnTo>
                    <a:lnTo>
                      <a:pt x="904" y="328"/>
                    </a:lnTo>
                    <a:lnTo>
                      <a:pt x="944" y="224"/>
                    </a:lnTo>
                    <a:lnTo>
                      <a:pt x="896" y="200"/>
                    </a:lnTo>
                    <a:lnTo>
                      <a:pt x="832" y="200"/>
                    </a:lnTo>
                    <a:lnTo>
                      <a:pt x="768" y="128"/>
                    </a:lnTo>
                    <a:lnTo>
                      <a:pt x="728" y="120"/>
                    </a:lnTo>
                    <a:lnTo>
                      <a:pt x="720" y="80"/>
                    </a:lnTo>
                    <a:lnTo>
                      <a:pt x="632" y="40"/>
                    </a:lnTo>
                    <a:lnTo>
                      <a:pt x="608" y="48"/>
                    </a:lnTo>
                    <a:lnTo>
                      <a:pt x="568" y="8"/>
                    </a:lnTo>
                    <a:lnTo>
                      <a:pt x="456" y="24"/>
                    </a:lnTo>
                    <a:lnTo>
                      <a:pt x="424" y="40"/>
                    </a:lnTo>
                    <a:lnTo>
                      <a:pt x="368" y="0"/>
                    </a:lnTo>
                    <a:lnTo>
                      <a:pt x="352" y="0"/>
                    </a:lnTo>
                    <a:lnTo>
                      <a:pt x="344" y="32"/>
                    </a:lnTo>
                    <a:lnTo>
                      <a:pt x="320" y="48"/>
                    </a:lnTo>
                    <a:lnTo>
                      <a:pt x="288" y="40"/>
                    </a:lnTo>
                    <a:lnTo>
                      <a:pt x="272" y="72"/>
                    </a:lnTo>
                    <a:lnTo>
                      <a:pt x="272" y="96"/>
                    </a:lnTo>
                    <a:lnTo>
                      <a:pt x="256" y="112"/>
                    </a:lnTo>
                    <a:lnTo>
                      <a:pt x="280" y="160"/>
                    </a:lnTo>
                    <a:lnTo>
                      <a:pt x="264" y="176"/>
                    </a:lnTo>
                    <a:lnTo>
                      <a:pt x="224" y="176"/>
                    </a:lnTo>
                    <a:lnTo>
                      <a:pt x="216" y="224"/>
                    </a:lnTo>
                    <a:lnTo>
                      <a:pt x="208" y="256"/>
                    </a:lnTo>
                    <a:lnTo>
                      <a:pt x="192" y="256"/>
                    </a:lnTo>
                    <a:lnTo>
                      <a:pt x="160" y="288"/>
                    </a:lnTo>
                    <a:lnTo>
                      <a:pt x="136" y="264"/>
                    </a:lnTo>
                    <a:lnTo>
                      <a:pt x="120" y="264"/>
                    </a:lnTo>
                    <a:lnTo>
                      <a:pt x="104" y="256"/>
                    </a:lnTo>
                    <a:lnTo>
                      <a:pt x="88" y="264"/>
                    </a:lnTo>
                    <a:lnTo>
                      <a:pt x="64" y="248"/>
                    </a:lnTo>
                    <a:lnTo>
                      <a:pt x="32" y="264"/>
                    </a:lnTo>
                    <a:lnTo>
                      <a:pt x="16" y="272"/>
                    </a:lnTo>
                    <a:lnTo>
                      <a:pt x="16" y="296"/>
                    </a:lnTo>
                    <a:lnTo>
                      <a:pt x="0" y="312"/>
                    </a:lnTo>
                    <a:close/>
                  </a:path>
                </a:pathLst>
              </a:custGeom>
              <a:solidFill>
                <a:srgbClr val="C6B89B"/>
              </a:solidFill>
              <a:ln w="9525">
                <a:solidFill>
                  <a:schemeClr val="bg1"/>
                </a:solidFill>
                <a:round/>
                <a:headEnd/>
                <a:tailEnd/>
              </a:ln>
            </p:spPr>
            <p:txBody>
              <a:bodyPr/>
              <a:lstStyle/>
              <a:p>
                <a:endParaRPr lang="en-US" sz="1050"/>
              </a:p>
            </p:txBody>
          </p:sp>
          <p:sp>
            <p:nvSpPr>
              <p:cNvPr id="142" name="Freeform 141"/>
              <p:cNvSpPr>
                <a:spLocks/>
              </p:cNvSpPr>
              <p:nvPr/>
            </p:nvSpPr>
            <p:spPr bwMode="auto">
              <a:xfrm>
                <a:off x="2987119" y="2999436"/>
                <a:ext cx="763697" cy="902208"/>
              </a:xfrm>
              <a:custGeom>
                <a:avLst/>
                <a:gdLst>
                  <a:gd name="T0" fmla="*/ 2147483646 w 648"/>
                  <a:gd name="T1" fmla="*/ 2147483646 h 832"/>
                  <a:gd name="T2" fmla="*/ 2147483646 w 648"/>
                  <a:gd name="T3" fmla="*/ 2147483646 h 832"/>
                  <a:gd name="T4" fmla="*/ 2147483646 w 648"/>
                  <a:gd name="T5" fmla="*/ 2147483646 h 832"/>
                  <a:gd name="T6" fmla="*/ 2147483646 w 648"/>
                  <a:gd name="T7" fmla="*/ 2147483646 h 832"/>
                  <a:gd name="T8" fmla="*/ 2147483646 w 648"/>
                  <a:gd name="T9" fmla="*/ 2147483646 h 832"/>
                  <a:gd name="T10" fmla="*/ 2147483646 w 648"/>
                  <a:gd name="T11" fmla="*/ 2147483646 h 832"/>
                  <a:gd name="T12" fmla="*/ 2147483646 w 648"/>
                  <a:gd name="T13" fmla="*/ 2147483646 h 832"/>
                  <a:gd name="T14" fmla="*/ 2147483646 w 648"/>
                  <a:gd name="T15" fmla="*/ 2147483646 h 832"/>
                  <a:gd name="T16" fmla="*/ 2147483646 w 648"/>
                  <a:gd name="T17" fmla="*/ 2147483646 h 832"/>
                  <a:gd name="T18" fmla="*/ 2147483646 w 648"/>
                  <a:gd name="T19" fmla="*/ 2147483646 h 832"/>
                  <a:gd name="T20" fmla="*/ 2147483646 w 648"/>
                  <a:gd name="T21" fmla="*/ 2147483646 h 832"/>
                  <a:gd name="T22" fmla="*/ 2147483646 w 648"/>
                  <a:gd name="T23" fmla="*/ 2147483646 h 832"/>
                  <a:gd name="T24" fmla="*/ 2147483646 w 648"/>
                  <a:gd name="T25" fmla="*/ 2147483646 h 832"/>
                  <a:gd name="T26" fmla="*/ 2147483646 w 648"/>
                  <a:gd name="T27" fmla="*/ 2147483646 h 832"/>
                  <a:gd name="T28" fmla="*/ 2147483646 w 648"/>
                  <a:gd name="T29" fmla="*/ 2147483646 h 832"/>
                  <a:gd name="T30" fmla="*/ 2147483646 w 648"/>
                  <a:gd name="T31" fmla="*/ 2147483646 h 832"/>
                  <a:gd name="T32" fmla="*/ 2147483646 w 648"/>
                  <a:gd name="T33" fmla="*/ 2147483646 h 832"/>
                  <a:gd name="T34" fmla="*/ 2147483646 w 648"/>
                  <a:gd name="T35" fmla="*/ 2147483646 h 832"/>
                  <a:gd name="T36" fmla="*/ 2147483646 w 648"/>
                  <a:gd name="T37" fmla="*/ 2147483646 h 832"/>
                  <a:gd name="T38" fmla="*/ 2147483646 w 648"/>
                  <a:gd name="T39" fmla="*/ 2147483646 h 832"/>
                  <a:gd name="T40" fmla="*/ 2147483646 w 648"/>
                  <a:gd name="T41" fmla="*/ 2147483646 h 832"/>
                  <a:gd name="T42" fmla="*/ 2147483646 w 648"/>
                  <a:gd name="T43" fmla="*/ 2147483646 h 832"/>
                  <a:gd name="T44" fmla="*/ 2147483646 w 648"/>
                  <a:gd name="T45" fmla="*/ 2147483646 h 832"/>
                  <a:gd name="T46" fmla="*/ 2147483646 w 648"/>
                  <a:gd name="T47" fmla="*/ 2147483646 h 832"/>
                  <a:gd name="T48" fmla="*/ 2147483646 w 648"/>
                  <a:gd name="T49" fmla="*/ 2147483646 h 832"/>
                  <a:gd name="T50" fmla="*/ 2147483646 w 648"/>
                  <a:gd name="T51" fmla="*/ 2147483646 h 832"/>
                  <a:gd name="T52" fmla="*/ 2147483646 w 648"/>
                  <a:gd name="T53" fmla="*/ 2147483646 h 832"/>
                  <a:gd name="T54" fmla="*/ 2147483646 w 648"/>
                  <a:gd name="T55" fmla="*/ 2147483646 h 832"/>
                  <a:gd name="T56" fmla="*/ 2147483646 w 648"/>
                  <a:gd name="T57" fmla="*/ 2147483646 h 832"/>
                  <a:gd name="T58" fmla="*/ 2147483646 w 648"/>
                  <a:gd name="T59" fmla="*/ 2147483646 h 832"/>
                  <a:gd name="T60" fmla="*/ 2147483646 w 648"/>
                  <a:gd name="T61" fmla="*/ 2147483646 h 832"/>
                  <a:gd name="T62" fmla="*/ 2147483646 w 648"/>
                  <a:gd name="T63" fmla="*/ 2147483646 h 832"/>
                  <a:gd name="T64" fmla="*/ 2147483646 w 648"/>
                  <a:gd name="T65" fmla="*/ 2147483646 h 8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832"/>
                  <a:gd name="T101" fmla="*/ 648 w 648"/>
                  <a:gd name="T102" fmla="*/ 832 h 8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832">
                    <a:moveTo>
                      <a:pt x="0" y="608"/>
                    </a:moveTo>
                    <a:lnTo>
                      <a:pt x="56" y="648"/>
                    </a:lnTo>
                    <a:lnTo>
                      <a:pt x="88" y="632"/>
                    </a:lnTo>
                    <a:lnTo>
                      <a:pt x="200" y="616"/>
                    </a:lnTo>
                    <a:lnTo>
                      <a:pt x="240" y="656"/>
                    </a:lnTo>
                    <a:lnTo>
                      <a:pt x="264" y="648"/>
                    </a:lnTo>
                    <a:lnTo>
                      <a:pt x="352" y="688"/>
                    </a:lnTo>
                    <a:lnTo>
                      <a:pt x="360" y="728"/>
                    </a:lnTo>
                    <a:lnTo>
                      <a:pt x="400" y="736"/>
                    </a:lnTo>
                    <a:lnTo>
                      <a:pt x="464" y="808"/>
                    </a:lnTo>
                    <a:lnTo>
                      <a:pt x="528" y="808"/>
                    </a:lnTo>
                    <a:lnTo>
                      <a:pt x="576" y="832"/>
                    </a:lnTo>
                    <a:lnTo>
                      <a:pt x="592" y="784"/>
                    </a:lnTo>
                    <a:lnTo>
                      <a:pt x="560" y="712"/>
                    </a:lnTo>
                    <a:lnTo>
                      <a:pt x="592" y="672"/>
                    </a:lnTo>
                    <a:lnTo>
                      <a:pt x="632" y="656"/>
                    </a:lnTo>
                    <a:lnTo>
                      <a:pt x="624" y="608"/>
                    </a:lnTo>
                    <a:lnTo>
                      <a:pt x="560" y="544"/>
                    </a:lnTo>
                    <a:lnTo>
                      <a:pt x="616" y="536"/>
                    </a:lnTo>
                    <a:lnTo>
                      <a:pt x="648" y="472"/>
                    </a:lnTo>
                    <a:lnTo>
                      <a:pt x="616" y="448"/>
                    </a:lnTo>
                    <a:lnTo>
                      <a:pt x="640" y="408"/>
                    </a:lnTo>
                    <a:lnTo>
                      <a:pt x="632" y="376"/>
                    </a:lnTo>
                    <a:lnTo>
                      <a:pt x="592" y="368"/>
                    </a:lnTo>
                    <a:lnTo>
                      <a:pt x="552" y="312"/>
                    </a:lnTo>
                    <a:lnTo>
                      <a:pt x="528" y="312"/>
                    </a:lnTo>
                    <a:lnTo>
                      <a:pt x="512" y="280"/>
                    </a:lnTo>
                    <a:lnTo>
                      <a:pt x="568" y="248"/>
                    </a:lnTo>
                    <a:lnTo>
                      <a:pt x="568" y="216"/>
                    </a:lnTo>
                    <a:lnTo>
                      <a:pt x="600" y="208"/>
                    </a:lnTo>
                    <a:lnTo>
                      <a:pt x="592" y="168"/>
                    </a:lnTo>
                    <a:lnTo>
                      <a:pt x="552" y="128"/>
                    </a:lnTo>
                    <a:lnTo>
                      <a:pt x="496" y="136"/>
                    </a:lnTo>
                    <a:lnTo>
                      <a:pt x="464" y="96"/>
                    </a:lnTo>
                    <a:lnTo>
                      <a:pt x="424" y="96"/>
                    </a:lnTo>
                    <a:lnTo>
                      <a:pt x="432" y="40"/>
                    </a:lnTo>
                    <a:lnTo>
                      <a:pt x="352" y="0"/>
                    </a:lnTo>
                    <a:lnTo>
                      <a:pt x="320" y="24"/>
                    </a:lnTo>
                    <a:lnTo>
                      <a:pt x="264" y="40"/>
                    </a:lnTo>
                    <a:lnTo>
                      <a:pt x="256" y="72"/>
                    </a:lnTo>
                    <a:lnTo>
                      <a:pt x="272" y="120"/>
                    </a:lnTo>
                    <a:lnTo>
                      <a:pt x="264" y="152"/>
                    </a:lnTo>
                    <a:lnTo>
                      <a:pt x="240" y="168"/>
                    </a:lnTo>
                    <a:lnTo>
                      <a:pt x="216" y="168"/>
                    </a:lnTo>
                    <a:lnTo>
                      <a:pt x="208" y="184"/>
                    </a:lnTo>
                    <a:lnTo>
                      <a:pt x="200" y="200"/>
                    </a:lnTo>
                    <a:lnTo>
                      <a:pt x="192" y="208"/>
                    </a:lnTo>
                    <a:lnTo>
                      <a:pt x="192" y="232"/>
                    </a:lnTo>
                    <a:lnTo>
                      <a:pt x="184" y="240"/>
                    </a:lnTo>
                    <a:lnTo>
                      <a:pt x="184" y="264"/>
                    </a:lnTo>
                    <a:lnTo>
                      <a:pt x="168" y="296"/>
                    </a:lnTo>
                    <a:lnTo>
                      <a:pt x="152" y="312"/>
                    </a:lnTo>
                    <a:lnTo>
                      <a:pt x="128" y="328"/>
                    </a:lnTo>
                    <a:lnTo>
                      <a:pt x="112" y="344"/>
                    </a:lnTo>
                    <a:lnTo>
                      <a:pt x="96" y="360"/>
                    </a:lnTo>
                    <a:lnTo>
                      <a:pt x="88" y="376"/>
                    </a:lnTo>
                    <a:lnTo>
                      <a:pt x="104" y="400"/>
                    </a:lnTo>
                    <a:lnTo>
                      <a:pt x="96" y="424"/>
                    </a:lnTo>
                    <a:lnTo>
                      <a:pt x="80" y="448"/>
                    </a:lnTo>
                    <a:lnTo>
                      <a:pt x="56" y="448"/>
                    </a:lnTo>
                    <a:lnTo>
                      <a:pt x="72" y="480"/>
                    </a:lnTo>
                    <a:lnTo>
                      <a:pt x="40" y="504"/>
                    </a:lnTo>
                    <a:lnTo>
                      <a:pt x="24" y="520"/>
                    </a:lnTo>
                    <a:lnTo>
                      <a:pt x="8" y="544"/>
                    </a:lnTo>
                    <a:lnTo>
                      <a:pt x="0" y="568"/>
                    </a:lnTo>
                    <a:lnTo>
                      <a:pt x="32" y="576"/>
                    </a:lnTo>
                    <a:lnTo>
                      <a:pt x="0" y="608"/>
                    </a:lnTo>
                    <a:close/>
                  </a:path>
                </a:pathLst>
              </a:custGeom>
              <a:solidFill>
                <a:srgbClr val="4670F8"/>
              </a:solidFill>
              <a:ln w="9525">
                <a:solidFill>
                  <a:schemeClr val="bg1"/>
                </a:solidFill>
                <a:round/>
                <a:headEnd/>
                <a:tailEnd/>
              </a:ln>
            </p:spPr>
            <p:txBody>
              <a:bodyPr/>
              <a:lstStyle/>
              <a:p>
                <a:endParaRPr lang="en-US" sz="1050"/>
              </a:p>
            </p:txBody>
          </p:sp>
          <p:sp>
            <p:nvSpPr>
              <p:cNvPr id="143" name="Freeform 142"/>
              <p:cNvSpPr>
                <a:spLocks/>
              </p:cNvSpPr>
              <p:nvPr/>
            </p:nvSpPr>
            <p:spPr bwMode="auto">
              <a:xfrm>
                <a:off x="3401967" y="2652433"/>
                <a:ext cx="791982" cy="572555"/>
              </a:xfrm>
              <a:custGeom>
                <a:avLst/>
                <a:gdLst>
                  <a:gd name="T0" fmla="*/ 0 w 672"/>
                  <a:gd name="T1" fmla="*/ 2147483646 h 528"/>
                  <a:gd name="T2" fmla="*/ 2147483646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2147483646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0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2147483646 w 672"/>
                  <a:gd name="T79" fmla="*/ 2147483646 h 528"/>
                  <a:gd name="T80" fmla="*/ 2147483646 w 672"/>
                  <a:gd name="T81" fmla="*/ 2147483646 h 528"/>
                  <a:gd name="T82" fmla="*/ 2147483646 w 672"/>
                  <a:gd name="T83" fmla="*/ 2147483646 h 528"/>
                  <a:gd name="T84" fmla="*/ 2147483646 w 672"/>
                  <a:gd name="T85" fmla="*/ 2147483646 h 528"/>
                  <a:gd name="T86" fmla="*/ 2147483646 w 672"/>
                  <a:gd name="T87" fmla="*/ 2147483646 h 528"/>
                  <a:gd name="T88" fmla="*/ 2147483646 w 672"/>
                  <a:gd name="T89" fmla="*/ 2147483646 h 528"/>
                  <a:gd name="T90" fmla="*/ 2147483646 w 672"/>
                  <a:gd name="T91" fmla="*/ 2147483646 h 528"/>
                  <a:gd name="T92" fmla="*/ 2147483646 w 672"/>
                  <a:gd name="T93" fmla="*/ 2147483646 h 528"/>
                  <a:gd name="T94" fmla="*/ 2147483646 w 672"/>
                  <a:gd name="T95" fmla="*/ 2147483646 h 528"/>
                  <a:gd name="T96" fmla="*/ 2147483646 w 672"/>
                  <a:gd name="T97" fmla="*/ 2147483646 h 528"/>
                  <a:gd name="T98" fmla="*/ 2147483646 w 672"/>
                  <a:gd name="T99" fmla="*/ 2147483646 h 528"/>
                  <a:gd name="T100" fmla="*/ 2147483646 w 672"/>
                  <a:gd name="T101" fmla="*/ 2147483646 h 528"/>
                  <a:gd name="T102" fmla="*/ 2147483646 w 672"/>
                  <a:gd name="T103" fmla="*/ 2147483646 h 528"/>
                  <a:gd name="T104" fmla="*/ 0 w 672"/>
                  <a:gd name="T105" fmla="*/ 2147483646 h 5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28"/>
                  <a:gd name="T161" fmla="*/ 672 w 672"/>
                  <a:gd name="T162" fmla="*/ 528 h 5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28">
                    <a:moveTo>
                      <a:pt x="0" y="320"/>
                    </a:moveTo>
                    <a:lnTo>
                      <a:pt x="80" y="360"/>
                    </a:lnTo>
                    <a:lnTo>
                      <a:pt x="72" y="416"/>
                    </a:lnTo>
                    <a:lnTo>
                      <a:pt x="112" y="416"/>
                    </a:lnTo>
                    <a:lnTo>
                      <a:pt x="144" y="456"/>
                    </a:lnTo>
                    <a:lnTo>
                      <a:pt x="200" y="448"/>
                    </a:lnTo>
                    <a:lnTo>
                      <a:pt x="240" y="488"/>
                    </a:lnTo>
                    <a:lnTo>
                      <a:pt x="336" y="456"/>
                    </a:lnTo>
                    <a:lnTo>
                      <a:pt x="320" y="488"/>
                    </a:lnTo>
                    <a:lnTo>
                      <a:pt x="352" y="488"/>
                    </a:lnTo>
                    <a:lnTo>
                      <a:pt x="408" y="528"/>
                    </a:lnTo>
                    <a:lnTo>
                      <a:pt x="440" y="488"/>
                    </a:lnTo>
                    <a:lnTo>
                      <a:pt x="440" y="480"/>
                    </a:lnTo>
                    <a:lnTo>
                      <a:pt x="376" y="480"/>
                    </a:lnTo>
                    <a:lnTo>
                      <a:pt x="376" y="440"/>
                    </a:lnTo>
                    <a:lnTo>
                      <a:pt x="408" y="432"/>
                    </a:lnTo>
                    <a:lnTo>
                      <a:pt x="400" y="384"/>
                    </a:lnTo>
                    <a:lnTo>
                      <a:pt x="448" y="336"/>
                    </a:lnTo>
                    <a:lnTo>
                      <a:pt x="512" y="368"/>
                    </a:lnTo>
                    <a:lnTo>
                      <a:pt x="520" y="304"/>
                    </a:lnTo>
                    <a:lnTo>
                      <a:pt x="544" y="264"/>
                    </a:lnTo>
                    <a:lnTo>
                      <a:pt x="472" y="256"/>
                    </a:lnTo>
                    <a:lnTo>
                      <a:pt x="480" y="224"/>
                    </a:lnTo>
                    <a:lnTo>
                      <a:pt x="632" y="200"/>
                    </a:lnTo>
                    <a:lnTo>
                      <a:pt x="672" y="128"/>
                    </a:lnTo>
                    <a:lnTo>
                      <a:pt x="624" y="112"/>
                    </a:lnTo>
                    <a:lnTo>
                      <a:pt x="624" y="72"/>
                    </a:lnTo>
                    <a:lnTo>
                      <a:pt x="592" y="96"/>
                    </a:lnTo>
                    <a:lnTo>
                      <a:pt x="568" y="80"/>
                    </a:lnTo>
                    <a:lnTo>
                      <a:pt x="536" y="80"/>
                    </a:lnTo>
                    <a:lnTo>
                      <a:pt x="520" y="56"/>
                    </a:lnTo>
                    <a:lnTo>
                      <a:pt x="488" y="16"/>
                    </a:lnTo>
                    <a:lnTo>
                      <a:pt x="464" y="16"/>
                    </a:lnTo>
                    <a:lnTo>
                      <a:pt x="448" y="0"/>
                    </a:lnTo>
                    <a:lnTo>
                      <a:pt x="424" y="24"/>
                    </a:lnTo>
                    <a:lnTo>
                      <a:pt x="416" y="56"/>
                    </a:lnTo>
                    <a:lnTo>
                      <a:pt x="384" y="88"/>
                    </a:lnTo>
                    <a:lnTo>
                      <a:pt x="352" y="64"/>
                    </a:lnTo>
                    <a:lnTo>
                      <a:pt x="344" y="96"/>
                    </a:lnTo>
                    <a:lnTo>
                      <a:pt x="320" y="96"/>
                    </a:lnTo>
                    <a:lnTo>
                      <a:pt x="304" y="136"/>
                    </a:lnTo>
                    <a:lnTo>
                      <a:pt x="256" y="152"/>
                    </a:lnTo>
                    <a:lnTo>
                      <a:pt x="280" y="184"/>
                    </a:lnTo>
                    <a:lnTo>
                      <a:pt x="240" y="184"/>
                    </a:lnTo>
                    <a:lnTo>
                      <a:pt x="216" y="216"/>
                    </a:lnTo>
                    <a:lnTo>
                      <a:pt x="168" y="224"/>
                    </a:lnTo>
                    <a:lnTo>
                      <a:pt x="136" y="200"/>
                    </a:lnTo>
                    <a:lnTo>
                      <a:pt x="112" y="200"/>
                    </a:lnTo>
                    <a:lnTo>
                      <a:pt x="104" y="232"/>
                    </a:lnTo>
                    <a:lnTo>
                      <a:pt x="80" y="248"/>
                    </a:lnTo>
                    <a:lnTo>
                      <a:pt x="56" y="232"/>
                    </a:lnTo>
                    <a:lnTo>
                      <a:pt x="24" y="264"/>
                    </a:lnTo>
                    <a:lnTo>
                      <a:pt x="0" y="320"/>
                    </a:lnTo>
                    <a:close/>
                  </a:path>
                </a:pathLst>
              </a:custGeom>
              <a:solidFill>
                <a:srgbClr val="C6CFEB"/>
              </a:solidFill>
              <a:ln w="9525">
                <a:solidFill>
                  <a:schemeClr val="bg1"/>
                </a:solidFill>
                <a:round/>
                <a:headEnd/>
                <a:tailEnd/>
              </a:ln>
            </p:spPr>
            <p:txBody>
              <a:bodyPr/>
              <a:lstStyle/>
              <a:p>
                <a:endParaRPr lang="en-US" sz="1050"/>
              </a:p>
            </p:txBody>
          </p:sp>
          <p:sp>
            <p:nvSpPr>
              <p:cNvPr id="144" name="Freeform 143"/>
              <p:cNvSpPr>
                <a:spLocks/>
              </p:cNvSpPr>
              <p:nvPr/>
            </p:nvSpPr>
            <p:spPr bwMode="auto">
              <a:xfrm>
                <a:off x="5155642" y="4526249"/>
                <a:ext cx="641128" cy="589905"/>
              </a:xfrm>
              <a:custGeom>
                <a:avLst/>
                <a:gdLst>
                  <a:gd name="T0" fmla="*/ 2147483646 w 544"/>
                  <a:gd name="T1" fmla="*/ 2147483646 h 544"/>
                  <a:gd name="T2" fmla="*/ 2147483646 w 544"/>
                  <a:gd name="T3" fmla="*/ 2147483646 h 544"/>
                  <a:gd name="T4" fmla="*/ 2147483646 w 544"/>
                  <a:gd name="T5" fmla="*/ 2147483646 h 544"/>
                  <a:gd name="T6" fmla="*/ 2147483646 w 544"/>
                  <a:gd name="T7" fmla="*/ 2147483646 h 544"/>
                  <a:gd name="T8" fmla="*/ 2147483646 w 544"/>
                  <a:gd name="T9" fmla="*/ 2147483646 h 544"/>
                  <a:gd name="T10" fmla="*/ 2147483646 w 544"/>
                  <a:gd name="T11" fmla="*/ 2147483646 h 544"/>
                  <a:gd name="T12" fmla="*/ 2147483646 w 544"/>
                  <a:gd name="T13" fmla="*/ 2147483646 h 544"/>
                  <a:gd name="T14" fmla="*/ 2147483646 w 544"/>
                  <a:gd name="T15" fmla="*/ 2147483646 h 544"/>
                  <a:gd name="T16" fmla="*/ 2147483646 w 544"/>
                  <a:gd name="T17" fmla="*/ 2147483646 h 544"/>
                  <a:gd name="T18" fmla="*/ 2147483646 w 544"/>
                  <a:gd name="T19" fmla="*/ 2147483646 h 544"/>
                  <a:gd name="T20" fmla="*/ 2147483646 w 544"/>
                  <a:gd name="T21" fmla="*/ 2147483646 h 544"/>
                  <a:gd name="T22" fmla="*/ 2147483646 w 544"/>
                  <a:gd name="T23" fmla="*/ 2147483646 h 544"/>
                  <a:gd name="T24" fmla="*/ 2147483646 w 544"/>
                  <a:gd name="T25" fmla="*/ 2147483646 h 544"/>
                  <a:gd name="T26" fmla="*/ 2147483646 w 544"/>
                  <a:gd name="T27" fmla="*/ 2147483646 h 544"/>
                  <a:gd name="T28" fmla="*/ 2147483646 w 544"/>
                  <a:gd name="T29" fmla="*/ 2147483646 h 544"/>
                  <a:gd name="T30" fmla="*/ 2147483646 w 544"/>
                  <a:gd name="T31" fmla="*/ 2147483646 h 544"/>
                  <a:gd name="T32" fmla="*/ 2147483646 w 544"/>
                  <a:gd name="T33" fmla="*/ 2147483646 h 544"/>
                  <a:gd name="T34" fmla="*/ 2147483646 w 544"/>
                  <a:gd name="T35" fmla="*/ 0 h 544"/>
                  <a:gd name="T36" fmla="*/ 2147483646 w 544"/>
                  <a:gd name="T37" fmla="*/ 2147483646 h 544"/>
                  <a:gd name="T38" fmla="*/ 2147483646 w 544"/>
                  <a:gd name="T39" fmla="*/ 2147483646 h 544"/>
                  <a:gd name="T40" fmla="*/ 2147483646 w 544"/>
                  <a:gd name="T41" fmla="*/ 2147483646 h 544"/>
                  <a:gd name="T42" fmla="*/ 2147483646 w 544"/>
                  <a:gd name="T43" fmla="*/ 2147483646 h 544"/>
                  <a:gd name="T44" fmla="*/ 2147483646 w 544"/>
                  <a:gd name="T45" fmla="*/ 2147483646 h 544"/>
                  <a:gd name="T46" fmla="*/ 2147483646 w 544"/>
                  <a:gd name="T47" fmla="*/ 2147483646 h 544"/>
                  <a:gd name="T48" fmla="*/ 0 w 544"/>
                  <a:gd name="T49" fmla="*/ 2147483646 h 544"/>
                  <a:gd name="T50" fmla="*/ 2147483646 w 544"/>
                  <a:gd name="T51" fmla="*/ 2147483646 h 544"/>
                  <a:gd name="T52" fmla="*/ 2147483646 w 544"/>
                  <a:gd name="T53" fmla="*/ 2147483646 h 544"/>
                  <a:gd name="T54" fmla="*/ 2147483646 w 544"/>
                  <a:gd name="T55" fmla="*/ 2147483646 h 544"/>
                  <a:gd name="T56" fmla="*/ 2147483646 w 544"/>
                  <a:gd name="T57" fmla="*/ 2147483646 h 544"/>
                  <a:gd name="T58" fmla="*/ 2147483646 w 544"/>
                  <a:gd name="T59" fmla="*/ 2147483646 h 544"/>
                  <a:gd name="T60" fmla="*/ 2147483646 w 544"/>
                  <a:gd name="T61" fmla="*/ 2147483646 h 544"/>
                  <a:gd name="T62" fmla="*/ 2147483646 w 544"/>
                  <a:gd name="T63" fmla="*/ 2147483646 h 544"/>
                  <a:gd name="T64" fmla="*/ 2147483646 w 544"/>
                  <a:gd name="T65" fmla="*/ 2147483646 h 544"/>
                  <a:gd name="T66" fmla="*/ 2147483646 w 544"/>
                  <a:gd name="T67" fmla="*/ 2147483646 h 544"/>
                  <a:gd name="T68" fmla="*/ 2147483646 w 544"/>
                  <a:gd name="T69" fmla="*/ 2147483646 h 544"/>
                  <a:gd name="T70" fmla="*/ 2147483646 w 544"/>
                  <a:gd name="T71" fmla="*/ 2147483646 h 544"/>
                  <a:gd name="T72" fmla="*/ 2147483646 w 544"/>
                  <a:gd name="T73" fmla="*/ 2147483646 h 5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4"/>
                  <a:gd name="T112" fmla="*/ 0 h 544"/>
                  <a:gd name="T113" fmla="*/ 544 w 544"/>
                  <a:gd name="T114" fmla="*/ 544 h 5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4" h="544">
                    <a:moveTo>
                      <a:pt x="368" y="544"/>
                    </a:moveTo>
                    <a:lnTo>
                      <a:pt x="400" y="504"/>
                    </a:lnTo>
                    <a:lnTo>
                      <a:pt x="488" y="496"/>
                    </a:lnTo>
                    <a:lnTo>
                      <a:pt x="504" y="464"/>
                    </a:lnTo>
                    <a:lnTo>
                      <a:pt x="544" y="456"/>
                    </a:lnTo>
                    <a:lnTo>
                      <a:pt x="496" y="392"/>
                    </a:lnTo>
                    <a:lnTo>
                      <a:pt x="528" y="384"/>
                    </a:lnTo>
                    <a:lnTo>
                      <a:pt x="520" y="344"/>
                    </a:lnTo>
                    <a:lnTo>
                      <a:pt x="464" y="328"/>
                    </a:lnTo>
                    <a:lnTo>
                      <a:pt x="448" y="248"/>
                    </a:lnTo>
                    <a:lnTo>
                      <a:pt x="400" y="264"/>
                    </a:lnTo>
                    <a:lnTo>
                      <a:pt x="392" y="232"/>
                    </a:lnTo>
                    <a:lnTo>
                      <a:pt x="352" y="224"/>
                    </a:lnTo>
                    <a:lnTo>
                      <a:pt x="360" y="160"/>
                    </a:lnTo>
                    <a:lnTo>
                      <a:pt x="320" y="136"/>
                    </a:lnTo>
                    <a:lnTo>
                      <a:pt x="320" y="72"/>
                    </a:lnTo>
                    <a:lnTo>
                      <a:pt x="288" y="40"/>
                    </a:lnTo>
                    <a:lnTo>
                      <a:pt x="224" y="0"/>
                    </a:lnTo>
                    <a:lnTo>
                      <a:pt x="184" y="72"/>
                    </a:lnTo>
                    <a:lnTo>
                      <a:pt x="104" y="32"/>
                    </a:lnTo>
                    <a:lnTo>
                      <a:pt x="64" y="32"/>
                    </a:lnTo>
                    <a:lnTo>
                      <a:pt x="48" y="48"/>
                    </a:lnTo>
                    <a:lnTo>
                      <a:pt x="16" y="32"/>
                    </a:lnTo>
                    <a:lnTo>
                      <a:pt x="8" y="64"/>
                    </a:lnTo>
                    <a:lnTo>
                      <a:pt x="0" y="120"/>
                    </a:lnTo>
                    <a:lnTo>
                      <a:pt x="64" y="176"/>
                    </a:lnTo>
                    <a:lnTo>
                      <a:pt x="32" y="224"/>
                    </a:lnTo>
                    <a:lnTo>
                      <a:pt x="112" y="304"/>
                    </a:lnTo>
                    <a:lnTo>
                      <a:pt x="104" y="368"/>
                    </a:lnTo>
                    <a:lnTo>
                      <a:pt x="160" y="384"/>
                    </a:lnTo>
                    <a:lnTo>
                      <a:pt x="160" y="480"/>
                    </a:lnTo>
                    <a:lnTo>
                      <a:pt x="192" y="480"/>
                    </a:lnTo>
                    <a:lnTo>
                      <a:pt x="224" y="520"/>
                    </a:lnTo>
                    <a:lnTo>
                      <a:pt x="224" y="544"/>
                    </a:lnTo>
                    <a:lnTo>
                      <a:pt x="304" y="544"/>
                    </a:lnTo>
                    <a:lnTo>
                      <a:pt x="328" y="528"/>
                    </a:lnTo>
                    <a:lnTo>
                      <a:pt x="368" y="544"/>
                    </a:lnTo>
                    <a:close/>
                  </a:path>
                </a:pathLst>
              </a:custGeom>
              <a:solidFill>
                <a:srgbClr val="4670F8"/>
              </a:solidFill>
              <a:ln w="9525">
                <a:solidFill>
                  <a:schemeClr val="bg1"/>
                </a:solidFill>
                <a:round/>
                <a:headEnd/>
                <a:tailEnd/>
              </a:ln>
            </p:spPr>
            <p:txBody>
              <a:bodyPr/>
              <a:lstStyle/>
              <a:p>
                <a:endParaRPr lang="en-US" sz="1050"/>
              </a:p>
            </p:txBody>
          </p:sp>
          <p:sp>
            <p:nvSpPr>
              <p:cNvPr id="145" name="Freeform 6"/>
              <p:cNvSpPr>
                <a:spLocks/>
              </p:cNvSpPr>
              <p:nvPr/>
            </p:nvSpPr>
            <p:spPr bwMode="auto">
              <a:xfrm>
                <a:off x="4882219" y="2756534"/>
                <a:ext cx="933408" cy="641956"/>
              </a:xfrm>
              <a:custGeom>
                <a:avLst/>
                <a:gdLst>
                  <a:gd name="T0" fmla="*/ 2147483646 w 792"/>
                  <a:gd name="T1" fmla="*/ 2147483646 h 592"/>
                  <a:gd name="T2" fmla="*/ 2147483646 w 792"/>
                  <a:gd name="T3" fmla="*/ 2147483646 h 592"/>
                  <a:gd name="T4" fmla="*/ 2147483646 w 792"/>
                  <a:gd name="T5" fmla="*/ 2147483646 h 592"/>
                  <a:gd name="T6" fmla="*/ 2147483646 w 792"/>
                  <a:gd name="T7" fmla="*/ 2147483646 h 592"/>
                  <a:gd name="T8" fmla="*/ 2147483646 w 792"/>
                  <a:gd name="T9" fmla="*/ 2147483646 h 592"/>
                  <a:gd name="T10" fmla="*/ 2147483646 w 792"/>
                  <a:gd name="T11" fmla="*/ 2147483646 h 592"/>
                  <a:gd name="T12" fmla="*/ 2147483646 w 792"/>
                  <a:gd name="T13" fmla="*/ 2147483646 h 592"/>
                  <a:gd name="T14" fmla="*/ 2147483646 w 792"/>
                  <a:gd name="T15" fmla="*/ 2147483646 h 592"/>
                  <a:gd name="T16" fmla="*/ 2147483646 w 792"/>
                  <a:gd name="T17" fmla="*/ 2147483646 h 592"/>
                  <a:gd name="T18" fmla="*/ 2147483646 w 792"/>
                  <a:gd name="T19" fmla="*/ 2147483646 h 592"/>
                  <a:gd name="T20" fmla="*/ 2147483646 w 792"/>
                  <a:gd name="T21" fmla="*/ 2147483646 h 592"/>
                  <a:gd name="T22" fmla="*/ 2147483646 w 792"/>
                  <a:gd name="T23" fmla="*/ 2147483646 h 592"/>
                  <a:gd name="T24" fmla="*/ 2147483646 w 792"/>
                  <a:gd name="T25" fmla="*/ 2147483646 h 592"/>
                  <a:gd name="T26" fmla="*/ 2147483646 w 792"/>
                  <a:gd name="T27" fmla="*/ 2147483646 h 592"/>
                  <a:gd name="T28" fmla="*/ 2147483646 w 792"/>
                  <a:gd name="T29" fmla="*/ 2147483646 h 592"/>
                  <a:gd name="T30" fmla="*/ 2147483646 w 792"/>
                  <a:gd name="T31" fmla="*/ 2147483646 h 592"/>
                  <a:gd name="T32" fmla="*/ 2147483646 w 792"/>
                  <a:gd name="T33" fmla="*/ 2147483646 h 592"/>
                  <a:gd name="T34" fmla="*/ 2147483646 w 792"/>
                  <a:gd name="T35" fmla="*/ 2147483646 h 592"/>
                  <a:gd name="T36" fmla="*/ 2147483646 w 792"/>
                  <a:gd name="T37" fmla="*/ 2147483646 h 592"/>
                  <a:gd name="T38" fmla="*/ 2147483646 w 792"/>
                  <a:gd name="T39" fmla="*/ 2147483646 h 592"/>
                  <a:gd name="T40" fmla="*/ 2147483646 w 792"/>
                  <a:gd name="T41" fmla="*/ 2147483646 h 592"/>
                  <a:gd name="T42" fmla="*/ 2147483646 w 792"/>
                  <a:gd name="T43" fmla="*/ 2147483646 h 592"/>
                  <a:gd name="T44" fmla="*/ 2147483646 w 792"/>
                  <a:gd name="T45" fmla="*/ 2147483646 h 592"/>
                  <a:gd name="T46" fmla="*/ 2147483646 w 792"/>
                  <a:gd name="T47" fmla="*/ 2147483646 h 592"/>
                  <a:gd name="T48" fmla="*/ 2147483646 w 792"/>
                  <a:gd name="T49" fmla="*/ 2147483646 h 592"/>
                  <a:gd name="T50" fmla="*/ 2147483646 w 792"/>
                  <a:gd name="T51" fmla="*/ 2147483646 h 592"/>
                  <a:gd name="T52" fmla="*/ 2147483646 w 792"/>
                  <a:gd name="T53" fmla="*/ 2147483646 h 592"/>
                  <a:gd name="T54" fmla="*/ 2147483646 w 792"/>
                  <a:gd name="T55" fmla="*/ 2147483646 h 592"/>
                  <a:gd name="T56" fmla="*/ 2147483646 w 792"/>
                  <a:gd name="T57" fmla="*/ 2147483646 h 592"/>
                  <a:gd name="T58" fmla="*/ 2147483646 w 792"/>
                  <a:gd name="T59" fmla="*/ 2147483646 h 592"/>
                  <a:gd name="T60" fmla="*/ 2147483646 w 792"/>
                  <a:gd name="T61" fmla="*/ 2147483646 h 592"/>
                  <a:gd name="T62" fmla="*/ 2147483646 w 792"/>
                  <a:gd name="T63" fmla="*/ 2147483646 h 592"/>
                  <a:gd name="T64" fmla="*/ 2147483646 w 792"/>
                  <a:gd name="T65" fmla="*/ 2147483646 h 592"/>
                  <a:gd name="T66" fmla="*/ 2147483646 w 792"/>
                  <a:gd name="T67" fmla="*/ 2147483646 h 592"/>
                  <a:gd name="T68" fmla="*/ 2147483646 w 792"/>
                  <a:gd name="T69" fmla="*/ 2147483646 h 592"/>
                  <a:gd name="T70" fmla="*/ 2147483646 w 792"/>
                  <a:gd name="T71" fmla="*/ 2147483646 h 592"/>
                  <a:gd name="T72" fmla="*/ 2147483646 w 792"/>
                  <a:gd name="T73" fmla="*/ 2147483646 h 592"/>
                  <a:gd name="T74" fmla="*/ 2147483646 w 792"/>
                  <a:gd name="T75" fmla="*/ 2147483646 h 592"/>
                  <a:gd name="T76" fmla="*/ 2147483646 w 792"/>
                  <a:gd name="T77" fmla="*/ 2147483646 h 592"/>
                  <a:gd name="T78" fmla="*/ 0 w 792"/>
                  <a:gd name="T79" fmla="*/ 2147483646 h 592"/>
                  <a:gd name="T80" fmla="*/ 2147483646 w 792"/>
                  <a:gd name="T81" fmla="*/ 2147483646 h 592"/>
                  <a:gd name="T82" fmla="*/ 2147483646 w 792"/>
                  <a:gd name="T83" fmla="*/ 2147483646 h 592"/>
                  <a:gd name="T84" fmla="*/ 2147483646 w 792"/>
                  <a:gd name="T85" fmla="*/ 2147483646 h 592"/>
                  <a:gd name="T86" fmla="*/ 2147483646 w 792"/>
                  <a:gd name="T87" fmla="*/ 2147483646 h 592"/>
                  <a:gd name="T88" fmla="*/ 2147483646 w 792"/>
                  <a:gd name="T89" fmla="*/ 2147483646 h 592"/>
                  <a:gd name="T90" fmla="*/ 2147483646 w 792"/>
                  <a:gd name="T91" fmla="*/ 2147483646 h 592"/>
                  <a:gd name="T92" fmla="*/ 2147483646 w 792"/>
                  <a:gd name="T93" fmla="*/ 2147483646 h 592"/>
                  <a:gd name="T94" fmla="*/ 2147483646 w 792"/>
                  <a:gd name="T95" fmla="*/ 2147483646 h 592"/>
                  <a:gd name="T96" fmla="*/ 2147483646 w 792"/>
                  <a:gd name="T97" fmla="*/ 2147483646 h 592"/>
                  <a:gd name="T98" fmla="*/ 2147483646 w 792"/>
                  <a:gd name="T99" fmla="*/ 2147483646 h 592"/>
                  <a:gd name="T100" fmla="*/ 2147483646 w 792"/>
                  <a:gd name="T101" fmla="*/ 0 h 592"/>
                  <a:gd name="T102" fmla="*/ 2147483646 w 792"/>
                  <a:gd name="T103" fmla="*/ 2147483646 h 5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2"/>
                  <a:gd name="T157" fmla="*/ 0 h 592"/>
                  <a:gd name="T158" fmla="*/ 792 w 792"/>
                  <a:gd name="T159" fmla="*/ 592 h 5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2" h="592">
                    <a:moveTo>
                      <a:pt x="504" y="8"/>
                    </a:moveTo>
                    <a:lnTo>
                      <a:pt x="512" y="32"/>
                    </a:lnTo>
                    <a:lnTo>
                      <a:pt x="544" y="64"/>
                    </a:lnTo>
                    <a:lnTo>
                      <a:pt x="568" y="56"/>
                    </a:lnTo>
                    <a:lnTo>
                      <a:pt x="624" y="128"/>
                    </a:lnTo>
                    <a:lnTo>
                      <a:pt x="640" y="104"/>
                    </a:lnTo>
                    <a:lnTo>
                      <a:pt x="688" y="144"/>
                    </a:lnTo>
                    <a:lnTo>
                      <a:pt x="688" y="192"/>
                    </a:lnTo>
                    <a:lnTo>
                      <a:pt x="744" y="288"/>
                    </a:lnTo>
                    <a:lnTo>
                      <a:pt x="712" y="320"/>
                    </a:lnTo>
                    <a:lnTo>
                      <a:pt x="728" y="352"/>
                    </a:lnTo>
                    <a:lnTo>
                      <a:pt x="784" y="328"/>
                    </a:lnTo>
                    <a:lnTo>
                      <a:pt x="792" y="392"/>
                    </a:lnTo>
                    <a:lnTo>
                      <a:pt x="760" y="384"/>
                    </a:lnTo>
                    <a:lnTo>
                      <a:pt x="760" y="416"/>
                    </a:lnTo>
                    <a:lnTo>
                      <a:pt x="712" y="400"/>
                    </a:lnTo>
                    <a:lnTo>
                      <a:pt x="728" y="480"/>
                    </a:lnTo>
                    <a:lnTo>
                      <a:pt x="664" y="424"/>
                    </a:lnTo>
                    <a:lnTo>
                      <a:pt x="544" y="424"/>
                    </a:lnTo>
                    <a:lnTo>
                      <a:pt x="480" y="432"/>
                    </a:lnTo>
                    <a:lnTo>
                      <a:pt x="432" y="456"/>
                    </a:lnTo>
                    <a:lnTo>
                      <a:pt x="376" y="416"/>
                    </a:lnTo>
                    <a:lnTo>
                      <a:pt x="392" y="480"/>
                    </a:lnTo>
                    <a:lnTo>
                      <a:pt x="336" y="528"/>
                    </a:lnTo>
                    <a:lnTo>
                      <a:pt x="328" y="584"/>
                    </a:lnTo>
                    <a:lnTo>
                      <a:pt x="240" y="592"/>
                    </a:lnTo>
                    <a:lnTo>
                      <a:pt x="256" y="536"/>
                    </a:lnTo>
                    <a:lnTo>
                      <a:pt x="176" y="528"/>
                    </a:lnTo>
                    <a:lnTo>
                      <a:pt x="136" y="584"/>
                    </a:lnTo>
                    <a:lnTo>
                      <a:pt x="96" y="552"/>
                    </a:lnTo>
                    <a:lnTo>
                      <a:pt x="56" y="576"/>
                    </a:lnTo>
                    <a:lnTo>
                      <a:pt x="16" y="560"/>
                    </a:lnTo>
                    <a:lnTo>
                      <a:pt x="32" y="496"/>
                    </a:lnTo>
                    <a:lnTo>
                      <a:pt x="8" y="456"/>
                    </a:lnTo>
                    <a:lnTo>
                      <a:pt x="32" y="408"/>
                    </a:lnTo>
                    <a:lnTo>
                      <a:pt x="8" y="360"/>
                    </a:lnTo>
                    <a:lnTo>
                      <a:pt x="48" y="360"/>
                    </a:lnTo>
                    <a:lnTo>
                      <a:pt x="56" y="328"/>
                    </a:lnTo>
                    <a:lnTo>
                      <a:pt x="40" y="288"/>
                    </a:lnTo>
                    <a:lnTo>
                      <a:pt x="0" y="264"/>
                    </a:lnTo>
                    <a:lnTo>
                      <a:pt x="32" y="232"/>
                    </a:lnTo>
                    <a:lnTo>
                      <a:pt x="8" y="176"/>
                    </a:lnTo>
                    <a:lnTo>
                      <a:pt x="72" y="152"/>
                    </a:lnTo>
                    <a:lnTo>
                      <a:pt x="96" y="104"/>
                    </a:lnTo>
                    <a:lnTo>
                      <a:pt x="136" y="56"/>
                    </a:lnTo>
                    <a:lnTo>
                      <a:pt x="184" y="48"/>
                    </a:lnTo>
                    <a:lnTo>
                      <a:pt x="248" y="32"/>
                    </a:lnTo>
                    <a:lnTo>
                      <a:pt x="360" y="40"/>
                    </a:lnTo>
                    <a:lnTo>
                      <a:pt x="392" y="16"/>
                    </a:lnTo>
                    <a:lnTo>
                      <a:pt x="448" y="16"/>
                    </a:lnTo>
                    <a:lnTo>
                      <a:pt x="472" y="0"/>
                    </a:lnTo>
                    <a:lnTo>
                      <a:pt x="504" y="8"/>
                    </a:lnTo>
                    <a:close/>
                  </a:path>
                </a:pathLst>
              </a:custGeom>
              <a:solidFill>
                <a:srgbClr val="9950A8"/>
              </a:solidFill>
              <a:ln w="9525">
                <a:solidFill>
                  <a:schemeClr val="bg1"/>
                </a:solidFill>
                <a:round/>
                <a:headEnd/>
                <a:tailEnd/>
              </a:ln>
            </p:spPr>
            <p:txBody>
              <a:bodyPr/>
              <a:lstStyle/>
              <a:p>
                <a:endParaRPr lang="en-US" sz="1050"/>
              </a:p>
            </p:txBody>
          </p:sp>
          <p:sp>
            <p:nvSpPr>
              <p:cNvPr id="146" name="Rectangle 145"/>
              <p:cNvSpPr/>
              <p:nvPr/>
            </p:nvSpPr>
            <p:spPr>
              <a:xfrm>
                <a:off x="5201121" y="2982085"/>
                <a:ext cx="207759" cy="163567"/>
              </a:xfrm>
              <a:prstGeom prst="rect">
                <a:avLst/>
              </a:prstGeom>
              <a:ln>
                <a:noFill/>
              </a:ln>
            </p:spPr>
            <p:txBody>
              <a:bodyPr wrap="square" lIns="0" tIns="0" rIns="0" bIns="0">
                <a:spAutoFit/>
              </a:bodyPr>
              <a:lstStyle/>
              <a:p>
                <a:pPr>
                  <a:lnSpc>
                    <a:spcPct val="93000"/>
                  </a:lnSpc>
                </a:pPr>
                <a:r>
                  <a:rPr lang="ro-RO" sz="1200" b="1" dirty="0">
                    <a:solidFill>
                      <a:schemeClr val="bg1"/>
                    </a:solidFill>
                    <a:latin typeface="Trebuchet MS" panose="020B0603020202020204" pitchFamily="34" charset="0"/>
                    <a:cs typeface="Arial" pitchFamily="34" charset="0"/>
                  </a:rPr>
                  <a:t>SV</a:t>
                </a:r>
                <a:endParaRPr lang="en-US" sz="1200" b="1" dirty="0">
                  <a:solidFill>
                    <a:schemeClr val="bg1"/>
                  </a:solidFill>
                  <a:latin typeface="Trebuchet MS" panose="020B0603020202020204" pitchFamily="34" charset="0"/>
                  <a:cs typeface="Arial" pitchFamily="34" charset="0"/>
                </a:endParaRPr>
              </a:p>
            </p:txBody>
          </p:sp>
        </p:grpSp>
        <p:sp>
          <p:nvSpPr>
            <p:cNvPr id="161" name="TextBox 160"/>
            <p:cNvSpPr txBox="1"/>
            <p:nvPr/>
          </p:nvSpPr>
          <p:spPr>
            <a:xfrm>
              <a:off x="3676958" y="1569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T</a:t>
              </a:r>
            </a:p>
          </p:txBody>
        </p:sp>
        <p:sp>
          <p:nvSpPr>
            <p:cNvPr id="162" name="Rectangle 161"/>
            <p:cNvSpPr/>
            <p:nvPr/>
          </p:nvSpPr>
          <p:spPr>
            <a:xfrm>
              <a:off x="4250112" y="2541919"/>
              <a:ext cx="359394"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VS</a:t>
              </a:r>
            </a:p>
          </p:txBody>
        </p:sp>
        <p:sp>
          <p:nvSpPr>
            <p:cNvPr id="163" name="Rectangle 162"/>
            <p:cNvSpPr/>
            <p:nvPr/>
          </p:nvSpPr>
          <p:spPr>
            <a:xfrm>
              <a:off x="3988142" y="1971843"/>
              <a:ext cx="306495" cy="276999"/>
            </a:xfrm>
            <a:prstGeom prst="rect">
              <a:avLst/>
            </a:prstGeom>
          </p:spPr>
          <p:txBody>
            <a:bodyPr wrap="none">
              <a:spAutoFit/>
            </a:bodyPr>
            <a:lstStyle/>
            <a:p>
              <a:pPr algn="ctr"/>
              <a:r>
                <a:rPr lang="en-US" sz="1200" b="1" dirty="0">
                  <a:solidFill>
                    <a:srgbClr val="002368"/>
                  </a:solidFill>
                  <a:latin typeface="Trebuchet MS" panose="020B0603020202020204" pitchFamily="34" charset="0"/>
                  <a:cs typeface="Arial" panose="020B0604020202020204" pitchFamily="34" charset="0"/>
                </a:rPr>
                <a:t>IS</a:t>
              </a:r>
            </a:p>
          </p:txBody>
        </p:sp>
        <p:sp>
          <p:nvSpPr>
            <p:cNvPr id="164" name="TextBox 163"/>
            <p:cNvSpPr txBox="1"/>
            <p:nvPr/>
          </p:nvSpPr>
          <p:spPr>
            <a:xfrm>
              <a:off x="4263886" y="31081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L</a:t>
              </a:r>
            </a:p>
          </p:txBody>
        </p:sp>
        <p:sp>
          <p:nvSpPr>
            <p:cNvPr id="165" name="TextBox 164"/>
            <p:cNvSpPr txBox="1"/>
            <p:nvPr/>
          </p:nvSpPr>
          <p:spPr>
            <a:xfrm>
              <a:off x="4733214" y="3745133"/>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L</a:t>
              </a:r>
            </a:p>
          </p:txBody>
        </p:sp>
        <p:sp>
          <p:nvSpPr>
            <p:cNvPr id="166" name="TextBox 165"/>
            <p:cNvSpPr txBox="1"/>
            <p:nvPr/>
          </p:nvSpPr>
          <p:spPr>
            <a:xfrm>
              <a:off x="4638389" y="429948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CT</a:t>
              </a:r>
            </a:p>
          </p:txBody>
        </p:sp>
        <p:sp>
          <p:nvSpPr>
            <p:cNvPr id="167" name="TextBox 166"/>
            <p:cNvSpPr txBox="1"/>
            <p:nvPr/>
          </p:nvSpPr>
          <p:spPr>
            <a:xfrm>
              <a:off x="4243322" y="368602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R</a:t>
              </a:r>
            </a:p>
          </p:txBody>
        </p:sp>
        <p:sp>
          <p:nvSpPr>
            <p:cNvPr id="168" name="TextBox 167"/>
            <p:cNvSpPr txBox="1"/>
            <p:nvPr/>
          </p:nvSpPr>
          <p:spPr>
            <a:xfrm>
              <a:off x="3880173" y="429165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L</a:t>
              </a:r>
            </a:p>
          </p:txBody>
        </p:sp>
        <p:sp>
          <p:nvSpPr>
            <p:cNvPr id="169" name="TextBox 168"/>
            <p:cNvSpPr txBox="1"/>
            <p:nvPr/>
          </p:nvSpPr>
          <p:spPr>
            <a:xfrm>
              <a:off x="4041365" y="402616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IL</a:t>
              </a:r>
            </a:p>
          </p:txBody>
        </p:sp>
        <p:sp>
          <p:nvSpPr>
            <p:cNvPr id="171" name="TextBox 170"/>
            <p:cNvSpPr txBox="1"/>
            <p:nvPr/>
          </p:nvSpPr>
          <p:spPr>
            <a:xfrm>
              <a:off x="3370944" y="4241221"/>
              <a:ext cx="754380" cy="138499"/>
            </a:xfrm>
            <a:prstGeom prst="rect">
              <a:avLst/>
            </a:prstGeom>
            <a:noFill/>
            <a:ln w="9525">
              <a:noFill/>
            </a:ln>
          </p:spPr>
          <p:txBody>
            <a:bodyPr wrap="square" lIns="0" tIns="0" rIns="0" bIns="0" rtlCol="0" anchor="ctr">
              <a:spAutoFit/>
            </a:bodyPr>
            <a:lstStyle/>
            <a:p>
              <a:r>
                <a:rPr lang="en-US" sz="900" b="1" dirty="0">
                  <a:solidFill>
                    <a:srgbClr val="FF0000"/>
                  </a:solidFill>
                  <a:latin typeface="Trebuchet MS" panose="020B0603020202020204" pitchFamily="34" charset="0"/>
                  <a:cs typeface="Arial" panose="020B0604020202020204" pitchFamily="34" charset="0"/>
                </a:rPr>
                <a:t>Bucharest</a:t>
              </a:r>
            </a:p>
          </p:txBody>
        </p:sp>
        <p:sp>
          <p:nvSpPr>
            <p:cNvPr id="172" name="Rectangle 171"/>
            <p:cNvSpPr/>
            <p:nvPr/>
          </p:nvSpPr>
          <p:spPr>
            <a:xfrm>
              <a:off x="3422224" y="2209171"/>
              <a:ext cx="381836"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NT</a:t>
              </a:r>
            </a:p>
          </p:txBody>
        </p:sp>
        <p:sp>
          <p:nvSpPr>
            <p:cNvPr id="173" name="TextBox 172"/>
            <p:cNvSpPr txBox="1"/>
            <p:nvPr/>
          </p:nvSpPr>
          <p:spPr>
            <a:xfrm>
              <a:off x="3710781" y="268155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C</a:t>
              </a:r>
            </a:p>
          </p:txBody>
        </p:sp>
        <p:sp>
          <p:nvSpPr>
            <p:cNvPr id="174" name="TextBox 173"/>
            <p:cNvSpPr txBox="1"/>
            <p:nvPr/>
          </p:nvSpPr>
          <p:spPr>
            <a:xfrm>
              <a:off x="3798490" y="314519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N</a:t>
              </a:r>
            </a:p>
          </p:txBody>
        </p:sp>
        <p:sp>
          <p:nvSpPr>
            <p:cNvPr id="175" name="TextBox 174"/>
            <p:cNvSpPr txBox="1"/>
            <p:nvPr/>
          </p:nvSpPr>
          <p:spPr>
            <a:xfrm>
              <a:off x="3718369" y="3545288"/>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Z</a:t>
              </a:r>
            </a:p>
          </p:txBody>
        </p:sp>
        <p:sp>
          <p:nvSpPr>
            <p:cNvPr id="176" name="TextBox 175"/>
            <p:cNvSpPr txBox="1"/>
            <p:nvPr/>
          </p:nvSpPr>
          <p:spPr>
            <a:xfrm>
              <a:off x="3288566" y="364959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PH</a:t>
              </a:r>
            </a:p>
          </p:txBody>
        </p:sp>
        <p:sp>
          <p:nvSpPr>
            <p:cNvPr id="177" name="TextBox 176"/>
            <p:cNvSpPr txBox="1"/>
            <p:nvPr/>
          </p:nvSpPr>
          <p:spPr>
            <a:xfrm>
              <a:off x="3298226" y="441070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GR</a:t>
              </a:r>
            </a:p>
          </p:txBody>
        </p:sp>
        <p:sp>
          <p:nvSpPr>
            <p:cNvPr id="178" name="TextBox 177"/>
            <p:cNvSpPr txBox="1"/>
            <p:nvPr/>
          </p:nvSpPr>
          <p:spPr>
            <a:xfrm>
              <a:off x="3010532" y="381557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DB</a:t>
              </a:r>
            </a:p>
          </p:txBody>
        </p:sp>
        <p:sp>
          <p:nvSpPr>
            <p:cNvPr id="179" name="TextBox 178"/>
            <p:cNvSpPr txBox="1"/>
            <p:nvPr/>
          </p:nvSpPr>
          <p:spPr>
            <a:xfrm>
              <a:off x="2662816" y="3646323"/>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G</a:t>
              </a:r>
            </a:p>
          </p:txBody>
        </p:sp>
        <p:sp>
          <p:nvSpPr>
            <p:cNvPr id="180" name="TextBox 179"/>
            <p:cNvSpPr txBox="1"/>
            <p:nvPr/>
          </p:nvSpPr>
          <p:spPr>
            <a:xfrm>
              <a:off x="2846150" y="312237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V</a:t>
              </a:r>
            </a:p>
          </p:txBody>
        </p:sp>
        <p:sp>
          <p:nvSpPr>
            <p:cNvPr id="181" name="TextBox 180"/>
            <p:cNvSpPr txBox="1"/>
            <p:nvPr/>
          </p:nvSpPr>
          <p:spPr>
            <a:xfrm>
              <a:off x="3309773" y="3045321"/>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V</a:t>
              </a:r>
            </a:p>
          </p:txBody>
        </p:sp>
        <p:sp>
          <p:nvSpPr>
            <p:cNvPr id="182" name="TextBox 181"/>
            <p:cNvSpPr txBox="1"/>
            <p:nvPr/>
          </p:nvSpPr>
          <p:spPr>
            <a:xfrm>
              <a:off x="3035030" y="260412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HR</a:t>
              </a:r>
            </a:p>
          </p:txBody>
        </p:sp>
        <p:sp>
          <p:nvSpPr>
            <p:cNvPr id="183" name="TextBox 182"/>
            <p:cNvSpPr txBox="1"/>
            <p:nvPr/>
          </p:nvSpPr>
          <p:spPr>
            <a:xfrm>
              <a:off x="2556905" y="2514487"/>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S</a:t>
              </a:r>
            </a:p>
          </p:txBody>
        </p:sp>
        <p:sp>
          <p:nvSpPr>
            <p:cNvPr id="184" name="TextBox 183"/>
            <p:cNvSpPr txBox="1"/>
            <p:nvPr/>
          </p:nvSpPr>
          <p:spPr>
            <a:xfrm>
              <a:off x="2325094" y="30932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SB</a:t>
              </a:r>
            </a:p>
          </p:txBody>
        </p:sp>
        <p:sp>
          <p:nvSpPr>
            <p:cNvPr id="185" name="TextBox 184"/>
            <p:cNvSpPr txBox="1"/>
            <p:nvPr/>
          </p:nvSpPr>
          <p:spPr>
            <a:xfrm>
              <a:off x="1591026" y="314058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HD</a:t>
              </a:r>
            </a:p>
          </p:txBody>
        </p:sp>
        <p:sp>
          <p:nvSpPr>
            <p:cNvPr id="186" name="TextBox 185"/>
            <p:cNvSpPr txBox="1"/>
            <p:nvPr/>
          </p:nvSpPr>
          <p:spPr>
            <a:xfrm>
              <a:off x="1064621" y="359629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S</a:t>
              </a:r>
            </a:p>
          </p:txBody>
        </p:sp>
        <p:sp>
          <p:nvSpPr>
            <p:cNvPr id="187" name="TextBox 186"/>
            <p:cNvSpPr txBox="1"/>
            <p:nvPr/>
          </p:nvSpPr>
          <p:spPr>
            <a:xfrm>
              <a:off x="2295346" y="3634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L</a:t>
              </a:r>
            </a:p>
          </p:txBody>
        </p:sp>
        <p:sp>
          <p:nvSpPr>
            <p:cNvPr id="188" name="TextBox 187"/>
            <p:cNvSpPr txBox="1"/>
            <p:nvPr/>
          </p:nvSpPr>
          <p:spPr>
            <a:xfrm>
              <a:off x="1823048" y="371512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J</a:t>
              </a:r>
            </a:p>
          </p:txBody>
        </p:sp>
        <p:sp>
          <p:nvSpPr>
            <p:cNvPr id="189" name="TextBox 188"/>
            <p:cNvSpPr txBox="1"/>
            <p:nvPr/>
          </p:nvSpPr>
          <p:spPr>
            <a:xfrm>
              <a:off x="1522379" y="416741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MH</a:t>
              </a:r>
            </a:p>
          </p:txBody>
        </p:sp>
        <p:sp>
          <p:nvSpPr>
            <p:cNvPr id="190" name="TextBox 189"/>
            <p:cNvSpPr txBox="1"/>
            <p:nvPr/>
          </p:nvSpPr>
          <p:spPr>
            <a:xfrm>
              <a:off x="1957935" y="440552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DJ</a:t>
              </a:r>
            </a:p>
          </p:txBody>
        </p:sp>
        <p:sp>
          <p:nvSpPr>
            <p:cNvPr id="191" name="TextBox 190"/>
            <p:cNvSpPr txBox="1"/>
            <p:nvPr/>
          </p:nvSpPr>
          <p:spPr>
            <a:xfrm>
              <a:off x="2421570" y="428584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OT</a:t>
              </a:r>
            </a:p>
          </p:txBody>
        </p:sp>
        <p:sp>
          <p:nvSpPr>
            <p:cNvPr id="192" name="TextBox 191"/>
            <p:cNvSpPr txBox="1"/>
            <p:nvPr/>
          </p:nvSpPr>
          <p:spPr>
            <a:xfrm>
              <a:off x="2844848" y="446218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R</a:t>
              </a:r>
            </a:p>
          </p:txBody>
        </p:sp>
        <p:sp>
          <p:nvSpPr>
            <p:cNvPr id="193" name="TextBox 192"/>
            <p:cNvSpPr txBox="1"/>
            <p:nvPr/>
          </p:nvSpPr>
          <p:spPr>
            <a:xfrm>
              <a:off x="1190198" y="222484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H</a:t>
              </a:r>
            </a:p>
          </p:txBody>
        </p:sp>
        <p:sp>
          <p:nvSpPr>
            <p:cNvPr id="194" name="TextBox 193"/>
            <p:cNvSpPr txBox="1"/>
            <p:nvPr/>
          </p:nvSpPr>
          <p:spPr>
            <a:xfrm>
              <a:off x="1930937" y="283174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B</a:t>
              </a:r>
            </a:p>
          </p:txBody>
        </p:sp>
        <p:sp>
          <p:nvSpPr>
            <p:cNvPr id="195" name="TextBox 194"/>
            <p:cNvSpPr txBox="1"/>
            <p:nvPr/>
          </p:nvSpPr>
          <p:spPr>
            <a:xfrm>
              <a:off x="919393" y="271731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R</a:t>
              </a:r>
            </a:p>
          </p:txBody>
        </p:sp>
        <p:sp>
          <p:nvSpPr>
            <p:cNvPr id="196" name="TextBox 195"/>
            <p:cNvSpPr txBox="1"/>
            <p:nvPr/>
          </p:nvSpPr>
          <p:spPr>
            <a:xfrm>
              <a:off x="642056" y="314774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TM</a:t>
              </a:r>
            </a:p>
          </p:txBody>
        </p:sp>
        <p:sp>
          <p:nvSpPr>
            <p:cNvPr id="197" name="TextBox 196"/>
            <p:cNvSpPr txBox="1"/>
            <p:nvPr/>
          </p:nvSpPr>
          <p:spPr>
            <a:xfrm>
              <a:off x="2450659" y="201740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BN</a:t>
              </a:r>
            </a:p>
          </p:txBody>
        </p:sp>
        <p:sp>
          <p:nvSpPr>
            <p:cNvPr id="198" name="TextBox 197"/>
            <p:cNvSpPr txBox="1"/>
            <p:nvPr/>
          </p:nvSpPr>
          <p:spPr>
            <a:xfrm>
              <a:off x="2100349" y="1727247"/>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M</a:t>
              </a:r>
            </a:p>
          </p:txBody>
        </p:sp>
        <p:sp>
          <p:nvSpPr>
            <p:cNvPr id="199" name="TextBox 198"/>
            <p:cNvSpPr txBox="1"/>
            <p:nvPr/>
          </p:nvSpPr>
          <p:spPr>
            <a:xfrm>
              <a:off x="1548682" y="171859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M</a:t>
              </a:r>
            </a:p>
          </p:txBody>
        </p:sp>
        <p:sp>
          <p:nvSpPr>
            <p:cNvPr id="200" name="TextBox 199"/>
            <p:cNvSpPr txBox="1"/>
            <p:nvPr/>
          </p:nvSpPr>
          <p:spPr>
            <a:xfrm>
              <a:off x="1743876" y="208389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J</a:t>
              </a:r>
            </a:p>
          </p:txBody>
        </p:sp>
        <p:sp>
          <p:nvSpPr>
            <p:cNvPr id="201" name="TextBox 200"/>
            <p:cNvSpPr txBox="1"/>
            <p:nvPr/>
          </p:nvSpPr>
          <p:spPr>
            <a:xfrm>
              <a:off x="1960468" y="2401159"/>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J</a:t>
              </a:r>
            </a:p>
          </p:txBody>
        </p:sp>
        <p:sp>
          <p:nvSpPr>
            <p:cNvPr id="203" name="TextBox 202"/>
            <p:cNvSpPr txBox="1"/>
            <p:nvPr/>
          </p:nvSpPr>
          <p:spPr>
            <a:xfrm>
              <a:off x="3370666" y="406191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I</a:t>
              </a:r>
              <a:r>
                <a:rPr lang="ro-RO" sz="1200" b="1" dirty="0">
                  <a:solidFill>
                    <a:srgbClr val="002368"/>
                  </a:solidFill>
                  <a:latin typeface="Trebuchet MS" panose="020B0603020202020204" pitchFamily="34" charset="0"/>
                  <a:cs typeface="Arial" panose="020B0604020202020204" pitchFamily="34" charset="0"/>
                </a:rPr>
                <a:t>F</a:t>
              </a:r>
              <a:endParaRPr lang="en-US" sz="1200" b="1" dirty="0">
                <a:solidFill>
                  <a:srgbClr val="002368"/>
                </a:solidFill>
                <a:latin typeface="Trebuchet MS" panose="020B0603020202020204" pitchFamily="34" charset="0"/>
                <a:cs typeface="Arial" panose="020B0604020202020204" pitchFamily="34" charset="0"/>
              </a:endParaRPr>
            </a:p>
          </p:txBody>
        </p:sp>
      </p:grpSp>
      <p:grpSp>
        <p:nvGrpSpPr>
          <p:cNvPr id="2" name="Group 1"/>
          <p:cNvGrpSpPr/>
          <p:nvPr/>
        </p:nvGrpSpPr>
        <p:grpSpPr>
          <a:xfrm>
            <a:off x="7626026" y="1770288"/>
            <a:ext cx="1150562" cy="2405168"/>
            <a:chOff x="8369179" y="2625244"/>
            <a:chExt cx="1534083" cy="3206890"/>
          </a:xfrm>
        </p:grpSpPr>
        <p:sp>
          <p:nvSpPr>
            <p:cNvPr id="148" name="TextBox 147"/>
            <p:cNvSpPr txBox="1"/>
            <p:nvPr/>
          </p:nvSpPr>
          <p:spPr>
            <a:xfrm>
              <a:off x="8921326" y="2636612"/>
              <a:ext cx="457200" cy="246221"/>
            </a:xfrm>
            <a:prstGeom prst="rect">
              <a:avLst/>
            </a:prstGeom>
            <a:noFill/>
            <a:ln w="9525">
              <a:noFill/>
            </a:ln>
          </p:spPr>
          <p:txBody>
            <a:bodyPr wrap="square" lIns="0" tIns="0" rIns="0" bIns="0" rtlCol="0" anchor="ctr">
              <a:spAutoFit/>
            </a:bodyPr>
            <a:lstStyle/>
            <a:p>
              <a:pPr algn="ctr"/>
              <a:r>
                <a:rPr lang="en-US" sz="1200" b="1" dirty="0">
                  <a:solidFill>
                    <a:srgbClr val="545558"/>
                  </a:solidFill>
                  <a:latin typeface="Trebuchet MS" panose="020B0603020202020204" pitchFamily="34" charset="0"/>
                  <a:cs typeface="Arial" panose="020B0604020202020204" pitchFamily="34" charset="0"/>
                </a:rPr>
                <a:t>30%</a:t>
              </a:r>
            </a:p>
          </p:txBody>
        </p:sp>
        <p:sp>
          <p:nvSpPr>
            <p:cNvPr id="149" name="TextBox 148"/>
            <p:cNvSpPr txBox="1"/>
            <p:nvPr/>
          </p:nvSpPr>
          <p:spPr>
            <a:xfrm>
              <a:off x="8921326" y="3153263"/>
              <a:ext cx="4572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40%</a:t>
              </a:r>
            </a:p>
          </p:txBody>
        </p:sp>
        <p:sp>
          <p:nvSpPr>
            <p:cNvPr id="150" name="TextBox 149"/>
            <p:cNvSpPr txBox="1"/>
            <p:nvPr/>
          </p:nvSpPr>
          <p:spPr>
            <a:xfrm>
              <a:off x="8921326" y="3688893"/>
              <a:ext cx="4572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50%</a:t>
              </a:r>
            </a:p>
          </p:txBody>
        </p:sp>
        <p:sp>
          <p:nvSpPr>
            <p:cNvPr id="151" name="TextBox 150"/>
            <p:cNvSpPr txBox="1"/>
            <p:nvPr/>
          </p:nvSpPr>
          <p:spPr>
            <a:xfrm>
              <a:off x="8921324" y="4178898"/>
              <a:ext cx="5486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60%</a:t>
              </a:r>
            </a:p>
          </p:txBody>
        </p:sp>
        <p:sp>
          <p:nvSpPr>
            <p:cNvPr id="152" name="TextBox 151"/>
            <p:cNvSpPr txBox="1"/>
            <p:nvPr/>
          </p:nvSpPr>
          <p:spPr>
            <a:xfrm>
              <a:off x="8897422" y="5105003"/>
              <a:ext cx="10058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Ineligible</a:t>
              </a:r>
            </a:p>
          </p:txBody>
        </p:sp>
        <p:sp>
          <p:nvSpPr>
            <p:cNvPr id="153" name="TextBox 152"/>
            <p:cNvSpPr txBox="1"/>
            <p:nvPr/>
          </p:nvSpPr>
          <p:spPr>
            <a:xfrm>
              <a:off x="8897422" y="5569182"/>
              <a:ext cx="9144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30%-40%</a:t>
              </a:r>
            </a:p>
          </p:txBody>
        </p:sp>
        <p:sp>
          <p:nvSpPr>
            <p:cNvPr id="154" name="Rectangle 153"/>
            <p:cNvSpPr/>
            <p:nvPr/>
          </p:nvSpPr>
          <p:spPr>
            <a:xfrm>
              <a:off x="8369179" y="5557814"/>
              <a:ext cx="274320" cy="2743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Rectangle 154"/>
            <p:cNvSpPr/>
            <p:nvPr/>
          </p:nvSpPr>
          <p:spPr>
            <a:xfrm>
              <a:off x="8369179" y="5092296"/>
              <a:ext cx="274320" cy="274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6" name="Rectangle 155"/>
            <p:cNvSpPr/>
            <p:nvPr/>
          </p:nvSpPr>
          <p:spPr>
            <a:xfrm>
              <a:off x="8369179" y="4169578"/>
              <a:ext cx="274320" cy="274320"/>
            </a:xfrm>
            <a:prstGeom prst="rect">
              <a:avLst/>
            </a:prstGeom>
            <a:solidFill>
              <a:srgbClr val="995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7" name="Rectangle 156"/>
            <p:cNvSpPr/>
            <p:nvPr/>
          </p:nvSpPr>
          <p:spPr>
            <a:xfrm>
              <a:off x="8369179" y="3676186"/>
              <a:ext cx="274320" cy="274320"/>
            </a:xfrm>
            <a:prstGeom prst="rect">
              <a:avLst/>
            </a:prstGeom>
            <a:solidFill>
              <a:srgbClr val="C6CF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8" name="Rectangle 157"/>
            <p:cNvSpPr/>
            <p:nvPr/>
          </p:nvSpPr>
          <p:spPr>
            <a:xfrm>
              <a:off x="8369179" y="3140555"/>
              <a:ext cx="274320" cy="274320"/>
            </a:xfrm>
            <a:prstGeom prst="rect">
              <a:avLst/>
            </a:prstGeom>
            <a:solidFill>
              <a:srgbClr val="4670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9" name="Rectangle 158"/>
            <p:cNvSpPr/>
            <p:nvPr/>
          </p:nvSpPr>
          <p:spPr>
            <a:xfrm>
              <a:off x="8369179" y="2625244"/>
              <a:ext cx="274320" cy="274320"/>
            </a:xfrm>
            <a:prstGeom prst="rect">
              <a:avLst/>
            </a:prstGeom>
            <a:solidFill>
              <a:srgbClr val="C6B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2" name="TextBox 101"/>
            <p:cNvSpPr txBox="1"/>
            <p:nvPr/>
          </p:nvSpPr>
          <p:spPr>
            <a:xfrm>
              <a:off x="8921324" y="4636098"/>
              <a:ext cx="548640" cy="246221"/>
            </a:xfrm>
            <a:prstGeom prst="rect">
              <a:avLst/>
            </a:prstGeom>
            <a:noFill/>
            <a:ln w="9525">
              <a:noFill/>
            </a:ln>
          </p:spPr>
          <p:txBody>
            <a:bodyPr wrap="square" lIns="0" tIns="0" rIns="0" bIns="0" rtlCol="0" anchor="ctr">
              <a:spAutoFit/>
            </a:bodyPr>
            <a:lstStyle/>
            <a:p>
              <a:r>
                <a:rPr lang="en-US" sz="1200" dirty="0">
                  <a:solidFill>
                    <a:srgbClr val="545558"/>
                  </a:solidFill>
                  <a:latin typeface="Trebuchet MS" panose="020B0603020202020204" pitchFamily="34" charset="0"/>
                  <a:cs typeface="Arial" panose="020B0604020202020204" pitchFamily="34" charset="0"/>
                </a:rPr>
                <a:t>7</a:t>
              </a:r>
              <a:r>
                <a:rPr lang="en-US" sz="1200" b="1" dirty="0">
                  <a:solidFill>
                    <a:srgbClr val="545558"/>
                  </a:solidFill>
                  <a:latin typeface="Trebuchet MS" panose="020B0603020202020204" pitchFamily="34" charset="0"/>
                  <a:cs typeface="Arial" panose="020B0604020202020204" pitchFamily="34" charset="0"/>
                </a:rPr>
                <a:t>0%</a:t>
              </a:r>
            </a:p>
          </p:txBody>
        </p:sp>
        <p:sp>
          <p:nvSpPr>
            <p:cNvPr id="103" name="Rectangle 102"/>
            <p:cNvSpPr/>
            <p:nvPr/>
          </p:nvSpPr>
          <p:spPr>
            <a:xfrm>
              <a:off x="8369179" y="4626778"/>
              <a:ext cx="274320" cy="27432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0" name="Rectangle 169"/>
          <p:cNvSpPr/>
          <p:nvPr/>
        </p:nvSpPr>
        <p:spPr>
          <a:xfrm>
            <a:off x="5390784" y="4037143"/>
            <a:ext cx="68580" cy="685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7" name="Google Shape;387;p31"/>
          <p:cNvSpPr txBox="1">
            <a:spLocks/>
          </p:cNvSpPr>
          <p:nvPr/>
        </p:nvSpPr>
        <p:spPr>
          <a:xfrm>
            <a:off x="126834" y="2218018"/>
            <a:ext cx="2085017" cy="9144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tensity </a:t>
            </a:r>
          </a:p>
          <a:p>
            <a:pPr algn="ctr"/>
            <a:r>
              <a:rPr lang="en-US" sz="2400" b="1" dirty="0">
                <a:solidFill>
                  <a:srgbClr val="2846A8"/>
                </a:solidFill>
                <a:latin typeface="Cambria" panose="02040503050406030204" pitchFamily="18" charset="0"/>
                <a:ea typeface="Cambria" panose="02040503050406030204" pitchFamily="18" charset="0"/>
              </a:rPr>
              <a:t>Map</a:t>
            </a:r>
          </a:p>
          <a:p>
            <a:pPr algn="ctr"/>
            <a:r>
              <a:rPr lang="en-US" sz="1200" b="1" dirty="0">
                <a:solidFill>
                  <a:srgbClr val="2846A8"/>
                </a:solidFill>
                <a:latin typeface="Cambria" panose="02040503050406030204" pitchFamily="18" charset="0"/>
                <a:ea typeface="Cambria" panose="02040503050406030204" pitchFamily="18" charset="0"/>
              </a:rPr>
              <a:t>STATE AID - GD 300 / 2024</a:t>
            </a:r>
            <a:endParaRPr lang="en-US" sz="2400" b="1" dirty="0">
              <a:solidFill>
                <a:srgbClr val="2846A8"/>
              </a:solidFill>
              <a:latin typeface="Cambria" panose="02040503050406030204" pitchFamily="18" charset="0"/>
              <a:ea typeface="Cambria" panose="02040503050406030204" pitchFamily="18" charset="0"/>
            </a:endParaRPr>
          </a:p>
        </p:txBody>
      </p:sp>
      <p:pic>
        <p:nvPicPr>
          <p:cNvPr id="160" name="Picture 1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extLst>
      <p:ext uri="{BB962C8B-B14F-4D97-AF65-F5344CB8AC3E}">
        <p14:creationId xmlns:p14="http://schemas.microsoft.com/office/powerpoint/2010/main" val="1472666544"/>
      </p:ext>
    </p:extLst>
  </p:cSld>
  <p:clrMapOvr>
    <a:masterClrMapping/>
  </p:clrMapOvr>
  <p:transition>
    <p:fade thruBlk="1"/>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7B049A8D-8B2F-4DD2-B6BE-8061266C4751}"/>
              </a:ext>
            </a:extLst>
          </p:cNvPr>
          <p:cNvSpPr/>
          <p:nvPr/>
        </p:nvSpPr>
        <p:spPr>
          <a:xfrm>
            <a:off x="3469472" y="1474379"/>
            <a:ext cx="467373" cy="469278"/>
          </a:xfrm>
          <a:prstGeom prst="ellipse">
            <a:avLst/>
          </a:prstGeom>
          <a:solidFill>
            <a:srgbClr val="B4A2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latin typeface="Cambria" panose="02040503050406030204" pitchFamily="18" charset="0"/>
            </a:endParaRPr>
          </a:p>
        </p:txBody>
      </p:sp>
      <p:sp>
        <p:nvSpPr>
          <p:cNvPr id="10" name="TextBox 9">
            <a:extLst>
              <a:ext uri="{FF2B5EF4-FFF2-40B4-BE49-F238E27FC236}">
                <a16:creationId xmlns:a16="http://schemas.microsoft.com/office/drawing/2014/main" id="{6EBF04CE-A70B-404D-A56B-9C7E2B3A16B3}"/>
              </a:ext>
            </a:extLst>
          </p:cNvPr>
          <p:cNvSpPr txBox="1"/>
          <p:nvPr/>
        </p:nvSpPr>
        <p:spPr>
          <a:xfrm>
            <a:off x="3464357" y="1526875"/>
            <a:ext cx="463386" cy="338554"/>
          </a:xfrm>
          <a:prstGeom prst="rect">
            <a:avLst/>
          </a:prstGeom>
          <a:noFill/>
        </p:spPr>
        <p:txBody>
          <a:bodyPr wrap="square" rtlCol="0" anchor="ctr">
            <a:spAutoFit/>
          </a:bodyPr>
          <a:lstStyle/>
          <a:p>
            <a:pPr algn="ctr"/>
            <a:r>
              <a:rPr lang="en-US" altLang="ko-KR" sz="1600" b="1" dirty="0">
                <a:solidFill>
                  <a:schemeClr val="bg1"/>
                </a:solidFill>
                <a:latin typeface="Cambria" panose="02040503050406030204" pitchFamily="18" charset="0"/>
                <a:ea typeface="Cambria" panose="02040503050406030204" pitchFamily="18" charset="0"/>
                <a:cs typeface="Arial" pitchFamily="34" charset="0"/>
              </a:rPr>
              <a:t>1</a:t>
            </a:r>
            <a:endParaRPr lang="ko-KR" altLang="en-US" sz="1600" b="1" dirty="0">
              <a:solidFill>
                <a:schemeClr val="bg1"/>
              </a:solidFill>
              <a:latin typeface="Cambria" panose="02040503050406030204" pitchFamily="18" charset="0"/>
              <a:cs typeface="Arial" pitchFamily="34" charset="0"/>
            </a:endParaRPr>
          </a:p>
        </p:txBody>
      </p:sp>
      <p:sp>
        <p:nvSpPr>
          <p:cNvPr id="14" name="Rectangle 3">
            <a:extLst>
              <a:ext uri="{FF2B5EF4-FFF2-40B4-BE49-F238E27FC236}">
                <a16:creationId xmlns:a16="http://schemas.microsoft.com/office/drawing/2014/main" id="{AD665778-EDBC-4759-92BB-EA96859EFB52}"/>
              </a:ext>
            </a:extLst>
          </p:cNvPr>
          <p:cNvSpPr/>
          <p:nvPr/>
        </p:nvSpPr>
        <p:spPr>
          <a:xfrm>
            <a:off x="2996984" y="2584680"/>
            <a:ext cx="467373" cy="469278"/>
          </a:xfrm>
          <a:prstGeom prst="ellipse">
            <a:avLst/>
          </a:prstGeom>
          <a:solidFill>
            <a:srgbClr val="8A70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latin typeface="Cambria" panose="02040503050406030204" pitchFamily="18" charset="0"/>
            </a:endParaRPr>
          </a:p>
        </p:txBody>
      </p:sp>
      <p:sp>
        <p:nvSpPr>
          <p:cNvPr id="32" name="Google Shape;388;p31"/>
          <p:cNvSpPr txBox="1">
            <a:spLocks noGrp="1"/>
          </p:cNvSpPr>
          <p:nvPr>
            <p:ph type="body" idx="1"/>
          </p:nvPr>
        </p:nvSpPr>
        <p:spPr>
          <a:xfrm>
            <a:off x="4297356" y="1048745"/>
            <a:ext cx="2553000" cy="382510"/>
          </a:xfrm>
          <a:prstGeom prst="rect">
            <a:avLst/>
          </a:prstGeom>
        </p:spPr>
        <p:txBody>
          <a:bodyPr spcFirstLastPara="1" wrap="square" lIns="0" tIns="0" rIns="0" bIns="0" anchor="t" anchorCtr="0">
            <a:noAutofit/>
          </a:bodyPr>
          <a:lstStyle/>
          <a:p>
            <a:pPr marL="0" indent="0">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Area:  238,391 km2</a:t>
            </a:r>
          </a:p>
          <a:p>
            <a:pPr marL="0" indent="0">
              <a:lnSpc>
                <a:spcPct val="93000"/>
              </a:lnSpc>
              <a:buNone/>
            </a:pP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Capital: Bucharest</a:t>
            </a:r>
            <a:endPar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endParaRPr>
          </a:p>
        </p:txBody>
      </p:sp>
      <p:sp>
        <p:nvSpPr>
          <p:cNvPr id="33" name="Google Shape;388;p31"/>
          <p:cNvSpPr txBox="1">
            <a:spLocks noGrp="1"/>
          </p:cNvSpPr>
          <p:nvPr>
            <p:ph type="body" idx="2"/>
          </p:nvPr>
        </p:nvSpPr>
        <p:spPr>
          <a:xfrm>
            <a:off x="4297356" y="1506350"/>
            <a:ext cx="2553000" cy="794528"/>
          </a:xfrm>
          <a:prstGeom prst="rect">
            <a:avLst/>
          </a:prstGeom>
        </p:spPr>
        <p:txBody>
          <a:bodyPr spcFirstLastPara="1" wrap="square" lIns="0" tIns="0" rIns="0" bIns="0" anchor="t" anchorCtr="0">
            <a:noAutofit/>
          </a:bodyPr>
          <a:lstStyle/>
          <a:p>
            <a:pPr marL="0" indent="0">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Currency: Romanian </a:t>
            </a:r>
            <a:r>
              <a:rPr lang="en-US" sz="1200" dirty="0" err="1">
                <a:solidFill>
                  <a:srgbClr val="2846A8"/>
                </a:solidFill>
                <a:latin typeface="Cambria" panose="02040503050406030204" pitchFamily="18" charset="0"/>
                <a:ea typeface="Cambria" panose="02040503050406030204" pitchFamily="18" charset="0"/>
                <a:cs typeface="Arial" panose="020B0604020202020204" pitchFamily="34" charset="0"/>
              </a:rPr>
              <a:t>leu</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RON)</a:t>
            </a:r>
          </a:p>
          <a:p>
            <a:pPr marL="0" indent="0">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Exchange rates</a:t>
            </a:r>
          </a:p>
          <a:p>
            <a:pPr marL="0" indent="0">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RON/EUR: 4.</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9746</a:t>
            </a:r>
            <a:r>
              <a:rPr lang="en-US"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p>
          <a:p>
            <a:pPr marL="0" indent="0">
              <a:lnSpc>
                <a:spcPct val="93000"/>
              </a:lnSpc>
              <a:buNone/>
            </a:pP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RON/USD</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4.</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5984</a:t>
            </a:r>
            <a:r>
              <a:rPr lang="en-US"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endPar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endParaRPr>
          </a:p>
          <a:p>
            <a:pPr marL="0" indent="0">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averages 202</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4</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a:t>
            </a:r>
          </a:p>
        </p:txBody>
      </p:sp>
      <p:sp>
        <p:nvSpPr>
          <p:cNvPr id="34" name="Google Shape;388;p31"/>
          <p:cNvSpPr txBox="1">
            <a:spLocks noGrp="1"/>
          </p:cNvSpPr>
          <p:nvPr>
            <p:ph type="body" idx="4294967295"/>
          </p:nvPr>
        </p:nvSpPr>
        <p:spPr>
          <a:xfrm>
            <a:off x="6541592" y="1192095"/>
            <a:ext cx="1553255" cy="912813"/>
          </a:xfrm>
          <a:prstGeom prst="rect">
            <a:avLst/>
          </a:prstGeom>
        </p:spPr>
        <p:txBody>
          <a:bodyPr spcFirstLastPara="1" wrap="square" lIns="0" tIns="0" rIns="0" bIns="0" anchor="t" anchorCtr="0">
            <a:noAutofit/>
          </a:bodyPr>
          <a:lstStyle/>
          <a:p>
            <a:pPr marL="0" indent="0" algn="r">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Population: 19 M </a:t>
            </a:r>
          </a:p>
          <a:p>
            <a:pPr marL="0" indent="0" algn="r">
              <a:lnSpc>
                <a:spcPct val="93000"/>
              </a:lnSpc>
              <a:buNone/>
            </a:pP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1</a:t>
            </a:r>
            <a:r>
              <a:rPr lang="en-US" sz="1200" baseline="30000" dirty="0">
                <a:solidFill>
                  <a:srgbClr val="2846A8"/>
                </a:solidFill>
                <a:latin typeface="Cambria" panose="02040503050406030204" pitchFamily="18" charset="0"/>
                <a:ea typeface="Cambria" panose="02040503050406030204" pitchFamily="18" charset="0"/>
                <a:cs typeface="Arial" panose="020B0604020202020204" pitchFamily="34" charset="0"/>
              </a:rPr>
              <a:t>st</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Jan. 202</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4</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Bucharest</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Metropolitan Area: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a:t>
            </a:r>
            <a:r>
              <a:rPr lang="ro-RO" sz="1200" dirty="0">
                <a:solidFill>
                  <a:srgbClr val="2846A8"/>
                </a:solidFill>
                <a:latin typeface="Cambria" panose="02040503050406030204" pitchFamily="18" charset="0"/>
                <a:ea typeface="Cambria" panose="02040503050406030204" pitchFamily="18" charset="0"/>
                <a:cs typeface="Arial" panose="020B0604020202020204" pitchFamily="34" charset="0"/>
              </a:rPr>
              <a:t>3</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 M</a:t>
            </a:r>
          </a:p>
          <a:p>
            <a:pPr marL="101600" indent="0">
              <a:lnSpc>
                <a:spcPct val="93000"/>
              </a:lnSpc>
              <a:buNone/>
            </a:pPr>
            <a:endPar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endParaRPr>
          </a:p>
          <a:p>
            <a:pPr marL="101600" indent="0">
              <a:lnSpc>
                <a:spcPct val="93000"/>
              </a:lnSpc>
              <a:buNone/>
            </a:pPr>
            <a:endPar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endParaRPr>
          </a:p>
        </p:txBody>
      </p:sp>
      <p:sp>
        <p:nvSpPr>
          <p:cNvPr id="35" name="Google Shape;392;p31"/>
          <p:cNvSpPr txBox="1">
            <a:spLocks noGrp="1"/>
          </p:cNvSpPr>
          <p:nvPr>
            <p:ph type="body" idx="4294967295"/>
          </p:nvPr>
        </p:nvSpPr>
        <p:spPr>
          <a:xfrm>
            <a:off x="3709988" y="2469875"/>
            <a:ext cx="1940041" cy="574600"/>
          </a:xfrm>
          <a:prstGeom prst="rect">
            <a:avLst/>
          </a:prstGeom>
        </p:spPr>
        <p:txBody>
          <a:bodyPr spcFirstLastPara="1" wrap="square" lIns="0" tIns="0" rIns="0" bIns="0" anchor="t" anchorCtr="0">
            <a:noAutofit/>
          </a:bodyPr>
          <a:lstStyle/>
          <a:p>
            <a:pPr marL="0" lvl="0" indent="0" algn="l" rtl="0">
              <a:buNone/>
            </a:pPr>
            <a:r>
              <a:rPr lang="en-US" sz="1200" b="1" dirty="0">
                <a:solidFill>
                  <a:srgbClr val="2846A8"/>
                </a:solidFill>
                <a:latin typeface="Cambria" panose="02040503050406030204" pitchFamily="18" charset="0"/>
                <a:ea typeface="Cambria" panose="02040503050406030204" pitchFamily="18" charset="0"/>
              </a:rPr>
              <a:t>202</a:t>
            </a:r>
            <a:r>
              <a:rPr lang="ro-RO" sz="1200" b="1" dirty="0">
                <a:solidFill>
                  <a:srgbClr val="2846A8"/>
                </a:solidFill>
                <a:latin typeface="Cambria" panose="02040503050406030204" pitchFamily="18" charset="0"/>
                <a:ea typeface="Cambria" panose="02040503050406030204" pitchFamily="18" charset="0"/>
              </a:rPr>
              <a:t>3</a:t>
            </a:r>
            <a:endParaRPr sz="1200" b="1" dirty="0">
              <a:solidFill>
                <a:srgbClr val="2846A8"/>
              </a:solidFill>
              <a:latin typeface="Cambria" panose="02040503050406030204" pitchFamily="18" charset="0"/>
              <a:ea typeface="Cambria" panose="02040503050406030204" pitchFamily="18" charset="0"/>
            </a:endParaRPr>
          </a:p>
          <a:p>
            <a:pPr marL="0" lvl="0" indent="0">
              <a:buNone/>
            </a:pPr>
            <a:r>
              <a:rPr lang="en" sz="1200" dirty="0">
                <a:solidFill>
                  <a:srgbClr val="2846A8"/>
                </a:solidFill>
                <a:latin typeface="Cambria" panose="02040503050406030204" pitchFamily="18" charset="0"/>
                <a:ea typeface="Cambria" panose="02040503050406030204" pitchFamily="18" charset="0"/>
              </a:rPr>
              <a:t>GDP: </a:t>
            </a:r>
            <a:r>
              <a:rPr lang="en-US"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324</a:t>
            </a:r>
            <a:r>
              <a:rPr lang="en"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4</a:t>
            </a:r>
            <a:r>
              <a:rPr lang="en" sz="1200" dirty="0">
                <a:solidFill>
                  <a:srgbClr val="2846A8"/>
                </a:solidFill>
                <a:latin typeface="Cambria" panose="02040503050406030204" pitchFamily="18" charset="0"/>
                <a:ea typeface="Cambria" panose="02040503050406030204" pitchFamily="18" charset="0"/>
              </a:rPr>
              <a:t> Bn</a:t>
            </a:r>
          </a:p>
          <a:p>
            <a:pPr marL="0" lvl="0" indent="0" algn="l" rtl="0">
              <a:buNone/>
            </a:pPr>
            <a:r>
              <a:rPr lang="en" sz="1200" dirty="0">
                <a:solidFill>
                  <a:srgbClr val="2846A8"/>
                </a:solidFill>
                <a:latin typeface="Cambria" panose="02040503050406030204" pitchFamily="18" charset="0"/>
                <a:ea typeface="Cambria" panose="02040503050406030204" pitchFamily="18" charset="0"/>
              </a:rPr>
              <a:t>GDP growth: </a:t>
            </a:r>
            <a:r>
              <a:rPr lang="ro-RO" sz="1200" dirty="0">
                <a:solidFill>
                  <a:srgbClr val="2846A8"/>
                </a:solidFill>
                <a:latin typeface="Cambria" panose="02040503050406030204" pitchFamily="18" charset="0"/>
                <a:ea typeface="Cambria" panose="02040503050406030204" pitchFamily="18" charset="0"/>
              </a:rPr>
              <a:t>2</a:t>
            </a:r>
            <a:r>
              <a:rPr lang="en"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4</a:t>
            </a:r>
            <a:r>
              <a:rPr lang="en" sz="1200" dirty="0">
                <a:solidFill>
                  <a:srgbClr val="2846A8"/>
                </a:solidFill>
                <a:latin typeface="Cambria" panose="02040503050406030204" pitchFamily="18" charset="0"/>
                <a:ea typeface="Cambria" panose="02040503050406030204" pitchFamily="18" charset="0"/>
              </a:rPr>
              <a:t>%</a:t>
            </a:r>
            <a:endParaRPr lang="ro-RO" sz="1200" dirty="0">
              <a:solidFill>
                <a:srgbClr val="2846A8"/>
              </a:solidFill>
              <a:latin typeface="Cambria" panose="02040503050406030204" pitchFamily="18" charset="0"/>
              <a:ea typeface="Cambria" panose="02040503050406030204" pitchFamily="18" charset="0"/>
            </a:endParaRPr>
          </a:p>
        </p:txBody>
      </p:sp>
      <p:sp>
        <p:nvSpPr>
          <p:cNvPr id="19" name="Rectangle 3">
            <a:extLst>
              <a:ext uri="{FF2B5EF4-FFF2-40B4-BE49-F238E27FC236}">
                <a16:creationId xmlns:a16="http://schemas.microsoft.com/office/drawing/2014/main" id="{B7B60CD9-C323-4CBB-9E01-E0D2AC4E0ACB}"/>
              </a:ext>
            </a:extLst>
          </p:cNvPr>
          <p:cNvSpPr/>
          <p:nvPr/>
        </p:nvSpPr>
        <p:spPr>
          <a:xfrm>
            <a:off x="2578907" y="3513552"/>
            <a:ext cx="467373" cy="469278"/>
          </a:xfrm>
          <a:prstGeom prst="ellipse">
            <a:avLst/>
          </a:prstGeom>
          <a:solidFill>
            <a:srgbClr val="6A5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latin typeface="Cambria" panose="02040503050406030204" pitchFamily="18" charset="0"/>
            </a:endParaRPr>
          </a:p>
        </p:txBody>
      </p:sp>
      <p:sp>
        <p:nvSpPr>
          <p:cNvPr id="36" name="Google Shape;389;p31"/>
          <p:cNvSpPr txBox="1">
            <a:spLocks/>
          </p:cNvSpPr>
          <p:nvPr/>
        </p:nvSpPr>
        <p:spPr>
          <a:xfrm>
            <a:off x="3113151" y="3451505"/>
            <a:ext cx="973963" cy="20658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1pPr>
            <a:lvl2pPr marL="914400" marR="0" lvl="1" indent="-381000" algn="l" rtl="0">
              <a:lnSpc>
                <a:spcPct val="100000"/>
              </a:lnSpc>
              <a:spcBef>
                <a:spcPts val="60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2pPr>
            <a:lvl3pPr marL="1371600" marR="0" lvl="2"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3pPr>
            <a:lvl4pPr marL="1828800" marR="0" lvl="3"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4pPr>
            <a:lvl5pPr marL="2286000" marR="0" lvl="4"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5pPr>
            <a:lvl6pPr marL="2743200" marR="0" lvl="5"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6pPr>
            <a:lvl7pPr marL="3200400" marR="0" lvl="6"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7pPr>
            <a:lvl8pPr marL="3657600" marR="0" lvl="7"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8pPr>
            <a:lvl9pPr marL="4114800" marR="0" lvl="8" indent="-381000" algn="l" rtl="0">
              <a:lnSpc>
                <a:spcPct val="100000"/>
              </a:lnSpc>
              <a:spcBef>
                <a:spcPts val="600"/>
              </a:spcBef>
              <a:spcAft>
                <a:spcPts val="60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9pPr>
          </a:lstStyle>
          <a:p>
            <a:pPr marL="0" indent="0">
              <a:buFont typeface="IBM Plex Sans"/>
              <a:buNone/>
            </a:pPr>
            <a:r>
              <a:rPr lang="en-US" sz="1200" b="1" dirty="0">
                <a:solidFill>
                  <a:srgbClr val="2846A8"/>
                </a:solidFill>
                <a:latin typeface="Cambria" panose="02040503050406030204" pitchFamily="18" charset="0"/>
                <a:ea typeface="Cambria" panose="02040503050406030204" pitchFamily="18" charset="0"/>
              </a:rPr>
              <a:t>Memberships</a:t>
            </a:r>
          </a:p>
        </p:txBody>
      </p:sp>
      <p:pic>
        <p:nvPicPr>
          <p:cNvPr id="38" name="Picture 2" descr="upload.wikimedia.org/wikipedia/commons/thumb/3/...">
            <a:extLst>
              <a:ext uri="{FF2B5EF4-FFF2-40B4-BE49-F238E27FC236}">
                <a16:creationId xmlns:a16="http://schemas.microsoft.com/office/drawing/2014/main" id="{DA97EF96-197A-48F3-AE90-993B20DB1C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44232" y="3900597"/>
            <a:ext cx="457200" cy="334146"/>
          </a:xfrm>
          <a:prstGeom prst="rect">
            <a:avLst/>
          </a:prstGeom>
          <a:noFill/>
          <a:scene3d>
            <a:camera prst="orthographicFront"/>
            <a:lightRig rig="balanced" dir="t"/>
          </a:scene3d>
          <a:sp3d>
            <a:bevelT w="139700" h="139700"/>
          </a:sp3d>
          <a:extLst>
            <a:ext uri="{909E8E84-426E-40DD-AFC4-6F175D3DCCD1}">
              <a14:hiddenFill xmlns:a14="http://schemas.microsoft.com/office/drawing/2010/main">
                <a:solidFill>
                  <a:srgbClr val="FFFFFF"/>
                </a:solidFill>
              </a14:hiddenFill>
            </a:ext>
          </a:extLst>
        </p:spPr>
      </p:pic>
      <p:pic>
        <p:nvPicPr>
          <p:cNvPr id="39" name="Picture 181" descr="http://europa.eu/about-eu/basic-information/symbols/images/flag_yellow_low.jp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84202" y="3892416"/>
            <a:ext cx="457200" cy="342218"/>
          </a:xfrm>
          <a:prstGeom prst="rect">
            <a:avLst/>
          </a:prstGeom>
          <a:noFill/>
          <a:scene3d>
            <a:camera prst="orthographicFront"/>
            <a:lightRig rig="balanced" dir="t"/>
          </a:scene3d>
          <a:sp3d>
            <a:bevelT w="139700" h="139700"/>
          </a:sp3d>
          <a:extLst>
            <a:ext uri="{909E8E84-426E-40DD-AFC4-6F175D3DCCD1}">
              <a14:hiddenFill xmlns:a14="http://schemas.microsoft.com/office/drawing/2010/main">
                <a:solidFill>
                  <a:srgbClr val="FFFFFF"/>
                </a:solidFill>
              </a14:hiddenFill>
            </a:ext>
          </a:extLst>
        </p:spPr>
      </p:pic>
      <p:grpSp>
        <p:nvGrpSpPr>
          <p:cNvPr id="47" name="Group 46"/>
          <p:cNvGrpSpPr/>
          <p:nvPr/>
        </p:nvGrpSpPr>
        <p:grpSpPr>
          <a:xfrm>
            <a:off x="2208596" y="4334968"/>
            <a:ext cx="5978907" cy="646331"/>
            <a:chOff x="2446721" y="4334968"/>
            <a:chExt cx="5978907" cy="646331"/>
          </a:xfrm>
        </p:grpSpPr>
        <p:sp>
          <p:nvSpPr>
            <p:cNvPr id="24" name="Rectangle 3">
              <a:extLst>
                <a:ext uri="{FF2B5EF4-FFF2-40B4-BE49-F238E27FC236}">
                  <a16:creationId xmlns:a16="http://schemas.microsoft.com/office/drawing/2014/main" id="{001FFAB1-37F1-4140-9909-6CA694EED477}"/>
                </a:ext>
              </a:extLst>
            </p:cNvPr>
            <p:cNvSpPr/>
            <p:nvPr/>
          </p:nvSpPr>
          <p:spPr>
            <a:xfrm>
              <a:off x="2446721" y="4400470"/>
              <a:ext cx="467373" cy="469278"/>
            </a:xfrm>
            <a:prstGeom prst="ellipse">
              <a:avLst/>
            </a:prstGeom>
            <a:solidFill>
              <a:srgbClr val="3A2E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latin typeface="Cambria" panose="02040503050406030204" pitchFamily="18" charset="0"/>
              </a:endParaRPr>
            </a:p>
          </p:txBody>
        </p:sp>
        <p:sp>
          <p:nvSpPr>
            <p:cNvPr id="40" name="Rectangle 39"/>
            <p:cNvSpPr/>
            <p:nvPr/>
          </p:nvSpPr>
          <p:spPr>
            <a:xfrm>
              <a:off x="3002311" y="4334968"/>
              <a:ext cx="5423317" cy="646331"/>
            </a:xfrm>
            <a:prstGeom prst="rect">
              <a:avLst/>
            </a:prstGeom>
          </p:spPr>
          <p:txBody>
            <a:bodyPr wrap="square">
              <a:spAutoFit/>
            </a:bodyPr>
            <a:lstStyle/>
            <a:p>
              <a:pPr algn="just"/>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At the crossroad of tree large markets: EU, CIS and Middle East. </a:t>
              </a:r>
            </a:p>
            <a:p>
              <a:pPr algn="just"/>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Bridge between East and West for 450 M consumers market. </a:t>
              </a:r>
            </a:p>
            <a:p>
              <a:pPr algn="just"/>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Located in the GMT+2 time zone.</a:t>
              </a:r>
            </a:p>
          </p:txBody>
        </p:sp>
      </p:grpSp>
      <p:sp>
        <p:nvSpPr>
          <p:cNvPr id="41" name="Google Shape;392;p31"/>
          <p:cNvSpPr txBox="1">
            <a:spLocks/>
          </p:cNvSpPr>
          <p:nvPr/>
        </p:nvSpPr>
        <p:spPr>
          <a:xfrm>
            <a:off x="5882240" y="2678517"/>
            <a:ext cx="1652500" cy="430019"/>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chemeClr val="accent1"/>
              </a:buClr>
              <a:buSzPts val="2000"/>
              <a:buFont typeface="IBM Plex Sans"/>
              <a:buChar char="▸"/>
              <a:defRPr sz="2000" b="0" i="0" u="none" strike="noStrike" cap="none">
                <a:solidFill>
                  <a:schemeClr val="dk1"/>
                </a:solidFill>
                <a:latin typeface="IBM Plex Sans"/>
                <a:ea typeface="IBM Plex Sans"/>
                <a:cs typeface="IBM Plex Sans"/>
                <a:sym typeface="IBM Plex Sans"/>
              </a:defRPr>
            </a:lvl1pPr>
            <a:lvl2pPr marL="914400" marR="0" lvl="1" indent="-355600" algn="l" rtl="0">
              <a:lnSpc>
                <a:spcPct val="100000"/>
              </a:lnSpc>
              <a:spcBef>
                <a:spcPts val="600"/>
              </a:spcBef>
              <a:spcAft>
                <a:spcPts val="0"/>
              </a:spcAft>
              <a:buClr>
                <a:schemeClr val="accent1"/>
              </a:buClr>
              <a:buSzPts val="2000"/>
              <a:buFont typeface="IBM Plex Sans"/>
              <a:buChar char="▹"/>
              <a:defRPr sz="2000" b="0" i="0" u="none" strike="noStrike" cap="none">
                <a:solidFill>
                  <a:schemeClr val="dk1"/>
                </a:solidFill>
                <a:latin typeface="IBM Plex Sans"/>
                <a:ea typeface="IBM Plex Sans"/>
                <a:cs typeface="IBM Plex Sans"/>
                <a:sym typeface="IBM Plex Sans"/>
              </a:defRPr>
            </a:lvl2pPr>
            <a:lvl3pPr marL="1371600" marR="0" lvl="2" indent="-355600" algn="l" rtl="0">
              <a:lnSpc>
                <a:spcPct val="100000"/>
              </a:lnSpc>
              <a:spcBef>
                <a:spcPts val="600"/>
              </a:spcBef>
              <a:spcAft>
                <a:spcPts val="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3pPr>
            <a:lvl4pPr marL="1828800" marR="0" lvl="3" indent="-355600" algn="l" rtl="0">
              <a:lnSpc>
                <a:spcPct val="100000"/>
              </a:lnSpc>
              <a:spcBef>
                <a:spcPts val="600"/>
              </a:spcBef>
              <a:spcAft>
                <a:spcPts val="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4pPr>
            <a:lvl5pPr marL="2286000" marR="0" lvl="4" indent="-355600" algn="l" rtl="0">
              <a:lnSpc>
                <a:spcPct val="100000"/>
              </a:lnSpc>
              <a:spcBef>
                <a:spcPts val="600"/>
              </a:spcBef>
              <a:spcAft>
                <a:spcPts val="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5pPr>
            <a:lvl6pPr marL="2743200" marR="0" lvl="5" indent="-355600" algn="l" rtl="0">
              <a:lnSpc>
                <a:spcPct val="100000"/>
              </a:lnSpc>
              <a:spcBef>
                <a:spcPts val="600"/>
              </a:spcBef>
              <a:spcAft>
                <a:spcPts val="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6pPr>
            <a:lvl7pPr marL="3200400" marR="0" lvl="6" indent="-355600" algn="l" rtl="0">
              <a:lnSpc>
                <a:spcPct val="100000"/>
              </a:lnSpc>
              <a:spcBef>
                <a:spcPts val="600"/>
              </a:spcBef>
              <a:spcAft>
                <a:spcPts val="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7pPr>
            <a:lvl8pPr marL="3657600" marR="0" lvl="7" indent="-355600" algn="l" rtl="0">
              <a:lnSpc>
                <a:spcPct val="100000"/>
              </a:lnSpc>
              <a:spcBef>
                <a:spcPts val="600"/>
              </a:spcBef>
              <a:spcAft>
                <a:spcPts val="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8pPr>
            <a:lvl9pPr marL="4114800" marR="0" lvl="8" indent="-355600" algn="l" rtl="0">
              <a:lnSpc>
                <a:spcPct val="100000"/>
              </a:lnSpc>
              <a:spcBef>
                <a:spcPts val="600"/>
              </a:spcBef>
              <a:spcAft>
                <a:spcPts val="600"/>
              </a:spcAft>
              <a:buClr>
                <a:schemeClr val="lt2"/>
              </a:buClr>
              <a:buSzPts val="2000"/>
              <a:buFont typeface="IBM Plex Sans"/>
              <a:buChar char="■"/>
              <a:defRPr sz="2000" b="0" i="0" u="none" strike="noStrike" cap="none">
                <a:solidFill>
                  <a:schemeClr val="dk1"/>
                </a:solidFill>
                <a:latin typeface="IBM Plex Sans"/>
                <a:ea typeface="IBM Plex Sans"/>
                <a:cs typeface="IBM Plex Sans"/>
                <a:sym typeface="IBM Plex Sans"/>
              </a:defRPr>
            </a:lvl9pPr>
          </a:lstStyle>
          <a:p>
            <a:pPr marL="0" indent="0">
              <a:buNone/>
            </a:pPr>
            <a:r>
              <a:rPr lang="en-US" sz="1200" dirty="0">
                <a:solidFill>
                  <a:srgbClr val="2846A8"/>
                </a:solidFill>
                <a:latin typeface="Cambria" panose="02040503050406030204" pitchFamily="18" charset="0"/>
                <a:ea typeface="Cambria" panose="02040503050406030204" pitchFamily="18" charset="0"/>
              </a:rPr>
              <a:t>FDI flows: €</a:t>
            </a:r>
            <a:r>
              <a:rPr lang="ro-RO" sz="1200" dirty="0">
                <a:solidFill>
                  <a:srgbClr val="2846A8"/>
                </a:solidFill>
                <a:latin typeface="Cambria" panose="02040503050406030204" pitchFamily="18" charset="0"/>
                <a:ea typeface="Cambria" panose="02040503050406030204" pitchFamily="18" charset="0"/>
              </a:rPr>
              <a:t>6.</a:t>
            </a:r>
            <a:r>
              <a:rPr lang="en-US" sz="1200" dirty="0">
                <a:solidFill>
                  <a:srgbClr val="2846A8"/>
                </a:solidFill>
                <a:latin typeface="Cambria" panose="02040503050406030204" pitchFamily="18" charset="0"/>
                <a:ea typeface="Cambria" panose="02040503050406030204" pitchFamily="18" charset="0"/>
              </a:rPr>
              <a:t>74 </a:t>
            </a:r>
            <a:r>
              <a:rPr lang="en-US" sz="1200" dirty="0" err="1">
                <a:solidFill>
                  <a:srgbClr val="2846A8"/>
                </a:solidFill>
                <a:latin typeface="Cambria" panose="02040503050406030204" pitchFamily="18" charset="0"/>
                <a:ea typeface="Cambria" panose="02040503050406030204" pitchFamily="18" charset="0"/>
              </a:rPr>
              <a:t>Bn</a:t>
            </a:r>
            <a:endParaRPr lang="en-US" sz="1200" dirty="0">
              <a:solidFill>
                <a:srgbClr val="2846A8"/>
              </a:solidFill>
              <a:latin typeface="Cambria" panose="02040503050406030204" pitchFamily="18" charset="0"/>
              <a:ea typeface="Cambria" panose="02040503050406030204" pitchFamily="18" charset="0"/>
            </a:endParaRPr>
          </a:p>
          <a:p>
            <a:pPr marL="0" indent="0">
              <a:buNone/>
            </a:pPr>
            <a:r>
              <a:rPr lang="en-US" sz="1200" dirty="0">
                <a:solidFill>
                  <a:srgbClr val="2846A8"/>
                </a:solidFill>
                <a:latin typeface="Cambria" panose="02040503050406030204" pitchFamily="18" charset="0"/>
                <a:ea typeface="Cambria" panose="02040503050406030204" pitchFamily="18" charset="0"/>
              </a:rPr>
              <a:t>FDI stock: €1</a:t>
            </a:r>
            <a:r>
              <a:rPr lang="ro-RO" sz="1200" dirty="0">
                <a:solidFill>
                  <a:srgbClr val="2846A8"/>
                </a:solidFill>
                <a:latin typeface="Cambria" panose="02040503050406030204" pitchFamily="18" charset="0"/>
                <a:ea typeface="Cambria" panose="02040503050406030204" pitchFamily="18" charset="0"/>
              </a:rPr>
              <a:t>1</a:t>
            </a:r>
            <a:r>
              <a:rPr lang="en-US" sz="1200" dirty="0">
                <a:solidFill>
                  <a:srgbClr val="2846A8"/>
                </a:solidFill>
                <a:latin typeface="Cambria" panose="02040503050406030204" pitchFamily="18" charset="0"/>
                <a:ea typeface="Cambria" panose="02040503050406030204" pitchFamily="18" charset="0"/>
              </a:rPr>
              <a:t>8.23 </a:t>
            </a:r>
            <a:r>
              <a:rPr lang="en-US" sz="1200" dirty="0" err="1">
                <a:solidFill>
                  <a:srgbClr val="2846A8"/>
                </a:solidFill>
                <a:latin typeface="Cambria" panose="02040503050406030204" pitchFamily="18" charset="0"/>
                <a:ea typeface="Cambria" panose="02040503050406030204" pitchFamily="18" charset="0"/>
              </a:rPr>
              <a:t>Bn</a:t>
            </a:r>
            <a:endParaRPr lang="en-US" sz="1200" dirty="0">
              <a:solidFill>
                <a:srgbClr val="2846A8"/>
              </a:solidFill>
              <a:latin typeface="Cambria" panose="02040503050406030204" pitchFamily="18" charset="0"/>
              <a:ea typeface="Cambria" panose="02040503050406030204" pitchFamily="18" charset="0"/>
            </a:endParaRPr>
          </a:p>
        </p:txBody>
      </p:sp>
      <p:grpSp>
        <p:nvGrpSpPr>
          <p:cNvPr id="44" name="Google Shape;92;p7"/>
          <p:cNvGrpSpPr/>
          <p:nvPr/>
        </p:nvGrpSpPr>
        <p:grpSpPr>
          <a:xfrm>
            <a:off x="-1" y="0"/>
            <a:ext cx="257140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45"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200">
                <a:latin typeface="Cambria" panose="02040503050406030204" pitchFamily="18" charset="0"/>
                <a:ea typeface="Cambria" panose="02040503050406030204" pitchFamily="18" charset="0"/>
              </a:endParaRPr>
            </a:p>
          </p:txBody>
        </p:sp>
        <p:sp>
          <p:nvSpPr>
            <p:cNvPr id="46"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48" name="Google Shape;387;p31"/>
          <p:cNvSpPr txBox="1">
            <a:spLocks noGrp="1"/>
          </p:cNvSpPr>
          <p:nvPr>
            <p:ph type="title"/>
          </p:nvPr>
        </p:nvSpPr>
        <p:spPr>
          <a:xfrm>
            <a:off x="2197290" y="418115"/>
            <a:ext cx="5897557" cy="396300"/>
          </a:xfrm>
          <a:prstGeom prst="rect">
            <a:avLst/>
          </a:prstGeom>
        </p:spPr>
        <p:txBody>
          <a:bodyPr spcFirstLastPara="1" wrap="square" lIns="0" tIns="0" rIns="0" bIns="0" anchor="b" anchorCtr="0">
            <a:noAutofit/>
          </a:bodyPr>
          <a:lstStyle/>
          <a:p>
            <a:pPr lvl="0" algn="ctr"/>
            <a:r>
              <a:rPr lang="en-US" sz="2400" dirty="0">
                <a:solidFill>
                  <a:srgbClr val="2846A8"/>
                </a:solidFill>
                <a:latin typeface="Cambria" panose="02040503050406030204" pitchFamily="18" charset="0"/>
                <a:ea typeface="Cambria" panose="02040503050406030204" pitchFamily="18" charset="0"/>
              </a:rPr>
              <a:t>Romania - Country overview</a:t>
            </a:r>
            <a:endParaRPr sz="2400" dirty="0">
              <a:solidFill>
                <a:srgbClr val="2846A8"/>
              </a:solidFill>
              <a:latin typeface="Cambria" panose="02040503050406030204" pitchFamily="18" charset="0"/>
              <a:ea typeface="Cambria" panose="02040503050406030204" pitchFamily="18" charset="0"/>
            </a:endParaRPr>
          </a:p>
        </p:txBody>
      </p:sp>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68825" y="64099"/>
            <a:ext cx="1188720" cy="266260"/>
          </a:xfrm>
          <a:prstGeom prst="rect">
            <a:avLst/>
          </a:prstGeom>
        </p:spPr>
      </p:pic>
      <p:sp>
        <p:nvSpPr>
          <p:cNvPr id="50" name="Google Shape;389;p31"/>
          <p:cNvSpPr txBox="1">
            <a:spLocks/>
          </p:cNvSpPr>
          <p:nvPr/>
        </p:nvSpPr>
        <p:spPr>
          <a:xfrm>
            <a:off x="4690604" y="3651009"/>
            <a:ext cx="642519" cy="23853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1pPr>
            <a:lvl2pPr marL="914400" marR="0" lvl="1" indent="-381000" algn="l" rtl="0">
              <a:lnSpc>
                <a:spcPct val="100000"/>
              </a:lnSpc>
              <a:spcBef>
                <a:spcPts val="60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2pPr>
            <a:lvl3pPr marL="1371600" marR="0" lvl="2"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3pPr>
            <a:lvl4pPr marL="1828800" marR="0" lvl="3"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4pPr>
            <a:lvl5pPr marL="2286000" marR="0" lvl="4"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5pPr>
            <a:lvl6pPr marL="2743200" marR="0" lvl="5"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6pPr>
            <a:lvl7pPr marL="3200400" marR="0" lvl="6"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7pPr>
            <a:lvl8pPr marL="3657600" marR="0" lvl="7"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8pPr>
            <a:lvl9pPr marL="4114800" marR="0" lvl="8" indent="-381000" algn="l" rtl="0">
              <a:lnSpc>
                <a:spcPct val="100000"/>
              </a:lnSpc>
              <a:spcBef>
                <a:spcPts val="600"/>
              </a:spcBef>
              <a:spcAft>
                <a:spcPts val="60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9pPr>
          </a:lstStyle>
          <a:p>
            <a:pPr marL="0" indent="0">
              <a:buFont typeface="IBM Plex Sans"/>
              <a:buNone/>
            </a:pPr>
            <a:r>
              <a:rPr lang="en-US" sz="1200" dirty="0">
                <a:solidFill>
                  <a:srgbClr val="2846A8"/>
                </a:solidFill>
                <a:latin typeface="Cambria" panose="02040503050406030204" pitchFamily="18" charset="0"/>
                <a:ea typeface="Cambria" panose="02040503050406030204" pitchFamily="18" charset="0"/>
              </a:rPr>
              <a:t>2007 </a:t>
            </a:r>
            <a:r>
              <a:rPr lang="ro-RO" sz="1200" dirty="0">
                <a:solidFill>
                  <a:srgbClr val="2846A8"/>
                </a:solidFill>
                <a:latin typeface="Cambria" panose="02040503050406030204" pitchFamily="18" charset="0"/>
                <a:ea typeface="Cambria" panose="02040503050406030204" pitchFamily="18" charset="0"/>
              </a:rPr>
              <a:t>-</a:t>
            </a:r>
            <a:r>
              <a:rPr lang="en-US" sz="1200" dirty="0">
                <a:solidFill>
                  <a:srgbClr val="2846A8"/>
                </a:solidFill>
                <a:latin typeface="Cambria" panose="02040503050406030204" pitchFamily="18" charset="0"/>
                <a:ea typeface="Cambria" panose="02040503050406030204" pitchFamily="18" charset="0"/>
              </a:rPr>
              <a:t> EU</a:t>
            </a:r>
          </a:p>
        </p:txBody>
      </p:sp>
      <p:sp>
        <p:nvSpPr>
          <p:cNvPr id="51" name="TextBox 50">
            <a:extLst>
              <a:ext uri="{FF2B5EF4-FFF2-40B4-BE49-F238E27FC236}">
                <a16:creationId xmlns:a16="http://schemas.microsoft.com/office/drawing/2014/main" id="{6EBF04CE-A70B-404D-A56B-9C7E2B3A16B3}"/>
              </a:ext>
            </a:extLst>
          </p:cNvPr>
          <p:cNvSpPr txBox="1"/>
          <p:nvPr/>
        </p:nvSpPr>
        <p:spPr>
          <a:xfrm>
            <a:off x="2996984" y="2581985"/>
            <a:ext cx="463386" cy="466344"/>
          </a:xfrm>
          <a:prstGeom prst="rect">
            <a:avLst/>
          </a:prstGeom>
          <a:noFill/>
        </p:spPr>
        <p:txBody>
          <a:bodyPr wrap="square" rtlCol="0" anchor="ctr">
            <a:spAutoFit/>
          </a:bodyPr>
          <a:lstStyle/>
          <a:p>
            <a:pPr algn="ctr"/>
            <a:r>
              <a:rPr lang="en-US" altLang="ko-KR" sz="1600" b="1" dirty="0">
                <a:solidFill>
                  <a:schemeClr val="bg1"/>
                </a:solidFill>
                <a:latin typeface="Cambria" panose="02040503050406030204" pitchFamily="18" charset="0"/>
                <a:ea typeface="Cambria" panose="02040503050406030204" pitchFamily="18" charset="0"/>
                <a:cs typeface="Arial" pitchFamily="34" charset="0"/>
              </a:rPr>
              <a:t>2</a:t>
            </a:r>
            <a:endParaRPr lang="ko-KR" altLang="en-US" sz="1600" b="1" dirty="0">
              <a:solidFill>
                <a:schemeClr val="bg1"/>
              </a:solidFill>
              <a:latin typeface="Cambria" panose="02040503050406030204" pitchFamily="18" charset="0"/>
              <a:cs typeface="Arial" pitchFamily="34" charset="0"/>
            </a:endParaRPr>
          </a:p>
        </p:txBody>
      </p:sp>
      <p:sp>
        <p:nvSpPr>
          <p:cNvPr id="52" name="TextBox 51">
            <a:extLst>
              <a:ext uri="{FF2B5EF4-FFF2-40B4-BE49-F238E27FC236}">
                <a16:creationId xmlns:a16="http://schemas.microsoft.com/office/drawing/2014/main" id="{6EBF04CE-A70B-404D-A56B-9C7E2B3A16B3}"/>
              </a:ext>
            </a:extLst>
          </p:cNvPr>
          <p:cNvSpPr txBox="1"/>
          <p:nvPr/>
        </p:nvSpPr>
        <p:spPr>
          <a:xfrm>
            <a:off x="2578907" y="3500860"/>
            <a:ext cx="463386" cy="466344"/>
          </a:xfrm>
          <a:prstGeom prst="rect">
            <a:avLst/>
          </a:prstGeom>
          <a:noFill/>
        </p:spPr>
        <p:txBody>
          <a:bodyPr wrap="square" rtlCol="0" anchor="ctr">
            <a:spAutoFit/>
          </a:bodyPr>
          <a:lstStyle/>
          <a:p>
            <a:pPr algn="ctr"/>
            <a:r>
              <a:rPr lang="en-US" altLang="ko-KR" sz="1600" b="1" dirty="0">
                <a:solidFill>
                  <a:schemeClr val="bg1"/>
                </a:solidFill>
                <a:latin typeface="Cambria" panose="02040503050406030204" pitchFamily="18" charset="0"/>
                <a:ea typeface="Cambria" panose="02040503050406030204" pitchFamily="18" charset="0"/>
                <a:cs typeface="Arial" pitchFamily="34" charset="0"/>
              </a:rPr>
              <a:t>3</a:t>
            </a:r>
            <a:endParaRPr lang="ko-KR" altLang="en-US" sz="1600" b="1" dirty="0">
              <a:solidFill>
                <a:schemeClr val="bg1"/>
              </a:solidFill>
              <a:latin typeface="Cambria" panose="02040503050406030204" pitchFamily="18" charset="0"/>
              <a:cs typeface="Arial" pitchFamily="34" charset="0"/>
            </a:endParaRPr>
          </a:p>
        </p:txBody>
      </p:sp>
      <p:sp>
        <p:nvSpPr>
          <p:cNvPr id="53" name="TextBox 52">
            <a:extLst>
              <a:ext uri="{FF2B5EF4-FFF2-40B4-BE49-F238E27FC236}">
                <a16:creationId xmlns:a16="http://schemas.microsoft.com/office/drawing/2014/main" id="{6EBF04CE-A70B-404D-A56B-9C7E2B3A16B3}"/>
              </a:ext>
            </a:extLst>
          </p:cNvPr>
          <p:cNvSpPr txBox="1"/>
          <p:nvPr/>
        </p:nvSpPr>
        <p:spPr>
          <a:xfrm>
            <a:off x="2214561" y="4394005"/>
            <a:ext cx="463386" cy="466344"/>
          </a:xfrm>
          <a:prstGeom prst="rect">
            <a:avLst/>
          </a:prstGeom>
          <a:noFill/>
        </p:spPr>
        <p:txBody>
          <a:bodyPr wrap="square" rtlCol="0" anchor="ctr">
            <a:spAutoFit/>
          </a:bodyPr>
          <a:lstStyle/>
          <a:p>
            <a:pPr algn="ctr"/>
            <a:r>
              <a:rPr lang="en-US" altLang="ko-KR" sz="1600" b="1" dirty="0">
                <a:solidFill>
                  <a:schemeClr val="bg1"/>
                </a:solidFill>
                <a:latin typeface="Cambria" panose="02040503050406030204" pitchFamily="18" charset="0"/>
                <a:ea typeface="Cambria" panose="02040503050406030204" pitchFamily="18" charset="0"/>
                <a:cs typeface="Arial" pitchFamily="34" charset="0"/>
              </a:rPr>
              <a:t>4</a:t>
            </a:r>
            <a:endParaRPr lang="ko-KR" altLang="en-US" sz="1600" b="1" dirty="0">
              <a:solidFill>
                <a:schemeClr val="bg1"/>
              </a:solidFill>
              <a:latin typeface="Cambria" panose="02040503050406030204" pitchFamily="18" charset="0"/>
              <a:cs typeface="Arial" pitchFamily="34" charset="0"/>
            </a:endParaRP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5432" y="3888030"/>
            <a:ext cx="1077883" cy="359280"/>
          </a:xfrm>
          <a:prstGeom prst="rect">
            <a:avLst/>
          </a:prstGeom>
        </p:spPr>
      </p:pic>
      <p:sp>
        <p:nvSpPr>
          <p:cNvPr id="27" name="Google Shape;389;p31"/>
          <p:cNvSpPr txBox="1">
            <a:spLocks/>
          </p:cNvSpPr>
          <p:nvPr/>
        </p:nvSpPr>
        <p:spPr>
          <a:xfrm>
            <a:off x="6224173" y="3661027"/>
            <a:ext cx="1105473" cy="23853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1pPr>
            <a:lvl2pPr marL="914400" marR="0" lvl="1" indent="-381000" algn="l" rtl="0">
              <a:lnSpc>
                <a:spcPct val="100000"/>
              </a:lnSpc>
              <a:spcBef>
                <a:spcPts val="60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2pPr>
            <a:lvl3pPr marL="1371600" marR="0" lvl="2"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3pPr>
            <a:lvl4pPr marL="1828800" marR="0" lvl="3"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4pPr>
            <a:lvl5pPr marL="2286000" marR="0" lvl="4"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5pPr>
            <a:lvl6pPr marL="2743200" marR="0" lvl="5"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6pPr>
            <a:lvl7pPr marL="3200400" marR="0" lvl="6"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7pPr>
            <a:lvl8pPr marL="3657600" marR="0" lvl="7"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8pPr>
            <a:lvl9pPr marL="4114800" marR="0" lvl="8" indent="-381000" algn="l" rtl="0">
              <a:lnSpc>
                <a:spcPct val="100000"/>
              </a:lnSpc>
              <a:spcBef>
                <a:spcPts val="600"/>
              </a:spcBef>
              <a:spcAft>
                <a:spcPts val="60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9pPr>
          </a:lstStyle>
          <a:p>
            <a:pPr marL="0" indent="0">
              <a:buFont typeface="IBM Plex Sans"/>
              <a:buNone/>
            </a:pPr>
            <a:r>
              <a:rPr lang="en-US" sz="1200" dirty="0">
                <a:solidFill>
                  <a:srgbClr val="2846A8"/>
                </a:solidFill>
                <a:latin typeface="Cambria" panose="02040503050406030204" pitchFamily="18" charset="0"/>
                <a:ea typeface="Cambria" panose="02040503050406030204" pitchFamily="18" charset="0"/>
              </a:rPr>
              <a:t>20</a:t>
            </a:r>
            <a:r>
              <a:rPr lang="ro-RO" sz="1200" dirty="0">
                <a:solidFill>
                  <a:srgbClr val="2846A8"/>
                </a:solidFill>
                <a:latin typeface="Cambria" panose="02040503050406030204" pitchFamily="18" charset="0"/>
                <a:ea typeface="Cambria" panose="02040503050406030204" pitchFamily="18" charset="0"/>
              </a:rPr>
              <a:t>25</a:t>
            </a:r>
            <a:r>
              <a:rPr lang="en-US" sz="1200" dirty="0">
                <a:solidFill>
                  <a:srgbClr val="2846A8"/>
                </a:solidFill>
                <a:latin typeface="Cambria" panose="02040503050406030204" pitchFamily="18" charset="0"/>
                <a:ea typeface="Cambria" panose="02040503050406030204" pitchFamily="18" charset="0"/>
              </a:rPr>
              <a:t> - </a:t>
            </a:r>
            <a:r>
              <a:rPr lang="ro-RO" sz="1200" dirty="0">
                <a:solidFill>
                  <a:srgbClr val="2846A8"/>
                </a:solidFill>
                <a:latin typeface="Cambria" panose="02040503050406030204" pitchFamily="18" charset="0"/>
                <a:ea typeface="Cambria" panose="02040503050406030204" pitchFamily="18" charset="0"/>
              </a:rPr>
              <a:t>Schengen</a:t>
            </a:r>
            <a:endParaRPr lang="en-US" sz="1200" dirty="0">
              <a:solidFill>
                <a:srgbClr val="2846A8"/>
              </a:solidFill>
              <a:latin typeface="Cambria" panose="02040503050406030204" pitchFamily="18" charset="0"/>
              <a:ea typeface="Cambria" panose="02040503050406030204" pitchFamily="18" charset="0"/>
            </a:endParaRPr>
          </a:p>
        </p:txBody>
      </p:sp>
      <p:sp>
        <p:nvSpPr>
          <p:cNvPr id="28" name="Google Shape;389;p31"/>
          <p:cNvSpPr txBox="1">
            <a:spLocks/>
          </p:cNvSpPr>
          <p:nvPr/>
        </p:nvSpPr>
        <p:spPr>
          <a:xfrm>
            <a:off x="3184558" y="3649492"/>
            <a:ext cx="892189" cy="23853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1pPr>
            <a:lvl2pPr marL="914400" marR="0" lvl="1" indent="-381000" algn="l" rtl="0">
              <a:lnSpc>
                <a:spcPct val="100000"/>
              </a:lnSpc>
              <a:spcBef>
                <a:spcPts val="600"/>
              </a:spcBef>
              <a:spcAft>
                <a:spcPts val="0"/>
              </a:spcAft>
              <a:buClr>
                <a:schemeClr val="accent1"/>
              </a:buClr>
              <a:buSzPts val="2400"/>
              <a:buFont typeface="IBM Plex Sans"/>
              <a:buChar char="▹"/>
              <a:defRPr sz="2400" b="0" i="0" u="none" strike="noStrike" cap="none">
                <a:solidFill>
                  <a:schemeClr val="dk1"/>
                </a:solidFill>
                <a:latin typeface="IBM Plex Sans"/>
                <a:ea typeface="IBM Plex Sans"/>
                <a:cs typeface="IBM Plex Sans"/>
                <a:sym typeface="IBM Plex Sans"/>
              </a:defRPr>
            </a:lvl2pPr>
            <a:lvl3pPr marL="1371600" marR="0" lvl="2"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3pPr>
            <a:lvl4pPr marL="1828800" marR="0" lvl="3"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4pPr>
            <a:lvl5pPr marL="2286000" marR="0" lvl="4"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5pPr>
            <a:lvl6pPr marL="2743200" marR="0" lvl="5"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6pPr>
            <a:lvl7pPr marL="3200400" marR="0" lvl="6"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7pPr>
            <a:lvl8pPr marL="3657600" marR="0" lvl="7" indent="-381000" algn="l" rtl="0">
              <a:lnSpc>
                <a:spcPct val="100000"/>
              </a:lnSpc>
              <a:spcBef>
                <a:spcPts val="600"/>
              </a:spcBef>
              <a:spcAft>
                <a:spcPts val="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8pPr>
            <a:lvl9pPr marL="4114800" marR="0" lvl="8" indent="-381000" algn="l" rtl="0">
              <a:lnSpc>
                <a:spcPct val="100000"/>
              </a:lnSpc>
              <a:spcBef>
                <a:spcPts val="600"/>
              </a:spcBef>
              <a:spcAft>
                <a:spcPts val="600"/>
              </a:spcAft>
              <a:buClr>
                <a:schemeClr val="lt2"/>
              </a:buClr>
              <a:buSzPts val="2400"/>
              <a:buFont typeface="IBM Plex Sans"/>
              <a:buChar char="■"/>
              <a:defRPr sz="2400" b="0" i="0" u="none" strike="noStrike" cap="none">
                <a:solidFill>
                  <a:schemeClr val="dk1"/>
                </a:solidFill>
                <a:latin typeface="IBM Plex Sans"/>
                <a:ea typeface="IBM Plex Sans"/>
                <a:cs typeface="IBM Plex Sans"/>
                <a:sym typeface="IBM Plex Sans"/>
              </a:defRPr>
            </a:lvl9pPr>
          </a:lstStyle>
          <a:p>
            <a:pPr marL="0" indent="0">
              <a:buFont typeface="IBM Plex Sans"/>
              <a:buNone/>
            </a:pPr>
            <a:r>
              <a:rPr lang="en-US" sz="1200" dirty="0">
                <a:solidFill>
                  <a:srgbClr val="2846A8"/>
                </a:solidFill>
                <a:latin typeface="Cambria" panose="02040503050406030204" pitchFamily="18" charset="0"/>
                <a:ea typeface="Cambria" panose="02040503050406030204" pitchFamily="18" charset="0"/>
              </a:rPr>
              <a:t>200</a:t>
            </a:r>
            <a:r>
              <a:rPr lang="ro-RO" sz="1200" dirty="0">
                <a:solidFill>
                  <a:srgbClr val="2846A8"/>
                </a:solidFill>
                <a:latin typeface="Cambria" panose="02040503050406030204" pitchFamily="18" charset="0"/>
                <a:ea typeface="Cambria" panose="02040503050406030204" pitchFamily="18" charset="0"/>
              </a:rPr>
              <a:t>4</a:t>
            </a:r>
            <a:r>
              <a:rPr lang="en-US" sz="1200" dirty="0">
                <a:solidFill>
                  <a:srgbClr val="2846A8"/>
                </a:solidFill>
                <a:latin typeface="Cambria" panose="02040503050406030204" pitchFamily="18" charset="0"/>
                <a:ea typeface="Cambria" panose="02040503050406030204" pitchFamily="18" charset="0"/>
              </a:rPr>
              <a:t> </a:t>
            </a:r>
            <a:r>
              <a:rPr lang="ro-RO" sz="1200" dirty="0">
                <a:solidFill>
                  <a:srgbClr val="2846A8"/>
                </a:solidFill>
                <a:latin typeface="Cambria" panose="02040503050406030204" pitchFamily="18" charset="0"/>
                <a:ea typeface="Cambria" panose="02040503050406030204" pitchFamily="18" charset="0"/>
              </a:rPr>
              <a:t>-</a:t>
            </a:r>
            <a:r>
              <a:rPr lang="en-US" sz="1200" dirty="0">
                <a:solidFill>
                  <a:srgbClr val="2846A8"/>
                </a:solidFill>
                <a:latin typeface="Cambria" panose="02040503050406030204" pitchFamily="18" charset="0"/>
                <a:ea typeface="Cambria" panose="02040503050406030204" pitchFamily="18" charset="0"/>
              </a:rPr>
              <a:t> </a:t>
            </a:r>
            <a:r>
              <a:rPr lang="ro-RO" sz="1200" dirty="0">
                <a:solidFill>
                  <a:srgbClr val="2846A8"/>
                </a:solidFill>
                <a:latin typeface="Cambria" panose="02040503050406030204" pitchFamily="18" charset="0"/>
                <a:ea typeface="Cambria" panose="02040503050406030204" pitchFamily="18" charset="0"/>
              </a:rPr>
              <a:t>NATO</a:t>
            </a:r>
            <a:endParaRPr lang="en-US" sz="1200" dirty="0">
              <a:solidFill>
                <a:srgbClr val="2846A8"/>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2615557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8" name="Google Shape;387;p31"/>
          <p:cNvSpPr txBox="1">
            <a:spLocks/>
          </p:cNvSpPr>
          <p:nvPr/>
        </p:nvSpPr>
        <p:spPr>
          <a:xfrm>
            <a:off x="1373212" y="416900"/>
            <a:ext cx="7005148"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vestment support</a:t>
            </a:r>
          </a:p>
        </p:txBody>
      </p:sp>
      <p:sp>
        <p:nvSpPr>
          <p:cNvPr id="35" name="Google Shape;583;p46"/>
          <p:cNvSpPr txBox="1"/>
          <p:nvPr/>
        </p:nvSpPr>
        <p:spPr>
          <a:xfrm>
            <a:off x="1373212" y="1823661"/>
            <a:ext cx="6116492" cy="2992644"/>
          </a:xfrm>
          <a:custGeom>
            <a:avLst/>
            <a:gdLst>
              <a:gd name="connsiteX0" fmla="*/ 0 w 2149387"/>
              <a:gd name="connsiteY0" fmla="*/ 291911 h 1751430"/>
              <a:gd name="connsiteX1" fmla="*/ 291911 w 2149387"/>
              <a:gd name="connsiteY1" fmla="*/ 0 h 1751430"/>
              <a:gd name="connsiteX2" fmla="*/ 1857476 w 2149387"/>
              <a:gd name="connsiteY2" fmla="*/ 0 h 1751430"/>
              <a:gd name="connsiteX3" fmla="*/ 2149387 w 2149387"/>
              <a:gd name="connsiteY3" fmla="*/ 291911 h 1751430"/>
              <a:gd name="connsiteX4" fmla="*/ 2149387 w 2149387"/>
              <a:gd name="connsiteY4" fmla="*/ 1459519 h 1751430"/>
              <a:gd name="connsiteX5" fmla="*/ 1857476 w 2149387"/>
              <a:gd name="connsiteY5" fmla="*/ 1751430 h 1751430"/>
              <a:gd name="connsiteX6" fmla="*/ 291911 w 2149387"/>
              <a:gd name="connsiteY6" fmla="*/ 1751430 h 1751430"/>
              <a:gd name="connsiteX7" fmla="*/ 0 w 2149387"/>
              <a:gd name="connsiteY7" fmla="*/ 1459519 h 1751430"/>
              <a:gd name="connsiteX8" fmla="*/ 0 w 2149387"/>
              <a:gd name="connsiteY8" fmla="*/ 291911 h 1751430"/>
              <a:gd name="connsiteX0" fmla="*/ 297531 w 2446918"/>
              <a:gd name="connsiteY0" fmla="*/ 291911 h 1751430"/>
              <a:gd name="connsiteX1" fmla="*/ 36708 w 2446918"/>
              <a:gd name="connsiteY1" fmla="*/ 6824 h 1751430"/>
              <a:gd name="connsiteX2" fmla="*/ 2155007 w 2446918"/>
              <a:gd name="connsiteY2" fmla="*/ 0 h 1751430"/>
              <a:gd name="connsiteX3" fmla="*/ 2446918 w 2446918"/>
              <a:gd name="connsiteY3" fmla="*/ 291911 h 1751430"/>
              <a:gd name="connsiteX4" fmla="*/ 2446918 w 2446918"/>
              <a:gd name="connsiteY4" fmla="*/ 1459519 h 1751430"/>
              <a:gd name="connsiteX5" fmla="*/ 2155007 w 2446918"/>
              <a:gd name="connsiteY5" fmla="*/ 1751430 h 1751430"/>
              <a:gd name="connsiteX6" fmla="*/ 589442 w 2446918"/>
              <a:gd name="connsiteY6" fmla="*/ 1751430 h 1751430"/>
              <a:gd name="connsiteX7" fmla="*/ 297531 w 2446918"/>
              <a:gd name="connsiteY7" fmla="*/ 1459519 h 1751430"/>
              <a:gd name="connsiteX8" fmla="*/ 297531 w 2446918"/>
              <a:gd name="connsiteY8" fmla="*/ 291911 h 175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6918" h="1751430">
                <a:moveTo>
                  <a:pt x="297531" y="291911"/>
                </a:moveTo>
                <a:cubicBezTo>
                  <a:pt x="297531" y="130693"/>
                  <a:pt x="-124510" y="6824"/>
                  <a:pt x="36708" y="6824"/>
                </a:cubicBezTo>
                <a:lnTo>
                  <a:pt x="2155007" y="0"/>
                </a:lnTo>
                <a:cubicBezTo>
                  <a:pt x="2316225" y="0"/>
                  <a:pt x="2446918" y="130693"/>
                  <a:pt x="2446918" y="291911"/>
                </a:cubicBezTo>
                <a:lnTo>
                  <a:pt x="2446918" y="1459519"/>
                </a:lnTo>
                <a:cubicBezTo>
                  <a:pt x="2446918" y="1620737"/>
                  <a:pt x="2316225" y="1751430"/>
                  <a:pt x="2155007" y="1751430"/>
                </a:cubicBezTo>
                <a:lnTo>
                  <a:pt x="589442" y="1751430"/>
                </a:lnTo>
                <a:cubicBezTo>
                  <a:pt x="428224" y="1751430"/>
                  <a:pt x="297531" y="1620737"/>
                  <a:pt x="297531" y="1459519"/>
                </a:cubicBezTo>
                <a:lnTo>
                  <a:pt x="297531" y="291911"/>
                </a:lnTo>
                <a:close/>
              </a:path>
            </a:pathLst>
          </a:custGeom>
          <a:solidFill>
            <a:srgbClr val="E9DBBD">
              <a:alpha val="44000"/>
            </a:srgb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sz="1200" b="1" dirty="0">
              <a:solidFill>
                <a:srgbClr val="2846A8"/>
              </a:solidFill>
              <a:latin typeface="Cambria" panose="02040503050406030204" pitchFamily="18" charset="0"/>
              <a:ea typeface="Cambria" panose="02040503050406030204" pitchFamily="18" charset="0"/>
            </a:endParaRPr>
          </a:p>
        </p:txBody>
      </p:sp>
      <p:sp>
        <p:nvSpPr>
          <p:cNvPr id="2" name="TextBox 1"/>
          <p:cNvSpPr txBox="1"/>
          <p:nvPr/>
        </p:nvSpPr>
        <p:spPr>
          <a:xfrm>
            <a:off x="2324686" y="2420453"/>
            <a:ext cx="5001698" cy="1569660"/>
          </a:xfrm>
          <a:prstGeom prst="rect">
            <a:avLst/>
          </a:prstGeom>
          <a:noFill/>
        </p:spPr>
        <p:txBody>
          <a:bodyPr wrap="square" rtlCol="0">
            <a:spAutoFit/>
          </a:bodyPr>
          <a:lstStyle/>
          <a:p>
            <a:pPr algn="just">
              <a:buClr>
                <a:srgbClr val="2846A8"/>
              </a:buClr>
            </a:pPr>
            <a:r>
              <a:rPr lang="en-US" sz="1200" b="1" dirty="0">
                <a:solidFill>
                  <a:srgbClr val="2846A8"/>
                </a:solidFill>
                <a:latin typeface="Cambria" panose="02040503050406030204" pitchFamily="18" charset="0"/>
                <a:ea typeface="Cambria" panose="02040503050406030204" pitchFamily="18" charset="0"/>
              </a:rPr>
              <a:t>Eligible expenses</a:t>
            </a:r>
            <a:r>
              <a:rPr lang="en-US" sz="1200" dirty="0">
                <a:solidFill>
                  <a:srgbClr val="2846A8"/>
                </a:solidFill>
                <a:latin typeface="Cambria" panose="02040503050406030204" pitchFamily="18" charset="0"/>
                <a:ea typeface="Cambria" panose="02040503050406030204" pitchFamily="18" charset="0"/>
              </a:rPr>
              <a:t>: investment in tangible assets (buildings, land, technical installations, machinery and equipment) and intangible assets (patents, licenses, know-how or other intellectual property rights) related to the establishment of a new unit, expanding the capacity of an existing one or diversification of a production unit.</a:t>
            </a:r>
          </a:p>
          <a:p>
            <a:pPr>
              <a:buClr>
                <a:srgbClr val="2846A8"/>
              </a:buClr>
            </a:pPr>
            <a:endParaRPr lang="en-US" sz="1200" b="1" dirty="0">
              <a:solidFill>
                <a:srgbClr val="2846A8"/>
              </a:solidFill>
              <a:latin typeface="Cambria" panose="02040503050406030204" pitchFamily="18" charset="0"/>
              <a:ea typeface="Cambria" panose="02040503050406030204" pitchFamily="18" charset="0"/>
            </a:endParaRPr>
          </a:p>
          <a:p>
            <a:pPr algn="just">
              <a:buClr>
                <a:srgbClr val="2846A8"/>
              </a:buClr>
            </a:pPr>
            <a:r>
              <a:rPr lang="en-US" sz="1200" b="1" dirty="0">
                <a:solidFill>
                  <a:srgbClr val="2846A8"/>
                </a:solidFill>
                <a:latin typeface="Cambria" panose="02040503050406030204" pitchFamily="18" charset="0"/>
                <a:ea typeface="Cambria" panose="02040503050406030204" pitchFamily="18" charset="0"/>
              </a:rPr>
              <a:t>Maximum amount</a:t>
            </a:r>
            <a:r>
              <a:rPr lang="en-US" sz="1200" dirty="0">
                <a:solidFill>
                  <a:srgbClr val="2846A8"/>
                </a:solidFill>
                <a:latin typeface="Cambria" panose="02040503050406030204" pitchFamily="18" charset="0"/>
                <a:ea typeface="Cambria" panose="02040503050406030204" pitchFamily="18" charset="0"/>
              </a:rPr>
              <a:t>: € 50,000,000 depending on the county where the investment is located.</a:t>
            </a:r>
          </a:p>
        </p:txBody>
      </p:sp>
      <p:sp>
        <p:nvSpPr>
          <p:cNvPr id="37" name="TextBox 36"/>
          <p:cNvSpPr txBox="1"/>
          <p:nvPr/>
        </p:nvSpPr>
        <p:spPr>
          <a:xfrm>
            <a:off x="2324686" y="868313"/>
            <a:ext cx="4998924" cy="292943"/>
          </a:xfrm>
          <a:prstGeom prst="rect">
            <a:avLst/>
          </a:prstGeom>
          <a:noFill/>
        </p:spPr>
        <p:txBody>
          <a:bodyPr wrap="square" rtlCol="0">
            <a:spAutoFit/>
          </a:bodyPr>
          <a:lstStyle/>
          <a:p>
            <a:pPr algn="ctr"/>
            <a:r>
              <a:rPr lang="en-US" sz="1300" b="1" dirty="0">
                <a:solidFill>
                  <a:srgbClr val="2846A8"/>
                </a:solidFill>
                <a:latin typeface="Cambria" panose="02040503050406030204" pitchFamily="18" charset="0"/>
                <a:ea typeface="Cambria" panose="02040503050406030204" pitchFamily="18" charset="0"/>
              </a:rPr>
              <a:t>STATE AID - GEO 68 / 2023 </a:t>
            </a:r>
            <a:r>
              <a:rPr lang="en-US" sz="1300" b="1" dirty="0" err="1">
                <a:solidFill>
                  <a:srgbClr val="2846A8"/>
                </a:solidFill>
                <a:latin typeface="Cambria" panose="02040503050406030204" pitchFamily="18" charset="0"/>
                <a:ea typeface="Cambria" panose="02040503050406030204" pitchFamily="18" charset="0"/>
              </a:rPr>
              <a:t>ConstructPlus</a:t>
            </a:r>
            <a:endParaRPr lang="en-US" sz="1300" dirty="0">
              <a:solidFill>
                <a:srgbClr val="2846A8"/>
              </a:solidFill>
              <a:latin typeface="Cambria" panose="02040503050406030204" pitchFamily="18" charset="0"/>
            </a:endParaRPr>
          </a:p>
        </p:txBody>
      </p:sp>
      <p:sp>
        <p:nvSpPr>
          <p:cNvPr id="13" name="TextBox 12"/>
          <p:cNvSpPr txBox="1"/>
          <p:nvPr/>
        </p:nvSpPr>
        <p:spPr>
          <a:xfrm>
            <a:off x="2185989" y="1881822"/>
            <a:ext cx="5189260" cy="461665"/>
          </a:xfrm>
          <a:prstGeom prst="rect">
            <a:avLst/>
          </a:prstGeom>
          <a:noFill/>
        </p:spPr>
        <p:txBody>
          <a:bodyPr wrap="square" rtlCol="0">
            <a:spAutoFit/>
          </a:bodyPr>
          <a:lstStyle/>
          <a:p>
            <a:pPr algn="ctr">
              <a:buClr>
                <a:srgbClr val="2846A8"/>
              </a:buClr>
            </a:pPr>
            <a:r>
              <a:rPr lang="en-US" sz="1200" dirty="0">
                <a:solidFill>
                  <a:srgbClr val="2846A8"/>
                </a:solidFill>
                <a:latin typeface="Cambria" panose="02040503050406030204" pitchFamily="18" charset="0"/>
                <a:ea typeface="Cambria" panose="02040503050406030204" pitchFamily="18" charset="0"/>
              </a:rPr>
              <a:t>Financial support of investments for the establishment and/or development of production capacities for construction products and materials</a:t>
            </a:r>
            <a:endParaRPr lang="en-US" dirty="0"/>
          </a:p>
        </p:txBody>
      </p:sp>
      <p:sp>
        <p:nvSpPr>
          <p:cNvPr id="14" name="TextBox 13"/>
          <p:cNvSpPr txBox="1"/>
          <p:nvPr/>
        </p:nvSpPr>
        <p:spPr>
          <a:xfrm>
            <a:off x="2324686" y="4101475"/>
            <a:ext cx="4998923" cy="461665"/>
          </a:xfrm>
          <a:prstGeom prst="rect">
            <a:avLst/>
          </a:prstGeom>
          <a:noFill/>
        </p:spPr>
        <p:txBody>
          <a:bodyPr wrap="square" rtlCol="0">
            <a:spAutoFit/>
          </a:bodyPr>
          <a:lstStyle/>
          <a:p>
            <a:pPr algn="just">
              <a:buClr>
                <a:srgbClr val="2846A8"/>
              </a:buClr>
            </a:pPr>
            <a:r>
              <a:rPr lang="en-US" sz="1200" dirty="0">
                <a:solidFill>
                  <a:srgbClr val="2846A8"/>
                </a:solidFill>
                <a:latin typeface="Cambria" panose="02040503050406030204" pitchFamily="18" charset="0"/>
                <a:ea typeface="Cambria" panose="02040503050406030204" pitchFamily="18" charset="0"/>
              </a:rPr>
              <a:t>The investment must be maintained in the beneficiary region for a minimum of 5 years after its completion or, at least 3 years for SMEs.</a:t>
            </a:r>
            <a:endParaRPr lang="en-US" dirty="0"/>
          </a:p>
        </p:txBody>
      </p:sp>
      <p:sp>
        <p:nvSpPr>
          <p:cNvPr id="15" name="TextBox 14"/>
          <p:cNvSpPr txBox="1"/>
          <p:nvPr/>
        </p:nvSpPr>
        <p:spPr>
          <a:xfrm>
            <a:off x="2324687" y="1418421"/>
            <a:ext cx="4998924" cy="186077"/>
          </a:xfrm>
          <a:prstGeom prst="rect">
            <a:avLst/>
          </a:prstGeom>
          <a:noFill/>
          <a:ln w="9525">
            <a:noFill/>
          </a:ln>
        </p:spPr>
        <p:txBody>
          <a:bodyPr wrap="square" lIns="0" tIns="0" rIns="0" bIns="0" rtlCol="0">
            <a:spAutoFit/>
          </a:bodyPr>
          <a:lstStyle/>
          <a:p>
            <a:pPr algn="ctr">
              <a:lnSpc>
                <a:spcPct val="93000"/>
              </a:lnSpc>
            </a:pPr>
            <a:r>
              <a:rPr lang="en-US" sz="1300" dirty="0">
                <a:solidFill>
                  <a:srgbClr val="2846A8"/>
                </a:solidFill>
                <a:latin typeface="Cambria" panose="02040503050406030204" pitchFamily="18" charset="0"/>
              </a:rPr>
              <a:t>2024 Budget: </a:t>
            </a:r>
            <a:r>
              <a:rPr lang="en-US" sz="1300" dirty="0">
                <a:solidFill>
                  <a:srgbClr val="2846A8"/>
                </a:solidFill>
                <a:latin typeface="Arial" panose="020B0604020202020204" pitchFamily="34" charset="0"/>
                <a:cs typeface="Arial" panose="020B0604020202020204" pitchFamily="34" charset="0"/>
              </a:rPr>
              <a:t>~</a:t>
            </a:r>
            <a:r>
              <a:rPr lang="ro-RO" sz="1300" dirty="0">
                <a:solidFill>
                  <a:srgbClr val="2846A8"/>
                </a:solidFill>
                <a:latin typeface="Arial" panose="020B0604020202020204" pitchFamily="34" charset="0"/>
                <a:cs typeface="Arial" panose="020B0604020202020204" pitchFamily="34" charset="0"/>
              </a:rPr>
              <a:t> </a:t>
            </a:r>
            <a:r>
              <a:rPr lang="en-US" sz="1300" dirty="0">
                <a:solidFill>
                  <a:srgbClr val="2846A8"/>
                </a:solidFill>
                <a:latin typeface="Cambria" panose="02040503050406030204" pitchFamily="18" charset="0"/>
                <a:ea typeface="Cambria" panose="02040503050406030204" pitchFamily="18" charset="0"/>
              </a:rPr>
              <a:t>€</a:t>
            </a:r>
            <a:r>
              <a:rPr lang="ro-RO" sz="1300" dirty="0">
                <a:solidFill>
                  <a:srgbClr val="2846A8"/>
                </a:solidFill>
                <a:latin typeface="Cambria" panose="02040503050406030204" pitchFamily="18" charset="0"/>
                <a:ea typeface="Cambria" panose="02040503050406030204" pitchFamily="18" charset="0"/>
              </a:rPr>
              <a:t> </a:t>
            </a:r>
            <a:r>
              <a:rPr lang="en-US" sz="1300" dirty="0">
                <a:solidFill>
                  <a:srgbClr val="2846A8"/>
                </a:solidFill>
                <a:latin typeface="Cambria" panose="02040503050406030204" pitchFamily="18" charset="0"/>
                <a:ea typeface="Cambria" panose="02040503050406030204" pitchFamily="18" charset="0"/>
              </a:rPr>
              <a:t>149</a:t>
            </a:r>
            <a:r>
              <a:rPr lang="en-US" sz="1300" dirty="0">
                <a:solidFill>
                  <a:srgbClr val="2846A8"/>
                </a:solidFill>
                <a:latin typeface="Cambria" panose="02040503050406030204" pitchFamily="18" charset="0"/>
              </a:rPr>
              <a:t> Mill.</a:t>
            </a:r>
            <a:endParaRPr lang="en-US" sz="1300" dirty="0">
              <a:solidFill>
                <a:srgbClr val="2846A8"/>
              </a:solidFill>
              <a:cs typeface="Arial" pitchFamily="34" charset="0"/>
            </a:endParaRPr>
          </a:p>
        </p:txBody>
      </p:sp>
      <p:sp>
        <p:nvSpPr>
          <p:cNvPr id="33" name="TextBox 32"/>
          <p:cNvSpPr txBox="1"/>
          <p:nvPr/>
        </p:nvSpPr>
        <p:spPr>
          <a:xfrm>
            <a:off x="2324687" y="1180702"/>
            <a:ext cx="4998923" cy="186077"/>
          </a:xfrm>
          <a:prstGeom prst="rect">
            <a:avLst/>
          </a:prstGeom>
          <a:noFill/>
          <a:ln w="9525">
            <a:noFill/>
          </a:ln>
        </p:spPr>
        <p:txBody>
          <a:bodyPr wrap="square" lIns="0" tIns="0" rIns="0" bIns="0" rtlCol="0">
            <a:spAutoFit/>
          </a:bodyPr>
          <a:lstStyle/>
          <a:p>
            <a:pPr algn="ctr">
              <a:lnSpc>
                <a:spcPct val="93000"/>
              </a:lnSpc>
            </a:pPr>
            <a:r>
              <a:rPr lang="en-US" sz="1300" dirty="0">
                <a:solidFill>
                  <a:srgbClr val="2846A8"/>
                </a:solidFill>
                <a:latin typeface="Cambria" panose="02040503050406030204" pitchFamily="18" charset="0"/>
              </a:rPr>
              <a:t>20</a:t>
            </a:r>
            <a:r>
              <a:rPr lang="ro-RO" sz="1300" dirty="0">
                <a:solidFill>
                  <a:srgbClr val="2846A8"/>
                </a:solidFill>
                <a:latin typeface="Cambria" panose="02040503050406030204" pitchFamily="18" charset="0"/>
              </a:rPr>
              <a:t>2</a:t>
            </a:r>
            <a:r>
              <a:rPr lang="en-US" sz="1300" dirty="0">
                <a:solidFill>
                  <a:srgbClr val="2846A8"/>
                </a:solidFill>
                <a:latin typeface="Cambria" panose="02040503050406030204" pitchFamily="18" charset="0"/>
              </a:rPr>
              <a:t>3-202</a:t>
            </a:r>
            <a:r>
              <a:rPr lang="ro-RO" sz="1300" dirty="0">
                <a:solidFill>
                  <a:srgbClr val="2846A8"/>
                </a:solidFill>
                <a:latin typeface="Cambria" panose="02040503050406030204" pitchFamily="18" charset="0"/>
              </a:rPr>
              <a:t>6</a:t>
            </a:r>
            <a:r>
              <a:rPr lang="en-US" sz="1300" dirty="0">
                <a:solidFill>
                  <a:srgbClr val="2846A8"/>
                </a:solidFill>
                <a:latin typeface="Cambria" panose="02040503050406030204" pitchFamily="18" charset="0"/>
              </a:rPr>
              <a:t> Total Budget: </a:t>
            </a:r>
            <a:r>
              <a:rPr lang="en-US" sz="1300" dirty="0">
                <a:solidFill>
                  <a:srgbClr val="2846A8"/>
                </a:solidFill>
                <a:latin typeface="Arial" panose="020B0604020202020204" pitchFamily="34" charset="0"/>
                <a:cs typeface="Arial" panose="020B0604020202020204" pitchFamily="34" charset="0"/>
              </a:rPr>
              <a:t>~</a:t>
            </a:r>
            <a:r>
              <a:rPr lang="ro-RO" sz="1300" dirty="0">
                <a:solidFill>
                  <a:srgbClr val="2846A8"/>
                </a:solidFill>
                <a:latin typeface="Arial" panose="020B0604020202020204" pitchFamily="34" charset="0"/>
                <a:cs typeface="Arial" panose="020B0604020202020204" pitchFamily="34" charset="0"/>
              </a:rPr>
              <a:t> </a:t>
            </a:r>
            <a:r>
              <a:rPr lang="en-US" sz="1300" dirty="0">
                <a:solidFill>
                  <a:srgbClr val="2846A8"/>
                </a:solidFill>
                <a:latin typeface="Cambria" panose="02040503050406030204" pitchFamily="18" charset="0"/>
                <a:ea typeface="Cambria" panose="02040503050406030204" pitchFamily="18" charset="0"/>
              </a:rPr>
              <a:t>€</a:t>
            </a:r>
            <a:r>
              <a:rPr lang="ro-RO" sz="1300" dirty="0">
                <a:solidFill>
                  <a:srgbClr val="2846A8"/>
                </a:solidFill>
                <a:latin typeface="Cambria" panose="02040503050406030204" pitchFamily="18" charset="0"/>
                <a:ea typeface="Cambria" panose="02040503050406030204" pitchFamily="18" charset="0"/>
              </a:rPr>
              <a:t> </a:t>
            </a:r>
            <a:r>
              <a:rPr lang="en-US" sz="1300" dirty="0">
                <a:solidFill>
                  <a:srgbClr val="2846A8"/>
                </a:solidFill>
                <a:latin typeface="Cambria" panose="02040503050406030204" pitchFamily="18" charset="0"/>
                <a:ea typeface="Cambria" panose="02040503050406030204" pitchFamily="18" charset="0"/>
              </a:rPr>
              <a:t>596</a:t>
            </a:r>
            <a:r>
              <a:rPr lang="en-US" sz="1300" dirty="0">
                <a:solidFill>
                  <a:srgbClr val="2846A8"/>
                </a:solidFill>
                <a:latin typeface="Cambria" panose="02040503050406030204" pitchFamily="18" charset="0"/>
              </a:rPr>
              <a:t> Mill.</a:t>
            </a:r>
            <a:endParaRPr lang="en-US" sz="1300" dirty="0">
              <a:solidFill>
                <a:srgbClr val="2846A8"/>
              </a:solidFill>
              <a:cs typeface="Arial" pitchFamily="34"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7795" y="675794"/>
            <a:ext cx="1188720" cy="266260"/>
          </a:xfrm>
          <a:prstGeom prst="rect">
            <a:avLst/>
          </a:prstGeom>
        </p:spPr>
      </p:pic>
      <p:sp>
        <p:nvSpPr>
          <p:cNvPr id="16" name="TextBox 15"/>
          <p:cNvSpPr txBox="1"/>
          <p:nvPr/>
        </p:nvSpPr>
        <p:spPr>
          <a:xfrm>
            <a:off x="2376324" y="1620437"/>
            <a:ext cx="4998924"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ea typeface="Cambria" panose="02040503050406030204" pitchFamily="18" charset="0"/>
              </a:rPr>
              <a:t>Managed by: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The Ministry of Economy, Entrepreneurship and Tourism</a:t>
            </a:r>
          </a:p>
        </p:txBody>
      </p:sp>
    </p:spTree>
    <p:extLst>
      <p:ext uri="{BB962C8B-B14F-4D97-AF65-F5344CB8AC3E}">
        <p14:creationId xmlns:p14="http://schemas.microsoft.com/office/powerpoint/2010/main" val="445597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6307708" y="4834381"/>
            <a:ext cx="2468880" cy="128818"/>
          </a:xfrm>
          <a:prstGeom prst="rect">
            <a:avLst/>
          </a:prstGeom>
          <a:noFill/>
          <a:ln w="9525">
            <a:noFill/>
          </a:ln>
        </p:spPr>
        <p:txBody>
          <a:bodyPr wrap="square" lIns="0" tIns="0" rIns="0" bIns="0" rtlCol="0">
            <a:spAutoFit/>
          </a:bodyPr>
          <a:lstStyle/>
          <a:p>
            <a:pPr>
              <a:lnSpc>
                <a:spcPct val="93000"/>
              </a:lnSpc>
            </a:pPr>
            <a:r>
              <a:rPr lang="en-US" sz="900" dirty="0">
                <a:solidFill>
                  <a:srgbClr val="2846A8"/>
                </a:solidFill>
                <a:latin typeface="Cambria" panose="02040503050406030204" pitchFamily="18" charset="0"/>
                <a:cs typeface="Arial" pitchFamily="34" charset="0"/>
              </a:rPr>
              <a:t>(Source: The Official Monitor, July 7</a:t>
            </a:r>
            <a:r>
              <a:rPr lang="en-US" sz="900" baseline="30000" dirty="0">
                <a:solidFill>
                  <a:srgbClr val="2846A8"/>
                </a:solidFill>
                <a:latin typeface="Cambria" panose="02040503050406030204" pitchFamily="18" charset="0"/>
                <a:cs typeface="Arial" pitchFamily="34" charset="0"/>
              </a:rPr>
              <a:t>th</a:t>
            </a:r>
            <a:r>
              <a:rPr lang="en-US" sz="900" dirty="0">
                <a:solidFill>
                  <a:srgbClr val="2846A8"/>
                </a:solidFill>
                <a:latin typeface="Cambria" panose="02040503050406030204" pitchFamily="18" charset="0"/>
                <a:cs typeface="Arial" pitchFamily="34" charset="0"/>
              </a:rPr>
              <a:t>, 2023)</a:t>
            </a:r>
          </a:p>
        </p:txBody>
      </p:sp>
      <p:grpSp>
        <p:nvGrpSpPr>
          <p:cNvPr id="3" name="Group 2"/>
          <p:cNvGrpSpPr/>
          <p:nvPr/>
        </p:nvGrpSpPr>
        <p:grpSpPr>
          <a:xfrm>
            <a:off x="1924950" y="1104186"/>
            <a:ext cx="5488423" cy="3693453"/>
            <a:chOff x="243637" y="1390639"/>
            <a:chExt cx="5312337" cy="3551804"/>
          </a:xfrm>
        </p:grpSpPr>
        <p:grpSp>
          <p:nvGrpSpPr>
            <p:cNvPr id="104" name="Group 103"/>
            <p:cNvGrpSpPr/>
            <p:nvPr/>
          </p:nvGrpSpPr>
          <p:grpSpPr>
            <a:xfrm>
              <a:off x="243637" y="1390639"/>
              <a:ext cx="5312337" cy="3551804"/>
              <a:chOff x="2298850" y="2557007"/>
              <a:chExt cx="5185596" cy="3383280"/>
            </a:xfrm>
          </p:grpSpPr>
          <p:sp>
            <p:nvSpPr>
              <p:cNvPr id="105" name="Freeform 10"/>
              <p:cNvSpPr>
                <a:spLocks/>
              </p:cNvSpPr>
              <p:nvPr/>
            </p:nvSpPr>
            <p:spPr bwMode="auto">
              <a:xfrm>
                <a:off x="6076120" y="3467890"/>
                <a:ext cx="594693" cy="711356"/>
              </a:xfrm>
              <a:custGeom>
                <a:avLst/>
                <a:gdLst>
                  <a:gd name="T0" fmla="*/ 2147483646 w 504"/>
                  <a:gd name="T1" fmla="*/ 2147483646 h 656"/>
                  <a:gd name="T2" fmla="*/ 2147483646 w 504"/>
                  <a:gd name="T3" fmla="*/ 2147483646 h 656"/>
                  <a:gd name="T4" fmla="*/ 2147483646 w 504"/>
                  <a:gd name="T5" fmla="*/ 2147483646 h 656"/>
                  <a:gd name="T6" fmla="*/ 2147483646 w 504"/>
                  <a:gd name="T7" fmla="*/ 2147483646 h 656"/>
                  <a:gd name="T8" fmla="*/ 2147483646 w 504"/>
                  <a:gd name="T9" fmla="*/ 2147483646 h 656"/>
                  <a:gd name="T10" fmla="*/ 2147483646 w 504"/>
                  <a:gd name="T11" fmla="*/ 2147483646 h 656"/>
                  <a:gd name="T12" fmla="*/ 2147483646 w 504"/>
                  <a:gd name="T13" fmla="*/ 2147483646 h 656"/>
                  <a:gd name="T14" fmla="*/ 2147483646 w 504"/>
                  <a:gd name="T15" fmla="*/ 2147483646 h 656"/>
                  <a:gd name="T16" fmla="*/ 2147483646 w 504"/>
                  <a:gd name="T17" fmla="*/ 0 h 656"/>
                  <a:gd name="T18" fmla="*/ 2147483646 w 504"/>
                  <a:gd name="T19" fmla="*/ 2147483646 h 656"/>
                  <a:gd name="T20" fmla="*/ 2147483646 w 504"/>
                  <a:gd name="T21" fmla="*/ 2147483646 h 656"/>
                  <a:gd name="T22" fmla="*/ 2147483646 w 504"/>
                  <a:gd name="T23" fmla="*/ 2147483646 h 656"/>
                  <a:gd name="T24" fmla="*/ 2147483646 w 504"/>
                  <a:gd name="T25" fmla="*/ 2147483646 h 656"/>
                  <a:gd name="T26" fmla="*/ 2147483646 w 504"/>
                  <a:gd name="T27" fmla="*/ 2147483646 h 656"/>
                  <a:gd name="T28" fmla="*/ 0 w 504"/>
                  <a:gd name="T29" fmla="*/ 2147483646 h 656"/>
                  <a:gd name="T30" fmla="*/ 2147483646 w 504"/>
                  <a:gd name="T31" fmla="*/ 2147483646 h 656"/>
                  <a:gd name="T32" fmla="*/ 2147483646 w 504"/>
                  <a:gd name="T33" fmla="*/ 2147483646 h 656"/>
                  <a:gd name="T34" fmla="*/ 2147483646 w 504"/>
                  <a:gd name="T35" fmla="*/ 2147483646 h 656"/>
                  <a:gd name="T36" fmla="*/ 2147483646 w 504"/>
                  <a:gd name="T37" fmla="*/ 2147483646 h 656"/>
                  <a:gd name="T38" fmla="*/ 2147483646 w 504"/>
                  <a:gd name="T39" fmla="*/ 2147483646 h 656"/>
                  <a:gd name="T40" fmla="*/ 2147483646 w 504"/>
                  <a:gd name="T41" fmla="*/ 2147483646 h 656"/>
                  <a:gd name="T42" fmla="*/ 2147483646 w 504"/>
                  <a:gd name="T43" fmla="*/ 2147483646 h 656"/>
                  <a:gd name="T44" fmla="*/ 2147483646 w 504"/>
                  <a:gd name="T45" fmla="*/ 2147483646 h 656"/>
                  <a:gd name="T46" fmla="*/ 2147483646 w 504"/>
                  <a:gd name="T47" fmla="*/ 2147483646 h 656"/>
                  <a:gd name="T48" fmla="*/ 2147483646 w 504"/>
                  <a:gd name="T49" fmla="*/ 2147483646 h 656"/>
                  <a:gd name="T50" fmla="*/ 2147483646 w 504"/>
                  <a:gd name="T51" fmla="*/ 2147483646 h 656"/>
                  <a:gd name="T52" fmla="*/ 2147483646 w 504"/>
                  <a:gd name="T53" fmla="*/ 2147483646 h 656"/>
                  <a:gd name="T54" fmla="*/ 2147483646 w 504"/>
                  <a:gd name="T55" fmla="*/ 2147483646 h 656"/>
                  <a:gd name="T56" fmla="*/ 2147483646 w 504"/>
                  <a:gd name="T57" fmla="*/ 2147483646 h 656"/>
                  <a:gd name="T58" fmla="*/ 2147483646 w 504"/>
                  <a:gd name="T59" fmla="*/ 2147483646 h 656"/>
                  <a:gd name="T60" fmla="*/ 2147483646 w 504"/>
                  <a:gd name="T61" fmla="*/ 2147483646 h 656"/>
                  <a:gd name="T62" fmla="*/ 2147483646 w 504"/>
                  <a:gd name="T63" fmla="*/ 2147483646 h 656"/>
                  <a:gd name="T64" fmla="*/ 2147483646 w 504"/>
                  <a:gd name="T65" fmla="*/ 2147483646 h 656"/>
                  <a:gd name="T66" fmla="*/ 2147483646 w 504"/>
                  <a:gd name="T67" fmla="*/ 2147483646 h 656"/>
                  <a:gd name="T68" fmla="*/ 2147483646 w 504"/>
                  <a:gd name="T69" fmla="*/ 2147483646 h 656"/>
                  <a:gd name="T70" fmla="*/ 2147483646 w 504"/>
                  <a:gd name="T71" fmla="*/ 2147483646 h 656"/>
                  <a:gd name="T72" fmla="*/ 2147483646 w 504"/>
                  <a:gd name="T73" fmla="*/ 2147483646 h 656"/>
                  <a:gd name="T74" fmla="*/ 2147483646 w 504"/>
                  <a:gd name="T75" fmla="*/ 2147483646 h 656"/>
                  <a:gd name="T76" fmla="*/ 2147483646 w 504"/>
                  <a:gd name="T77" fmla="*/ 2147483646 h 656"/>
                  <a:gd name="T78" fmla="*/ 2147483646 w 504"/>
                  <a:gd name="T79" fmla="*/ 2147483646 h 656"/>
                  <a:gd name="T80" fmla="*/ 2147483646 w 504"/>
                  <a:gd name="T81" fmla="*/ 2147483646 h 656"/>
                  <a:gd name="T82" fmla="*/ 2147483646 w 504"/>
                  <a:gd name="T83" fmla="*/ 2147483646 h 6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4"/>
                  <a:gd name="T127" fmla="*/ 0 h 656"/>
                  <a:gd name="T128" fmla="*/ 504 w 504"/>
                  <a:gd name="T129" fmla="*/ 656 h 6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4" h="656">
                    <a:moveTo>
                      <a:pt x="432" y="88"/>
                    </a:moveTo>
                    <a:lnTo>
                      <a:pt x="392" y="96"/>
                    </a:lnTo>
                    <a:lnTo>
                      <a:pt x="360" y="72"/>
                    </a:lnTo>
                    <a:lnTo>
                      <a:pt x="344" y="120"/>
                    </a:lnTo>
                    <a:lnTo>
                      <a:pt x="304" y="80"/>
                    </a:lnTo>
                    <a:lnTo>
                      <a:pt x="296" y="24"/>
                    </a:lnTo>
                    <a:lnTo>
                      <a:pt x="256" y="64"/>
                    </a:lnTo>
                    <a:lnTo>
                      <a:pt x="240" y="8"/>
                    </a:lnTo>
                    <a:lnTo>
                      <a:pt x="200" y="0"/>
                    </a:lnTo>
                    <a:lnTo>
                      <a:pt x="200" y="48"/>
                    </a:lnTo>
                    <a:lnTo>
                      <a:pt x="136" y="80"/>
                    </a:lnTo>
                    <a:lnTo>
                      <a:pt x="96" y="40"/>
                    </a:lnTo>
                    <a:lnTo>
                      <a:pt x="64" y="72"/>
                    </a:lnTo>
                    <a:lnTo>
                      <a:pt x="8" y="80"/>
                    </a:lnTo>
                    <a:lnTo>
                      <a:pt x="0" y="112"/>
                    </a:lnTo>
                    <a:lnTo>
                      <a:pt x="8" y="152"/>
                    </a:lnTo>
                    <a:lnTo>
                      <a:pt x="48" y="184"/>
                    </a:lnTo>
                    <a:lnTo>
                      <a:pt x="40" y="256"/>
                    </a:lnTo>
                    <a:lnTo>
                      <a:pt x="120" y="376"/>
                    </a:lnTo>
                    <a:lnTo>
                      <a:pt x="128" y="416"/>
                    </a:lnTo>
                    <a:lnTo>
                      <a:pt x="160" y="464"/>
                    </a:lnTo>
                    <a:lnTo>
                      <a:pt x="160" y="544"/>
                    </a:lnTo>
                    <a:lnTo>
                      <a:pt x="160" y="584"/>
                    </a:lnTo>
                    <a:lnTo>
                      <a:pt x="184" y="592"/>
                    </a:lnTo>
                    <a:lnTo>
                      <a:pt x="184" y="656"/>
                    </a:lnTo>
                    <a:lnTo>
                      <a:pt x="232" y="624"/>
                    </a:lnTo>
                    <a:lnTo>
                      <a:pt x="240" y="576"/>
                    </a:lnTo>
                    <a:lnTo>
                      <a:pt x="312" y="568"/>
                    </a:lnTo>
                    <a:lnTo>
                      <a:pt x="344" y="536"/>
                    </a:lnTo>
                    <a:lnTo>
                      <a:pt x="376" y="568"/>
                    </a:lnTo>
                    <a:lnTo>
                      <a:pt x="456" y="576"/>
                    </a:lnTo>
                    <a:lnTo>
                      <a:pt x="464" y="528"/>
                    </a:lnTo>
                    <a:lnTo>
                      <a:pt x="432" y="496"/>
                    </a:lnTo>
                    <a:lnTo>
                      <a:pt x="456" y="464"/>
                    </a:lnTo>
                    <a:lnTo>
                      <a:pt x="480" y="440"/>
                    </a:lnTo>
                    <a:lnTo>
                      <a:pt x="472" y="416"/>
                    </a:lnTo>
                    <a:lnTo>
                      <a:pt x="504" y="344"/>
                    </a:lnTo>
                    <a:lnTo>
                      <a:pt x="472" y="312"/>
                    </a:lnTo>
                    <a:lnTo>
                      <a:pt x="496" y="248"/>
                    </a:lnTo>
                    <a:lnTo>
                      <a:pt x="488" y="208"/>
                    </a:lnTo>
                    <a:lnTo>
                      <a:pt x="456" y="152"/>
                    </a:lnTo>
                    <a:lnTo>
                      <a:pt x="432" y="88"/>
                    </a:lnTo>
                    <a:close/>
                  </a:path>
                </a:pathLst>
              </a:custGeom>
              <a:solidFill>
                <a:srgbClr val="9950A8"/>
              </a:solidFill>
              <a:ln w="9525">
                <a:solidFill>
                  <a:schemeClr val="bg1"/>
                </a:solidFill>
                <a:round/>
                <a:headEnd/>
                <a:tailEnd/>
              </a:ln>
            </p:spPr>
            <p:txBody>
              <a:bodyPr/>
              <a:lstStyle/>
              <a:p>
                <a:endParaRPr lang="en-US" sz="1050"/>
              </a:p>
            </p:txBody>
          </p:sp>
          <p:sp>
            <p:nvSpPr>
              <p:cNvPr id="106" name="Freeform 4"/>
              <p:cNvSpPr>
                <a:spLocks/>
              </p:cNvSpPr>
              <p:nvPr/>
            </p:nvSpPr>
            <p:spPr bwMode="auto">
              <a:xfrm>
                <a:off x="5476206" y="2557007"/>
                <a:ext cx="678842" cy="581230"/>
              </a:xfrm>
              <a:custGeom>
                <a:avLst/>
                <a:gdLst>
                  <a:gd name="T0" fmla="*/ 0 w 576"/>
                  <a:gd name="T1" fmla="*/ 2147483646 h 536"/>
                  <a:gd name="T2" fmla="*/ 2147483646 w 576"/>
                  <a:gd name="T3" fmla="*/ 2147483646 h 536"/>
                  <a:gd name="T4" fmla="*/ 2147483646 w 576"/>
                  <a:gd name="T5" fmla="*/ 2147483646 h 536"/>
                  <a:gd name="T6" fmla="*/ 2147483646 w 576"/>
                  <a:gd name="T7" fmla="*/ 2147483646 h 536"/>
                  <a:gd name="T8" fmla="*/ 2147483646 w 576"/>
                  <a:gd name="T9" fmla="*/ 2147483646 h 536"/>
                  <a:gd name="T10" fmla="*/ 2147483646 w 576"/>
                  <a:gd name="T11" fmla="*/ 2147483646 h 536"/>
                  <a:gd name="T12" fmla="*/ 2147483646 w 576"/>
                  <a:gd name="T13" fmla="*/ 2147483646 h 536"/>
                  <a:gd name="T14" fmla="*/ 2147483646 w 576"/>
                  <a:gd name="T15" fmla="*/ 0 h 536"/>
                  <a:gd name="T16" fmla="*/ 2147483646 w 576"/>
                  <a:gd name="T17" fmla="*/ 2147483646 h 536"/>
                  <a:gd name="T18" fmla="*/ 2147483646 w 576"/>
                  <a:gd name="T19" fmla="*/ 2147483646 h 536"/>
                  <a:gd name="T20" fmla="*/ 2147483646 w 576"/>
                  <a:gd name="T21" fmla="*/ 2147483646 h 536"/>
                  <a:gd name="T22" fmla="*/ 2147483646 w 576"/>
                  <a:gd name="T23" fmla="*/ 2147483646 h 536"/>
                  <a:gd name="T24" fmla="*/ 2147483646 w 576"/>
                  <a:gd name="T25" fmla="*/ 2147483646 h 536"/>
                  <a:gd name="T26" fmla="*/ 2147483646 w 576"/>
                  <a:gd name="T27" fmla="*/ 2147483646 h 536"/>
                  <a:gd name="T28" fmla="*/ 2147483646 w 576"/>
                  <a:gd name="T29" fmla="*/ 2147483646 h 536"/>
                  <a:gd name="T30" fmla="*/ 2147483646 w 576"/>
                  <a:gd name="T31" fmla="*/ 2147483646 h 536"/>
                  <a:gd name="T32" fmla="*/ 2147483646 w 576"/>
                  <a:gd name="T33" fmla="*/ 2147483646 h 536"/>
                  <a:gd name="T34" fmla="*/ 2147483646 w 576"/>
                  <a:gd name="T35" fmla="*/ 2147483646 h 536"/>
                  <a:gd name="T36" fmla="*/ 2147483646 w 576"/>
                  <a:gd name="T37" fmla="*/ 2147483646 h 536"/>
                  <a:gd name="T38" fmla="*/ 2147483646 w 576"/>
                  <a:gd name="T39" fmla="*/ 2147483646 h 536"/>
                  <a:gd name="T40" fmla="*/ 2147483646 w 576"/>
                  <a:gd name="T41" fmla="*/ 2147483646 h 536"/>
                  <a:gd name="T42" fmla="*/ 2147483646 w 576"/>
                  <a:gd name="T43" fmla="*/ 2147483646 h 536"/>
                  <a:gd name="T44" fmla="*/ 2147483646 w 576"/>
                  <a:gd name="T45" fmla="*/ 2147483646 h 536"/>
                  <a:gd name="T46" fmla="*/ 2147483646 w 576"/>
                  <a:gd name="T47" fmla="*/ 2147483646 h 536"/>
                  <a:gd name="T48" fmla="*/ 2147483646 w 576"/>
                  <a:gd name="T49" fmla="*/ 2147483646 h 536"/>
                  <a:gd name="T50" fmla="*/ 2147483646 w 576"/>
                  <a:gd name="T51" fmla="*/ 2147483646 h 536"/>
                  <a:gd name="T52" fmla="*/ 2147483646 w 576"/>
                  <a:gd name="T53" fmla="*/ 2147483646 h 536"/>
                  <a:gd name="T54" fmla="*/ 2147483646 w 576"/>
                  <a:gd name="T55" fmla="*/ 2147483646 h 536"/>
                  <a:gd name="T56" fmla="*/ 2147483646 w 576"/>
                  <a:gd name="T57" fmla="*/ 2147483646 h 536"/>
                  <a:gd name="T58" fmla="*/ 2147483646 w 576"/>
                  <a:gd name="T59" fmla="*/ 2147483646 h 536"/>
                  <a:gd name="T60" fmla="*/ 2147483646 w 576"/>
                  <a:gd name="T61" fmla="*/ 2147483646 h 536"/>
                  <a:gd name="T62" fmla="*/ 2147483646 w 576"/>
                  <a:gd name="T63" fmla="*/ 2147483646 h 536"/>
                  <a:gd name="T64" fmla="*/ 2147483646 w 576"/>
                  <a:gd name="T65" fmla="*/ 2147483646 h 536"/>
                  <a:gd name="T66" fmla="*/ 2147483646 w 576"/>
                  <a:gd name="T67" fmla="*/ 2147483646 h 536"/>
                  <a:gd name="T68" fmla="*/ 2147483646 w 576"/>
                  <a:gd name="T69" fmla="*/ 2147483646 h 536"/>
                  <a:gd name="T70" fmla="*/ 2147483646 w 576"/>
                  <a:gd name="T71" fmla="*/ 2147483646 h 536"/>
                  <a:gd name="T72" fmla="*/ 2147483646 w 576"/>
                  <a:gd name="T73" fmla="*/ 2147483646 h 536"/>
                  <a:gd name="T74" fmla="*/ 2147483646 w 576"/>
                  <a:gd name="T75" fmla="*/ 2147483646 h 536"/>
                  <a:gd name="T76" fmla="*/ 0 w 576"/>
                  <a:gd name="T77" fmla="*/ 2147483646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6"/>
                  <a:gd name="T118" fmla="*/ 0 h 536"/>
                  <a:gd name="T119" fmla="*/ 576 w 576"/>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6" h="536">
                    <a:moveTo>
                      <a:pt x="0" y="192"/>
                    </a:moveTo>
                    <a:lnTo>
                      <a:pt x="48" y="168"/>
                    </a:lnTo>
                    <a:lnTo>
                      <a:pt x="72" y="128"/>
                    </a:lnTo>
                    <a:lnTo>
                      <a:pt x="96" y="64"/>
                    </a:lnTo>
                    <a:lnTo>
                      <a:pt x="96" y="40"/>
                    </a:lnTo>
                    <a:lnTo>
                      <a:pt x="184" y="32"/>
                    </a:lnTo>
                    <a:lnTo>
                      <a:pt x="200" y="32"/>
                    </a:lnTo>
                    <a:lnTo>
                      <a:pt x="256" y="0"/>
                    </a:lnTo>
                    <a:lnTo>
                      <a:pt x="344" y="16"/>
                    </a:lnTo>
                    <a:lnTo>
                      <a:pt x="360" y="48"/>
                    </a:lnTo>
                    <a:lnTo>
                      <a:pt x="392" y="32"/>
                    </a:lnTo>
                    <a:lnTo>
                      <a:pt x="392" y="80"/>
                    </a:lnTo>
                    <a:lnTo>
                      <a:pt x="424" y="72"/>
                    </a:lnTo>
                    <a:lnTo>
                      <a:pt x="424" y="112"/>
                    </a:lnTo>
                    <a:lnTo>
                      <a:pt x="472" y="184"/>
                    </a:lnTo>
                    <a:lnTo>
                      <a:pt x="472" y="232"/>
                    </a:lnTo>
                    <a:lnTo>
                      <a:pt x="496" y="248"/>
                    </a:lnTo>
                    <a:lnTo>
                      <a:pt x="520" y="280"/>
                    </a:lnTo>
                    <a:lnTo>
                      <a:pt x="536" y="344"/>
                    </a:lnTo>
                    <a:lnTo>
                      <a:pt x="536" y="384"/>
                    </a:lnTo>
                    <a:lnTo>
                      <a:pt x="576" y="424"/>
                    </a:lnTo>
                    <a:lnTo>
                      <a:pt x="504" y="464"/>
                    </a:lnTo>
                    <a:lnTo>
                      <a:pt x="456" y="456"/>
                    </a:lnTo>
                    <a:lnTo>
                      <a:pt x="432" y="512"/>
                    </a:lnTo>
                    <a:lnTo>
                      <a:pt x="400" y="488"/>
                    </a:lnTo>
                    <a:lnTo>
                      <a:pt x="304" y="488"/>
                    </a:lnTo>
                    <a:lnTo>
                      <a:pt x="328" y="512"/>
                    </a:lnTo>
                    <a:lnTo>
                      <a:pt x="280" y="512"/>
                    </a:lnTo>
                    <a:lnTo>
                      <a:pt x="224" y="536"/>
                    </a:lnTo>
                    <a:lnTo>
                      <a:pt x="208" y="504"/>
                    </a:lnTo>
                    <a:lnTo>
                      <a:pt x="240" y="472"/>
                    </a:lnTo>
                    <a:lnTo>
                      <a:pt x="184" y="376"/>
                    </a:lnTo>
                    <a:lnTo>
                      <a:pt x="184" y="328"/>
                    </a:lnTo>
                    <a:lnTo>
                      <a:pt x="136" y="288"/>
                    </a:lnTo>
                    <a:lnTo>
                      <a:pt x="120" y="312"/>
                    </a:lnTo>
                    <a:lnTo>
                      <a:pt x="64" y="240"/>
                    </a:lnTo>
                    <a:lnTo>
                      <a:pt x="40" y="248"/>
                    </a:lnTo>
                    <a:lnTo>
                      <a:pt x="8" y="216"/>
                    </a:lnTo>
                    <a:lnTo>
                      <a:pt x="0" y="192"/>
                    </a:lnTo>
                    <a:close/>
                  </a:path>
                </a:pathLst>
              </a:custGeom>
              <a:solidFill>
                <a:srgbClr val="9950A8"/>
              </a:solidFill>
              <a:ln w="9525">
                <a:solidFill>
                  <a:schemeClr val="bg1"/>
                </a:solidFill>
                <a:round/>
                <a:headEnd/>
                <a:tailEnd/>
              </a:ln>
            </p:spPr>
            <p:txBody>
              <a:bodyPr/>
              <a:lstStyle/>
              <a:p>
                <a:endParaRPr lang="en-US" sz="1050"/>
              </a:p>
            </p:txBody>
          </p:sp>
          <p:sp>
            <p:nvSpPr>
              <p:cNvPr id="107" name="Freeform 5"/>
              <p:cNvSpPr>
                <a:spLocks/>
              </p:cNvSpPr>
              <p:nvPr/>
            </p:nvSpPr>
            <p:spPr bwMode="auto">
              <a:xfrm>
                <a:off x="5721343" y="3016786"/>
                <a:ext cx="857981" cy="581230"/>
              </a:xfrm>
              <a:custGeom>
                <a:avLst/>
                <a:gdLst>
                  <a:gd name="T0" fmla="*/ 2147483646 w 728"/>
                  <a:gd name="T1" fmla="*/ 0 h 536"/>
                  <a:gd name="T2" fmla="*/ 2147483646 w 728"/>
                  <a:gd name="T3" fmla="*/ 2147483646 h 536"/>
                  <a:gd name="T4" fmla="*/ 2147483646 w 728"/>
                  <a:gd name="T5" fmla="*/ 2147483646 h 536"/>
                  <a:gd name="T6" fmla="*/ 2147483646 w 728"/>
                  <a:gd name="T7" fmla="*/ 2147483646 h 536"/>
                  <a:gd name="T8" fmla="*/ 2147483646 w 728"/>
                  <a:gd name="T9" fmla="*/ 2147483646 h 536"/>
                  <a:gd name="T10" fmla="*/ 2147483646 w 728"/>
                  <a:gd name="T11" fmla="*/ 2147483646 h 536"/>
                  <a:gd name="T12" fmla="*/ 2147483646 w 728"/>
                  <a:gd name="T13" fmla="*/ 2147483646 h 536"/>
                  <a:gd name="T14" fmla="*/ 2147483646 w 728"/>
                  <a:gd name="T15" fmla="*/ 2147483646 h 536"/>
                  <a:gd name="T16" fmla="*/ 2147483646 w 728"/>
                  <a:gd name="T17" fmla="*/ 2147483646 h 536"/>
                  <a:gd name="T18" fmla="*/ 2147483646 w 728"/>
                  <a:gd name="T19" fmla="*/ 2147483646 h 536"/>
                  <a:gd name="T20" fmla="*/ 2147483646 w 728"/>
                  <a:gd name="T21" fmla="*/ 2147483646 h 536"/>
                  <a:gd name="T22" fmla="*/ 0 w 728"/>
                  <a:gd name="T23" fmla="*/ 2147483646 h 536"/>
                  <a:gd name="T24" fmla="*/ 2147483646 w 728"/>
                  <a:gd name="T25" fmla="*/ 2147483646 h 536"/>
                  <a:gd name="T26" fmla="*/ 2147483646 w 728"/>
                  <a:gd name="T27" fmla="*/ 2147483646 h 536"/>
                  <a:gd name="T28" fmla="*/ 2147483646 w 728"/>
                  <a:gd name="T29" fmla="*/ 2147483646 h 536"/>
                  <a:gd name="T30" fmla="*/ 2147483646 w 728"/>
                  <a:gd name="T31" fmla="*/ 2147483646 h 536"/>
                  <a:gd name="T32" fmla="*/ 2147483646 w 728"/>
                  <a:gd name="T33" fmla="*/ 2147483646 h 536"/>
                  <a:gd name="T34" fmla="*/ 2147483646 w 728"/>
                  <a:gd name="T35" fmla="*/ 2147483646 h 536"/>
                  <a:gd name="T36" fmla="*/ 2147483646 w 728"/>
                  <a:gd name="T37" fmla="*/ 2147483646 h 536"/>
                  <a:gd name="T38" fmla="*/ 2147483646 w 728"/>
                  <a:gd name="T39" fmla="*/ 2147483646 h 536"/>
                  <a:gd name="T40" fmla="*/ 2147483646 w 728"/>
                  <a:gd name="T41" fmla="*/ 2147483646 h 536"/>
                  <a:gd name="T42" fmla="*/ 2147483646 w 728"/>
                  <a:gd name="T43" fmla="*/ 2147483646 h 536"/>
                  <a:gd name="T44" fmla="*/ 2147483646 w 728"/>
                  <a:gd name="T45" fmla="*/ 2147483646 h 536"/>
                  <a:gd name="T46" fmla="*/ 2147483646 w 728"/>
                  <a:gd name="T47" fmla="*/ 2147483646 h 536"/>
                  <a:gd name="T48" fmla="*/ 2147483646 w 728"/>
                  <a:gd name="T49" fmla="*/ 2147483646 h 536"/>
                  <a:gd name="T50" fmla="*/ 2147483646 w 728"/>
                  <a:gd name="T51" fmla="*/ 2147483646 h 536"/>
                  <a:gd name="T52" fmla="*/ 2147483646 w 728"/>
                  <a:gd name="T53" fmla="*/ 2147483646 h 536"/>
                  <a:gd name="T54" fmla="*/ 2147483646 w 728"/>
                  <a:gd name="T55" fmla="*/ 2147483646 h 536"/>
                  <a:gd name="T56" fmla="*/ 2147483646 w 728"/>
                  <a:gd name="T57" fmla="*/ 2147483646 h 536"/>
                  <a:gd name="T58" fmla="*/ 2147483646 w 728"/>
                  <a:gd name="T59" fmla="*/ 2147483646 h 536"/>
                  <a:gd name="T60" fmla="*/ 2147483646 w 728"/>
                  <a:gd name="T61" fmla="*/ 2147483646 h 536"/>
                  <a:gd name="T62" fmla="*/ 2147483646 w 728"/>
                  <a:gd name="T63" fmla="*/ 2147483646 h 536"/>
                  <a:gd name="T64" fmla="*/ 2147483646 w 728"/>
                  <a:gd name="T65" fmla="*/ 2147483646 h 536"/>
                  <a:gd name="T66" fmla="*/ 2147483646 w 728"/>
                  <a:gd name="T67" fmla="*/ 2147483646 h 536"/>
                  <a:gd name="T68" fmla="*/ 2147483646 w 728"/>
                  <a:gd name="T69" fmla="*/ 2147483646 h 536"/>
                  <a:gd name="T70" fmla="*/ 2147483646 w 728"/>
                  <a:gd name="T71" fmla="*/ 2147483646 h 536"/>
                  <a:gd name="T72" fmla="*/ 2147483646 w 728"/>
                  <a:gd name="T73" fmla="*/ 2147483646 h 536"/>
                  <a:gd name="T74" fmla="*/ 2147483646 w 728"/>
                  <a:gd name="T75" fmla="*/ 2147483646 h 536"/>
                  <a:gd name="T76" fmla="*/ 2147483646 w 728"/>
                  <a:gd name="T77" fmla="*/ 2147483646 h 536"/>
                  <a:gd name="T78" fmla="*/ 2147483646 w 728"/>
                  <a:gd name="T79" fmla="*/ 2147483646 h 536"/>
                  <a:gd name="T80" fmla="*/ 2147483646 w 728"/>
                  <a:gd name="T81" fmla="*/ 2147483646 h 536"/>
                  <a:gd name="T82" fmla="*/ 2147483646 w 728"/>
                  <a:gd name="T83" fmla="*/ 2147483646 h 536"/>
                  <a:gd name="T84" fmla="*/ 2147483646 w 728"/>
                  <a:gd name="T85" fmla="*/ 2147483646 h 536"/>
                  <a:gd name="T86" fmla="*/ 2147483646 w 728"/>
                  <a:gd name="T87" fmla="*/ 2147483646 h 536"/>
                  <a:gd name="T88" fmla="*/ 2147483646 w 728"/>
                  <a:gd name="T89" fmla="*/ 2147483646 h 536"/>
                  <a:gd name="T90" fmla="*/ 2147483646 w 728"/>
                  <a:gd name="T91" fmla="*/ 2147483646 h 536"/>
                  <a:gd name="T92" fmla="*/ 2147483646 w 728"/>
                  <a:gd name="T93" fmla="*/ 2147483646 h 536"/>
                  <a:gd name="T94" fmla="*/ 2147483646 w 728"/>
                  <a:gd name="T95" fmla="*/ 0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8"/>
                  <a:gd name="T145" fmla="*/ 0 h 536"/>
                  <a:gd name="T146" fmla="*/ 728 w 728"/>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8" h="536">
                    <a:moveTo>
                      <a:pt x="368" y="0"/>
                    </a:moveTo>
                    <a:lnTo>
                      <a:pt x="296" y="40"/>
                    </a:lnTo>
                    <a:lnTo>
                      <a:pt x="248" y="32"/>
                    </a:lnTo>
                    <a:lnTo>
                      <a:pt x="224" y="88"/>
                    </a:lnTo>
                    <a:lnTo>
                      <a:pt x="192" y="64"/>
                    </a:lnTo>
                    <a:lnTo>
                      <a:pt x="96" y="64"/>
                    </a:lnTo>
                    <a:lnTo>
                      <a:pt x="120" y="88"/>
                    </a:lnTo>
                    <a:lnTo>
                      <a:pt x="72" y="88"/>
                    </a:lnTo>
                    <a:lnTo>
                      <a:pt x="80" y="152"/>
                    </a:lnTo>
                    <a:lnTo>
                      <a:pt x="48" y="144"/>
                    </a:lnTo>
                    <a:lnTo>
                      <a:pt x="48" y="176"/>
                    </a:lnTo>
                    <a:lnTo>
                      <a:pt x="0" y="160"/>
                    </a:lnTo>
                    <a:lnTo>
                      <a:pt x="16" y="240"/>
                    </a:lnTo>
                    <a:lnTo>
                      <a:pt x="48" y="312"/>
                    </a:lnTo>
                    <a:lnTo>
                      <a:pt x="80" y="352"/>
                    </a:lnTo>
                    <a:lnTo>
                      <a:pt x="128" y="352"/>
                    </a:lnTo>
                    <a:lnTo>
                      <a:pt x="152" y="392"/>
                    </a:lnTo>
                    <a:lnTo>
                      <a:pt x="216" y="384"/>
                    </a:lnTo>
                    <a:lnTo>
                      <a:pt x="272" y="344"/>
                    </a:lnTo>
                    <a:lnTo>
                      <a:pt x="296" y="392"/>
                    </a:lnTo>
                    <a:lnTo>
                      <a:pt x="248" y="424"/>
                    </a:lnTo>
                    <a:lnTo>
                      <a:pt x="304" y="496"/>
                    </a:lnTo>
                    <a:lnTo>
                      <a:pt x="360" y="488"/>
                    </a:lnTo>
                    <a:lnTo>
                      <a:pt x="392" y="456"/>
                    </a:lnTo>
                    <a:lnTo>
                      <a:pt x="432" y="496"/>
                    </a:lnTo>
                    <a:lnTo>
                      <a:pt x="496" y="464"/>
                    </a:lnTo>
                    <a:lnTo>
                      <a:pt x="496" y="416"/>
                    </a:lnTo>
                    <a:lnTo>
                      <a:pt x="536" y="424"/>
                    </a:lnTo>
                    <a:lnTo>
                      <a:pt x="552" y="480"/>
                    </a:lnTo>
                    <a:lnTo>
                      <a:pt x="592" y="440"/>
                    </a:lnTo>
                    <a:lnTo>
                      <a:pt x="600" y="496"/>
                    </a:lnTo>
                    <a:lnTo>
                      <a:pt x="640" y="536"/>
                    </a:lnTo>
                    <a:lnTo>
                      <a:pt x="656" y="488"/>
                    </a:lnTo>
                    <a:lnTo>
                      <a:pt x="688" y="512"/>
                    </a:lnTo>
                    <a:lnTo>
                      <a:pt x="728" y="504"/>
                    </a:lnTo>
                    <a:lnTo>
                      <a:pt x="704" y="400"/>
                    </a:lnTo>
                    <a:lnTo>
                      <a:pt x="656" y="376"/>
                    </a:lnTo>
                    <a:lnTo>
                      <a:pt x="616" y="352"/>
                    </a:lnTo>
                    <a:lnTo>
                      <a:pt x="600" y="320"/>
                    </a:lnTo>
                    <a:lnTo>
                      <a:pt x="560" y="312"/>
                    </a:lnTo>
                    <a:lnTo>
                      <a:pt x="560" y="256"/>
                    </a:lnTo>
                    <a:lnTo>
                      <a:pt x="528" y="208"/>
                    </a:lnTo>
                    <a:lnTo>
                      <a:pt x="480" y="208"/>
                    </a:lnTo>
                    <a:lnTo>
                      <a:pt x="464" y="160"/>
                    </a:lnTo>
                    <a:lnTo>
                      <a:pt x="464" y="96"/>
                    </a:lnTo>
                    <a:lnTo>
                      <a:pt x="424" y="88"/>
                    </a:lnTo>
                    <a:lnTo>
                      <a:pt x="400" y="48"/>
                    </a:lnTo>
                    <a:lnTo>
                      <a:pt x="368" y="0"/>
                    </a:lnTo>
                    <a:close/>
                  </a:path>
                </a:pathLst>
              </a:custGeom>
              <a:solidFill>
                <a:srgbClr val="C6CFEB"/>
              </a:solidFill>
              <a:ln w="9525">
                <a:solidFill>
                  <a:schemeClr val="bg1"/>
                </a:solidFill>
                <a:round/>
                <a:headEnd/>
                <a:tailEnd/>
              </a:ln>
            </p:spPr>
            <p:txBody>
              <a:bodyPr/>
              <a:lstStyle/>
              <a:p>
                <a:endParaRPr lang="en-US" sz="1050"/>
              </a:p>
            </p:txBody>
          </p:sp>
          <p:sp>
            <p:nvSpPr>
              <p:cNvPr id="108" name="Freeform 7"/>
              <p:cNvSpPr>
                <a:spLocks/>
              </p:cNvSpPr>
              <p:nvPr/>
            </p:nvSpPr>
            <p:spPr bwMode="auto">
              <a:xfrm>
                <a:off x="5268782" y="3207638"/>
                <a:ext cx="810839" cy="555205"/>
              </a:xfrm>
              <a:custGeom>
                <a:avLst/>
                <a:gdLst>
                  <a:gd name="T0" fmla="*/ 2147483646 w 688"/>
                  <a:gd name="T1" fmla="*/ 2147483646 h 512"/>
                  <a:gd name="T2" fmla="*/ 2147483646 w 688"/>
                  <a:gd name="T3" fmla="*/ 2147483646 h 512"/>
                  <a:gd name="T4" fmla="*/ 2147483646 w 688"/>
                  <a:gd name="T5" fmla="*/ 2147483646 h 512"/>
                  <a:gd name="T6" fmla="*/ 2147483646 w 688"/>
                  <a:gd name="T7" fmla="*/ 2147483646 h 512"/>
                  <a:gd name="T8" fmla="*/ 2147483646 w 688"/>
                  <a:gd name="T9" fmla="*/ 2147483646 h 512"/>
                  <a:gd name="T10" fmla="*/ 2147483646 w 688"/>
                  <a:gd name="T11" fmla="*/ 2147483646 h 512"/>
                  <a:gd name="T12" fmla="*/ 2147483646 w 688"/>
                  <a:gd name="T13" fmla="*/ 2147483646 h 512"/>
                  <a:gd name="T14" fmla="*/ 2147483646 w 688"/>
                  <a:gd name="T15" fmla="*/ 2147483646 h 512"/>
                  <a:gd name="T16" fmla="*/ 2147483646 w 688"/>
                  <a:gd name="T17" fmla="*/ 2147483646 h 512"/>
                  <a:gd name="T18" fmla="*/ 2147483646 w 688"/>
                  <a:gd name="T19" fmla="*/ 2147483646 h 512"/>
                  <a:gd name="T20" fmla="*/ 2147483646 w 688"/>
                  <a:gd name="T21" fmla="*/ 2147483646 h 512"/>
                  <a:gd name="T22" fmla="*/ 2147483646 w 688"/>
                  <a:gd name="T23" fmla="*/ 2147483646 h 512"/>
                  <a:gd name="T24" fmla="*/ 2147483646 w 688"/>
                  <a:gd name="T25" fmla="*/ 2147483646 h 512"/>
                  <a:gd name="T26" fmla="*/ 2147483646 w 688"/>
                  <a:gd name="T27" fmla="*/ 2147483646 h 512"/>
                  <a:gd name="T28" fmla="*/ 2147483646 w 688"/>
                  <a:gd name="T29" fmla="*/ 0 h 512"/>
                  <a:gd name="T30" fmla="*/ 2147483646 w 688"/>
                  <a:gd name="T31" fmla="*/ 2147483646 h 512"/>
                  <a:gd name="T32" fmla="*/ 2147483646 w 688"/>
                  <a:gd name="T33" fmla="*/ 2147483646 h 512"/>
                  <a:gd name="T34" fmla="*/ 0 w 688"/>
                  <a:gd name="T35" fmla="*/ 2147483646 h 512"/>
                  <a:gd name="T36" fmla="*/ 2147483646 w 688"/>
                  <a:gd name="T37" fmla="*/ 2147483646 h 512"/>
                  <a:gd name="T38" fmla="*/ 2147483646 w 688"/>
                  <a:gd name="T39" fmla="*/ 2147483646 h 512"/>
                  <a:gd name="T40" fmla="*/ 2147483646 w 688"/>
                  <a:gd name="T41" fmla="*/ 2147483646 h 512"/>
                  <a:gd name="T42" fmla="*/ 2147483646 w 688"/>
                  <a:gd name="T43" fmla="*/ 2147483646 h 512"/>
                  <a:gd name="T44" fmla="*/ 2147483646 w 688"/>
                  <a:gd name="T45" fmla="*/ 2147483646 h 512"/>
                  <a:gd name="T46" fmla="*/ 2147483646 w 688"/>
                  <a:gd name="T47" fmla="*/ 2147483646 h 512"/>
                  <a:gd name="T48" fmla="*/ 2147483646 w 688"/>
                  <a:gd name="T49" fmla="*/ 2147483646 h 512"/>
                  <a:gd name="T50" fmla="*/ 2147483646 w 688"/>
                  <a:gd name="T51" fmla="*/ 2147483646 h 512"/>
                  <a:gd name="T52" fmla="*/ 2147483646 w 688"/>
                  <a:gd name="T53" fmla="*/ 2147483646 h 512"/>
                  <a:gd name="T54" fmla="*/ 2147483646 w 688"/>
                  <a:gd name="T55" fmla="*/ 2147483646 h 512"/>
                  <a:gd name="T56" fmla="*/ 2147483646 w 688"/>
                  <a:gd name="T57" fmla="*/ 2147483646 h 512"/>
                  <a:gd name="T58" fmla="*/ 2147483646 w 688"/>
                  <a:gd name="T59" fmla="*/ 2147483646 h 512"/>
                  <a:gd name="T60" fmla="*/ 2147483646 w 688"/>
                  <a:gd name="T61" fmla="*/ 2147483646 h 512"/>
                  <a:gd name="T62" fmla="*/ 2147483646 w 688"/>
                  <a:gd name="T63" fmla="*/ 2147483646 h 512"/>
                  <a:gd name="T64" fmla="*/ 2147483646 w 688"/>
                  <a:gd name="T65" fmla="*/ 2147483646 h 512"/>
                  <a:gd name="T66" fmla="*/ 2147483646 w 688"/>
                  <a:gd name="T67" fmla="*/ 2147483646 h 512"/>
                  <a:gd name="T68" fmla="*/ 2147483646 w 688"/>
                  <a:gd name="T69" fmla="*/ 2147483646 h 512"/>
                  <a:gd name="T70" fmla="*/ 2147483646 w 688"/>
                  <a:gd name="T71" fmla="*/ 2147483646 h 512"/>
                  <a:gd name="T72" fmla="*/ 2147483646 w 688"/>
                  <a:gd name="T73" fmla="*/ 2147483646 h 512"/>
                  <a:gd name="T74" fmla="*/ 2147483646 w 688"/>
                  <a:gd name="T75" fmla="*/ 2147483646 h 512"/>
                  <a:gd name="T76" fmla="*/ 2147483646 w 688"/>
                  <a:gd name="T77" fmla="*/ 2147483646 h 512"/>
                  <a:gd name="T78" fmla="*/ 2147483646 w 688"/>
                  <a:gd name="T79" fmla="*/ 2147483646 h 512"/>
                  <a:gd name="T80" fmla="*/ 2147483646 w 688"/>
                  <a:gd name="T81" fmla="*/ 2147483646 h 512"/>
                  <a:gd name="T82" fmla="*/ 2147483646 w 688"/>
                  <a:gd name="T83" fmla="*/ 2147483646 h 512"/>
                  <a:gd name="T84" fmla="*/ 2147483646 w 688"/>
                  <a:gd name="T85" fmla="*/ 2147483646 h 5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8"/>
                  <a:gd name="T130" fmla="*/ 0 h 512"/>
                  <a:gd name="T131" fmla="*/ 688 w 688"/>
                  <a:gd name="T132" fmla="*/ 512 h 5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8" h="512">
                    <a:moveTo>
                      <a:pt x="688" y="320"/>
                    </a:moveTo>
                    <a:lnTo>
                      <a:pt x="632" y="248"/>
                    </a:lnTo>
                    <a:lnTo>
                      <a:pt x="680" y="216"/>
                    </a:lnTo>
                    <a:lnTo>
                      <a:pt x="656" y="168"/>
                    </a:lnTo>
                    <a:lnTo>
                      <a:pt x="600" y="208"/>
                    </a:lnTo>
                    <a:lnTo>
                      <a:pt x="536" y="216"/>
                    </a:lnTo>
                    <a:lnTo>
                      <a:pt x="512" y="176"/>
                    </a:lnTo>
                    <a:lnTo>
                      <a:pt x="464" y="176"/>
                    </a:lnTo>
                    <a:lnTo>
                      <a:pt x="432" y="136"/>
                    </a:lnTo>
                    <a:lnTo>
                      <a:pt x="400" y="64"/>
                    </a:lnTo>
                    <a:lnTo>
                      <a:pt x="336" y="8"/>
                    </a:lnTo>
                    <a:lnTo>
                      <a:pt x="216" y="8"/>
                    </a:lnTo>
                    <a:lnTo>
                      <a:pt x="152" y="16"/>
                    </a:lnTo>
                    <a:lnTo>
                      <a:pt x="104" y="40"/>
                    </a:lnTo>
                    <a:lnTo>
                      <a:pt x="48" y="0"/>
                    </a:lnTo>
                    <a:lnTo>
                      <a:pt x="64" y="64"/>
                    </a:lnTo>
                    <a:lnTo>
                      <a:pt x="8" y="112"/>
                    </a:lnTo>
                    <a:lnTo>
                      <a:pt x="0" y="168"/>
                    </a:lnTo>
                    <a:lnTo>
                      <a:pt x="32" y="192"/>
                    </a:lnTo>
                    <a:lnTo>
                      <a:pt x="40" y="256"/>
                    </a:lnTo>
                    <a:lnTo>
                      <a:pt x="72" y="256"/>
                    </a:lnTo>
                    <a:lnTo>
                      <a:pt x="80" y="304"/>
                    </a:lnTo>
                    <a:lnTo>
                      <a:pt x="48" y="280"/>
                    </a:lnTo>
                    <a:lnTo>
                      <a:pt x="40" y="336"/>
                    </a:lnTo>
                    <a:lnTo>
                      <a:pt x="64" y="344"/>
                    </a:lnTo>
                    <a:lnTo>
                      <a:pt x="64" y="456"/>
                    </a:lnTo>
                    <a:lnTo>
                      <a:pt x="96" y="512"/>
                    </a:lnTo>
                    <a:lnTo>
                      <a:pt x="120" y="480"/>
                    </a:lnTo>
                    <a:lnTo>
                      <a:pt x="144" y="480"/>
                    </a:lnTo>
                    <a:lnTo>
                      <a:pt x="168" y="456"/>
                    </a:lnTo>
                    <a:lnTo>
                      <a:pt x="200" y="480"/>
                    </a:lnTo>
                    <a:lnTo>
                      <a:pt x="256" y="432"/>
                    </a:lnTo>
                    <a:lnTo>
                      <a:pt x="280" y="464"/>
                    </a:lnTo>
                    <a:lnTo>
                      <a:pt x="392" y="440"/>
                    </a:lnTo>
                    <a:lnTo>
                      <a:pt x="440" y="384"/>
                    </a:lnTo>
                    <a:lnTo>
                      <a:pt x="520" y="384"/>
                    </a:lnTo>
                    <a:lnTo>
                      <a:pt x="552" y="352"/>
                    </a:lnTo>
                    <a:lnTo>
                      <a:pt x="576" y="392"/>
                    </a:lnTo>
                    <a:lnTo>
                      <a:pt x="624" y="376"/>
                    </a:lnTo>
                    <a:lnTo>
                      <a:pt x="648" y="408"/>
                    </a:lnTo>
                    <a:lnTo>
                      <a:pt x="688" y="392"/>
                    </a:lnTo>
                    <a:lnTo>
                      <a:pt x="680" y="352"/>
                    </a:lnTo>
                    <a:lnTo>
                      <a:pt x="688" y="320"/>
                    </a:lnTo>
                    <a:close/>
                  </a:path>
                </a:pathLst>
              </a:custGeom>
              <a:solidFill>
                <a:srgbClr val="9950A8"/>
              </a:solidFill>
              <a:ln w="9525">
                <a:solidFill>
                  <a:schemeClr val="bg1"/>
                </a:solidFill>
                <a:round/>
                <a:headEnd/>
                <a:tailEnd/>
              </a:ln>
            </p:spPr>
            <p:txBody>
              <a:bodyPr/>
              <a:lstStyle/>
              <a:p>
                <a:endParaRPr lang="en-US" sz="1050"/>
              </a:p>
            </p:txBody>
          </p:sp>
          <p:sp>
            <p:nvSpPr>
              <p:cNvPr id="109" name="Freeform 8"/>
              <p:cNvSpPr>
                <a:spLocks/>
              </p:cNvSpPr>
              <p:nvPr/>
            </p:nvSpPr>
            <p:spPr bwMode="auto">
              <a:xfrm>
                <a:off x="4835078" y="3329089"/>
                <a:ext cx="744840" cy="789432"/>
              </a:xfrm>
              <a:custGeom>
                <a:avLst/>
                <a:gdLst>
                  <a:gd name="T0" fmla="*/ 2147483646 w 632"/>
                  <a:gd name="T1" fmla="*/ 2147483646 h 728"/>
                  <a:gd name="T2" fmla="*/ 2147483646 w 632"/>
                  <a:gd name="T3" fmla="*/ 0 h 728"/>
                  <a:gd name="T4" fmla="*/ 2147483646 w 632"/>
                  <a:gd name="T5" fmla="*/ 2147483646 h 728"/>
                  <a:gd name="T6" fmla="*/ 2147483646 w 632"/>
                  <a:gd name="T7" fmla="*/ 2147483646 h 728"/>
                  <a:gd name="T8" fmla="*/ 2147483646 w 632"/>
                  <a:gd name="T9" fmla="*/ 2147483646 h 728"/>
                  <a:gd name="T10" fmla="*/ 2147483646 w 632"/>
                  <a:gd name="T11" fmla="*/ 2147483646 h 728"/>
                  <a:gd name="T12" fmla="*/ 2147483646 w 632"/>
                  <a:gd name="T13" fmla="*/ 2147483646 h 728"/>
                  <a:gd name="T14" fmla="*/ 2147483646 w 632"/>
                  <a:gd name="T15" fmla="*/ 2147483646 h 728"/>
                  <a:gd name="T16" fmla="*/ 2147483646 w 632"/>
                  <a:gd name="T17" fmla="*/ 2147483646 h 728"/>
                  <a:gd name="T18" fmla="*/ 2147483646 w 632"/>
                  <a:gd name="T19" fmla="*/ 2147483646 h 728"/>
                  <a:gd name="T20" fmla="*/ 2147483646 w 632"/>
                  <a:gd name="T21" fmla="*/ 2147483646 h 728"/>
                  <a:gd name="T22" fmla="*/ 2147483646 w 632"/>
                  <a:gd name="T23" fmla="*/ 2147483646 h 728"/>
                  <a:gd name="T24" fmla="*/ 2147483646 w 632"/>
                  <a:gd name="T25" fmla="*/ 2147483646 h 728"/>
                  <a:gd name="T26" fmla="*/ 2147483646 w 632"/>
                  <a:gd name="T27" fmla="*/ 2147483646 h 728"/>
                  <a:gd name="T28" fmla="*/ 2147483646 w 632"/>
                  <a:gd name="T29" fmla="*/ 2147483646 h 728"/>
                  <a:gd name="T30" fmla="*/ 2147483646 w 632"/>
                  <a:gd name="T31" fmla="*/ 2147483646 h 728"/>
                  <a:gd name="T32" fmla="*/ 2147483646 w 632"/>
                  <a:gd name="T33" fmla="*/ 2147483646 h 728"/>
                  <a:gd name="T34" fmla="*/ 2147483646 w 632"/>
                  <a:gd name="T35" fmla="*/ 2147483646 h 728"/>
                  <a:gd name="T36" fmla="*/ 2147483646 w 632"/>
                  <a:gd name="T37" fmla="*/ 2147483646 h 728"/>
                  <a:gd name="T38" fmla="*/ 2147483646 w 632"/>
                  <a:gd name="T39" fmla="*/ 2147483646 h 728"/>
                  <a:gd name="T40" fmla="*/ 2147483646 w 632"/>
                  <a:gd name="T41" fmla="*/ 2147483646 h 728"/>
                  <a:gd name="T42" fmla="*/ 2147483646 w 632"/>
                  <a:gd name="T43" fmla="*/ 2147483646 h 728"/>
                  <a:gd name="T44" fmla="*/ 2147483646 w 632"/>
                  <a:gd name="T45" fmla="*/ 2147483646 h 728"/>
                  <a:gd name="T46" fmla="*/ 2147483646 w 632"/>
                  <a:gd name="T47" fmla="*/ 2147483646 h 728"/>
                  <a:gd name="T48" fmla="*/ 2147483646 w 632"/>
                  <a:gd name="T49" fmla="*/ 2147483646 h 728"/>
                  <a:gd name="T50" fmla="*/ 2147483646 w 632"/>
                  <a:gd name="T51" fmla="*/ 2147483646 h 728"/>
                  <a:gd name="T52" fmla="*/ 2147483646 w 632"/>
                  <a:gd name="T53" fmla="*/ 2147483646 h 728"/>
                  <a:gd name="T54" fmla="*/ 2147483646 w 632"/>
                  <a:gd name="T55" fmla="*/ 2147483646 h 728"/>
                  <a:gd name="T56" fmla="*/ 2147483646 w 632"/>
                  <a:gd name="T57" fmla="*/ 2147483646 h 728"/>
                  <a:gd name="T58" fmla="*/ 2147483646 w 632"/>
                  <a:gd name="T59" fmla="*/ 2147483646 h 728"/>
                  <a:gd name="T60" fmla="*/ 2147483646 w 632"/>
                  <a:gd name="T61" fmla="*/ 2147483646 h 728"/>
                  <a:gd name="T62" fmla="*/ 2147483646 w 632"/>
                  <a:gd name="T63" fmla="*/ 2147483646 h 728"/>
                  <a:gd name="T64" fmla="*/ 2147483646 w 632"/>
                  <a:gd name="T65" fmla="*/ 2147483646 h 728"/>
                  <a:gd name="T66" fmla="*/ 2147483646 w 632"/>
                  <a:gd name="T67" fmla="*/ 2147483646 h 728"/>
                  <a:gd name="T68" fmla="*/ 0 w 632"/>
                  <a:gd name="T69" fmla="*/ 2147483646 h 728"/>
                  <a:gd name="T70" fmla="*/ 2147483646 w 632"/>
                  <a:gd name="T71" fmla="*/ 2147483646 h 728"/>
                  <a:gd name="T72" fmla="*/ 2147483646 w 632"/>
                  <a:gd name="T73" fmla="*/ 2147483646 h 728"/>
                  <a:gd name="T74" fmla="*/ 2147483646 w 632"/>
                  <a:gd name="T75" fmla="*/ 2147483646 h 728"/>
                  <a:gd name="T76" fmla="*/ 2147483646 w 632"/>
                  <a:gd name="T77" fmla="*/ 2147483646 h 728"/>
                  <a:gd name="T78" fmla="*/ 2147483646 w 632"/>
                  <a:gd name="T79" fmla="*/ 2147483646 h 728"/>
                  <a:gd name="T80" fmla="*/ 2147483646 w 632"/>
                  <a:gd name="T81" fmla="*/ 2147483646 h 728"/>
                  <a:gd name="T82" fmla="*/ 2147483646 w 632"/>
                  <a:gd name="T83" fmla="*/ 2147483646 h 728"/>
                  <a:gd name="T84" fmla="*/ 2147483646 w 632"/>
                  <a:gd name="T85" fmla="*/ 2147483646 h 728"/>
                  <a:gd name="T86" fmla="*/ 2147483646 w 632"/>
                  <a:gd name="T87" fmla="*/ 2147483646 h 728"/>
                  <a:gd name="T88" fmla="*/ 2147483646 w 632"/>
                  <a:gd name="T89" fmla="*/ 2147483646 h 728"/>
                  <a:gd name="T90" fmla="*/ 2147483646 w 632"/>
                  <a:gd name="T91" fmla="*/ 2147483646 h 7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2"/>
                  <a:gd name="T139" fmla="*/ 0 h 728"/>
                  <a:gd name="T140" fmla="*/ 632 w 632"/>
                  <a:gd name="T141" fmla="*/ 728 h 7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2" h="728">
                    <a:moveTo>
                      <a:pt x="176" y="56"/>
                    </a:moveTo>
                    <a:lnTo>
                      <a:pt x="216" y="0"/>
                    </a:lnTo>
                    <a:lnTo>
                      <a:pt x="296" y="8"/>
                    </a:lnTo>
                    <a:lnTo>
                      <a:pt x="280" y="64"/>
                    </a:lnTo>
                    <a:lnTo>
                      <a:pt x="368" y="56"/>
                    </a:lnTo>
                    <a:lnTo>
                      <a:pt x="400" y="80"/>
                    </a:lnTo>
                    <a:lnTo>
                      <a:pt x="408" y="144"/>
                    </a:lnTo>
                    <a:lnTo>
                      <a:pt x="440" y="144"/>
                    </a:lnTo>
                    <a:lnTo>
                      <a:pt x="448" y="192"/>
                    </a:lnTo>
                    <a:lnTo>
                      <a:pt x="416" y="168"/>
                    </a:lnTo>
                    <a:lnTo>
                      <a:pt x="408" y="224"/>
                    </a:lnTo>
                    <a:lnTo>
                      <a:pt x="432" y="232"/>
                    </a:lnTo>
                    <a:lnTo>
                      <a:pt x="432" y="344"/>
                    </a:lnTo>
                    <a:lnTo>
                      <a:pt x="464" y="400"/>
                    </a:lnTo>
                    <a:lnTo>
                      <a:pt x="488" y="368"/>
                    </a:lnTo>
                    <a:lnTo>
                      <a:pt x="512" y="368"/>
                    </a:lnTo>
                    <a:lnTo>
                      <a:pt x="528" y="432"/>
                    </a:lnTo>
                    <a:lnTo>
                      <a:pt x="560" y="472"/>
                    </a:lnTo>
                    <a:lnTo>
                      <a:pt x="528" y="504"/>
                    </a:lnTo>
                    <a:lnTo>
                      <a:pt x="520" y="544"/>
                    </a:lnTo>
                    <a:lnTo>
                      <a:pt x="576" y="552"/>
                    </a:lnTo>
                    <a:lnTo>
                      <a:pt x="560" y="584"/>
                    </a:lnTo>
                    <a:lnTo>
                      <a:pt x="632" y="584"/>
                    </a:lnTo>
                    <a:lnTo>
                      <a:pt x="632" y="648"/>
                    </a:lnTo>
                    <a:lnTo>
                      <a:pt x="600" y="712"/>
                    </a:lnTo>
                    <a:lnTo>
                      <a:pt x="424" y="728"/>
                    </a:lnTo>
                    <a:lnTo>
                      <a:pt x="376" y="680"/>
                    </a:lnTo>
                    <a:lnTo>
                      <a:pt x="352" y="600"/>
                    </a:lnTo>
                    <a:lnTo>
                      <a:pt x="296" y="632"/>
                    </a:lnTo>
                    <a:lnTo>
                      <a:pt x="240" y="720"/>
                    </a:lnTo>
                    <a:lnTo>
                      <a:pt x="192" y="680"/>
                    </a:lnTo>
                    <a:lnTo>
                      <a:pt x="168" y="696"/>
                    </a:lnTo>
                    <a:lnTo>
                      <a:pt x="120" y="664"/>
                    </a:lnTo>
                    <a:lnTo>
                      <a:pt x="40" y="632"/>
                    </a:lnTo>
                    <a:lnTo>
                      <a:pt x="0" y="552"/>
                    </a:lnTo>
                    <a:lnTo>
                      <a:pt x="32" y="544"/>
                    </a:lnTo>
                    <a:lnTo>
                      <a:pt x="32" y="496"/>
                    </a:lnTo>
                    <a:lnTo>
                      <a:pt x="112" y="424"/>
                    </a:lnTo>
                    <a:lnTo>
                      <a:pt x="112" y="392"/>
                    </a:lnTo>
                    <a:lnTo>
                      <a:pt x="160" y="376"/>
                    </a:lnTo>
                    <a:lnTo>
                      <a:pt x="176" y="328"/>
                    </a:lnTo>
                    <a:lnTo>
                      <a:pt x="208" y="312"/>
                    </a:lnTo>
                    <a:lnTo>
                      <a:pt x="168" y="216"/>
                    </a:lnTo>
                    <a:lnTo>
                      <a:pt x="200" y="152"/>
                    </a:lnTo>
                    <a:lnTo>
                      <a:pt x="192" y="104"/>
                    </a:lnTo>
                    <a:lnTo>
                      <a:pt x="176" y="56"/>
                    </a:lnTo>
                    <a:close/>
                  </a:path>
                </a:pathLst>
              </a:custGeom>
              <a:solidFill>
                <a:srgbClr val="4670F8"/>
              </a:solidFill>
              <a:ln w="9525">
                <a:solidFill>
                  <a:schemeClr val="bg1"/>
                </a:solidFill>
                <a:round/>
                <a:headEnd/>
                <a:tailEnd/>
              </a:ln>
            </p:spPr>
            <p:txBody>
              <a:bodyPr/>
              <a:lstStyle/>
              <a:p>
                <a:endParaRPr lang="en-US" sz="1050"/>
              </a:p>
            </p:txBody>
          </p:sp>
          <p:sp>
            <p:nvSpPr>
              <p:cNvPr id="110" name="Freeform 9"/>
              <p:cNvSpPr>
                <a:spLocks/>
              </p:cNvSpPr>
              <p:nvPr/>
            </p:nvSpPr>
            <p:spPr bwMode="auto">
              <a:xfrm>
                <a:off x="5438493" y="3589341"/>
                <a:ext cx="820267" cy="572555"/>
              </a:xfrm>
              <a:custGeom>
                <a:avLst/>
                <a:gdLst>
                  <a:gd name="T0" fmla="*/ 2147483646 w 696"/>
                  <a:gd name="T1" fmla="*/ 2147483646 h 528"/>
                  <a:gd name="T2" fmla="*/ 2147483646 w 696"/>
                  <a:gd name="T3" fmla="*/ 2147483646 h 528"/>
                  <a:gd name="T4" fmla="*/ 2147483646 w 696"/>
                  <a:gd name="T5" fmla="*/ 2147483646 h 528"/>
                  <a:gd name="T6" fmla="*/ 2147483646 w 696"/>
                  <a:gd name="T7" fmla="*/ 2147483646 h 528"/>
                  <a:gd name="T8" fmla="*/ 2147483646 w 696"/>
                  <a:gd name="T9" fmla="*/ 2147483646 h 528"/>
                  <a:gd name="T10" fmla="*/ 2147483646 w 696"/>
                  <a:gd name="T11" fmla="*/ 2147483646 h 528"/>
                  <a:gd name="T12" fmla="*/ 2147483646 w 696"/>
                  <a:gd name="T13" fmla="*/ 2147483646 h 528"/>
                  <a:gd name="T14" fmla="*/ 2147483646 w 696"/>
                  <a:gd name="T15" fmla="*/ 2147483646 h 528"/>
                  <a:gd name="T16" fmla="*/ 0 w 696"/>
                  <a:gd name="T17" fmla="*/ 2147483646 h 528"/>
                  <a:gd name="T18" fmla="*/ 2147483646 w 696"/>
                  <a:gd name="T19" fmla="*/ 2147483646 h 528"/>
                  <a:gd name="T20" fmla="*/ 2147483646 w 696"/>
                  <a:gd name="T21" fmla="*/ 2147483646 h 528"/>
                  <a:gd name="T22" fmla="*/ 2147483646 w 696"/>
                  <a:gd name="T23" fmla="*/ 2147483646 h 528"/>
                  <a:gd name="T24" fmla="*/ 2147483646 w 696"/>
                  <a:gd name="T25" fmla="*/ 2147483646 h 528"/>
                  <a:gd name="T26" fmla="*/ 2147483646 w 696"/>
                  <a:gd name="T27" fmla="*/ 2147483646 h 528"/>
                  <a:gd name="T28" fmla="*/ 2147483646 w 696"/>
                  <a:gd name="T29" fmla="*/ 2147483646 h 528"/>
                  <a:gd name="T30" fmla="*/ 2147483646 w 696"/>
                  <a:gd name="T31" fmla="*/ 2147483646 h 528"/>
                  <a:gd name="T32" fmla="*/ 2147483646 w 696"/>
                  <a:gd name="T33" fmla="*/ 0 h 528"/>
                  <a:gd name="T34" fmla="*/ 2147483646 w 696"/>
                  <a:gd name="T35" fmla="*/ 2147483646 h 528"/>
                  <a:gd name="T36" fmla="*/ 2147483646 w 696"/>
                  <a:gd name="T37" fmla="*/ 2147483646 h 528"/>
                  <a:gd name="T38" fmla="*/ 2147483646 w 696"/>
                  <a:gd name="T39" fmla="*/ 2147483646 h 528"/>
                  <a:gd name="T40" fmla="*/ 2147483646 w 696"/>
                  <a:gd name="T41" fmla="*/ 2147483646 h 528"/>
                  <a:gd name="T42" fmla="*/ 2147483646 w 696"/>
                  <a:gd name="T43" fmla="*/ 2147483646 h 528"/>
                  <a:gd name="T44" fmla="*/ 2147483646 w 696"/>
                  <a:gd name="T45" fmla="*/ 2147483646 h 528"/>
                  <a:gd name="T46" fmla="*/ 2147483646 w 696"/>
                  <a:gd name="T47" fmla="*/ 2147483646 h 528"/>
                  <a:gd name="T48" fmla="*/ 2147483646 w 696"/>
                  <a:gd name="T49" fmla="*/ 2147483646 h 528"/>
                  <a:gd name="T50" fmla="*/ 2147483646 w 696"/>
                  <a:gd name="T51" fmla="*/ 2147483646 h 528"/>
                  <a:gd name="T52" fmla="*/ 2147483646 w 696"/>
                  <a:gd name="T53" fmla="*/ 2147483646 h 528"/>
                  <a:gd name="T54" fmla="*/ 2147483646 w 696"/>
                  <a:gd name="T55" fmla="*/ 2147483646 h 528"/>
                  <a:gd name="T56" fmla="*/ 2147483646 w 696"/>
                  <a:gd name="T57" fmla="*/ 2147483646 h 528"/>
                  <a:gd name="T58" fmla="*/ 2147483646 w 696"/>
                  <a:gd name="T59" fmla="*/ 2147483646 h 528"/>
                  <a:gd name="T60" fmla="*/ 2147483646 w 696"/>
                  <a:gd name="T61" fmla="*/ 2147483646 h 528"/>
                  <a:gd name="T62" fmla="*/ 2147483646 w 696"/>
                  <a:gd name="T63" fmla="*/ 2147483646 h 528"/>
                  <a:gd name="T64" fmla="*/ 2147483646 w 696"/>
                  <a:gd name="T65" fmla="*/ 2147483646 h 528"/>
                  <a:gd name="T66" fmla="*/ 2147483646 w 696"/>
                  <a:gd name="T67" fmla="*/ 2147483646 h 528"/>
                  <a:gd name="T68" fmla="*/ 2147483646 w 696"/>
                  <a:gd name="T69" fmla="*/ 2147483646 h 528"/>
                  <a:gd name="T70" fmla="*/ 2147483646 w 696"/>
                  <a:gd name="T71" fmla="*/ 2147483646 h 528"/>
                  <a:gd name="T72" fmla="*/ 2147483646 w 696"/>
                  <a:gd name="T73" fmla="*/ 2147483646 h 528"/>
                  <a:gd name="T74" fmla="*/ 2147483646 w 696"/>
                  <a:gd name="T75" fmla="*/ 2147483646 h 5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6"/>
                  <a:gd name="T115" fmla="*/ 0 h 528"/>
                  <a:gd name="T116" fmla="*/ 696 w 696"/>
                  <a:gd name="T117" fmla="*/ 528 h 5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6" h="528">
                    <a:moveTo>
                      <a:pt x="120" y="408"/>
                    </a:moveTo>
                    <a:lnTo>
                      <a:pt x="120" y="344"/>
                    </a:lnTo>
                    <a:lnTo>
                      <a:pt x="48" y="344"/>
                    </a:lnTo>
                    <a:lnTo>
                      <a:pt x="64" y="312"/>
                    </a:lnTo>
                    <a:lnTo>
                      <a:pt x="8" y="304"/>
                    </a:lnTo>
                    <a:lnTo>
                      <a:pt x="16" y="264"/>
                    </a:lnTo>
                    <a:lnTo>
                      <a:pt x="48" y="232"/>
                    </a:lnTo>
                    <a:lnTo>
                      <a:pt x="16" y="192"/>
                    </a:lnTo>
                    <a:lnTo>
                      <a:pt x="0" y="128"/>
                    </a:lnTo>
                    <a:lnTo>
                      <a:pt x="24" y="104"/>
                    </a:lnTo>
                    <a:lnTo>
                      <a:pt x="56" y="128"/>
                    </a:lnTo>
                    <a:lnTo>
                      <a:pt x="112" y="80"/>
                    </a:lnTo>
                    <a:lnTo>
                      <a:pt x="136" y="112"/>
                    </a:lnTo>
                    <a:lnTo>
                      <a:pt x="248" y="88"/>
                    </a:lnTo>
                    <a:lnTo>
                      <a:pt x="296" y="32"/>
                    </a:lnTo>
                    <a:lnTo>
                      <a:pt x="376" y="32"/>
                    </a:lnTo>
                    <a:lnTo>
                      <a:pt x="408" y="0"/>
                    </a:lnTo>
                    <a:lnTo>
                      <a:pt x="432" y="40"/>
                    </a:lnTo>
                    <a:lnTo>
                      <a:pt x="480" y="24"/>
                    </a:lnTo>
                    <a:lnTo>
                      <a:pt x="504" y="56"/>
                    </a:lnTo>
                    <a:lnTo>
                      <a:pt x="544" y="40"/>
                    </a:lnTo>
                    <a:lnTo>
                      <a:pt x="584" y="72"/>
                    </a:lnTo>
                    <a:lnTo>
                      <a:pt x="576" y="144"/>
                    </a:lnTo>
                    <a:lnTo>
                      <a:pt x="656" y="264"/>
                    </a:lnTo>
                    <a:lnTo>
                      <a:pt x="664" y="304"/>
                    </a:lnTo>
                    <a:lnTo>
                      <a:pt x="696" y="352"/>
                    </a:lnTo>
                    <a:lnTo>
                      <a:pt x="696" y="432"/>
                    </a:lnTo>
                    <a:lnTo>
                      <a:pt x="648" y="424"/>
                    </a:lnTo>
                    <a:lnTo>
                      <a:pt x="624" y="448"/>
                    </a:lnTo>
                    <a:lnTo>
                      <a:pt x="576" y="432"/>
                    </a:lnTo>
                    <a:lnTo>
                      <a:pt x="512" y="456"/>
                    </a:lnTo>
                    <a:lnTo>
                      <a:pt x="440" y="504"/>
                    </a:lnTo>
                    <a:lnTo>
                      <a:pt x="336" y="488"/>
                    </a:lnTo>
                    <a:lnTo>
                      <a:pt x="272" y="528"/>
                    </a:lnTo>
                    <a:lnTo>
                      <a:pt x="192" y="512"/>
                    </a:lnTo>
                    <a:lnTo>
                      <a:pt x="160" y="472"/>
                    </a:lnTo>
                    <a:lnTo>
                      <a:pt x="152" y="408"/>
                    </a:lnTo>
                    <a:lnTo>
                      <a:pt x="120" y="408"/>
                    </a:lnTo>
                    <a:close/>
                  </a:path>
                </a:pathLst>
              </a:custGeom>
              <a:solidFill>
                <a:srgbClr val="9950A8"/>
              </a:solidFill>
              <a:ln w="9525">
                <a:solidFill>
                  <a:schemeClr val="bg1"/>
                </a:solidFill>
                <a:round/>
                <a:headEnd/>
                <a:tailEnd/>
              </a:ln>
            </p:spPr>
            <p:txBody>
              <a:bodyPr/>
              <a:lstStyle/>
              <a:p>
                <a:endParaRPr lang="en-US" sz="1050"/>
              </a:p>
            </p:txBody>
          </p:sp>
          <p:sp>
            <p:nvSpPr>
              <p:cNvPr id="111" name="Freeform 110"/>
              <p:cNvSpPr>
                <a:spLocks/>
              </p:cNvSpPr>
              <p:nvPr/>
            </p:nvSpPr>
            <p:spPr bwMode="auto">
              <a:xfrm>
                <a:off x="3845100" y="2730509"/>
                <a:ext cx="1074832" cy="494479"/>
              </a:xfrm>
              <a:custGeom>
                <a:avLst/>
                <a:gdLst>
                  <a:gd name="T0" fmla="*/ 2147483646 w 912"/>
                  <a:gd name="T1" fmla="*/ 2147483646 h 456"/>
                  <a:gd name="T2" fmla="*/ 2147483646 w 912"/>
                  <a:gd name="T3" fmla="*/ 2147483646 h 456"/>
                  <a:gd name="T4" fmla="*/ 2147483646 w 912"/>
                  <a:gd name="T5" fmla="*/ 2147483646 h 456"/>
                  <a:gd name="T6" fmla="*/ 2147483646 w 912"/>
                  <a:gd name="T7" fmla="*/ 2147483646 h 456"/>
                  <a:gd name="T8" fmla="*/ 2147483646 w 912"/>
                  <a:gd name="T9" fmla="*/ 2147483646 h 456"/>
                  <a:gd name="T10" fmla="*/ 2147483646 w 912"/>
                  <a:gd name="T11" fmla="*/ 2147483646 h 456"/>
                  <a:gd name="T12" fmla="*/ 2147483646 w 912"/>
                  <a:gd name="T13" fmla="*/ 2147483646 h 456"/>
                  <a:gd name="T14" fmla="*/ 2147483646 w 912"/>
                  <a:gd name="T15" fmla="*/ 2147483646 h 456"/>
                  <a:gd name="T16" fmla="*/ 2147483646 w 912"/>
                  <a:gd name="T17" fmla="*/ 2147483646 h 456"/>
                  <a:gd name="T18" fmla="*/ 2147483646 w 912"/>
                  <a:gd name="T19" fmla="*/ 2147483646 h 456"/>
                  <a:gd name="T20" fmla="*/ 2147483646 w 912"/>
                  <a:gd name="T21" fmla="*/ 2147483646 h 456"/>
                  <a:gd name="T22" fmla="*/ 2147483646 w 912"/>
                  <a:gd name="T23" fmla="*/ 2147483646 h 456"/>
                  <a:gd name="T24" fmla="*/ 2147483646 w 912"/>
                  <a:gd name="T25" fmla="*/ 2147483646 h 456"/>
                  <a:gd name="T26" fmla="*/ 2147483646 w 912"/>
                  <a:gd name="T27" fmla="*/ 2147483646 h 456"/>
                  <a:gd name="T28" fmla="*/ 2147483646 w 912"/>
                  <a:gd name="T29" fmla="*/ 2147483646 h 456"/>
                  <a:gd name="T30" fmla="*/ 2147483646 w 912"/>
                  <a:gd name="T31" fmla="*/ 2147483646 h 456"/>
                  <a:gd name="T32" fmla="*/ 2147483646 w 912"/>
                  <a:gd name="T33" fmla="*/ 2147483646 h 456"/>
                  <a:gd name="T34" fmla="*/ 2147483646 w 912"/>
                  <a:gd name="T35" fmla="*/ 2147483646 h 456"/>
                  <a:gd name="T36" fmla="*/ 2147483646 w 912"/>
                  <a:gd name="T37" fmla="*/ 2147483646 h 456"/>
                  <a:gd name="T38" fmla="*/ 0 w 912"/>
                  <a:gd name="T39" fmla="*/ 2147483646 h 456"/>
                  <a:gd name="T40" fmla="*/ 0 w 912"/>
                  <a:gd name="T41" fmla="*/ 2147483646 h 456"/>
                  <a:gd name="T42" fmla="*/ 2147483646 w 912"/>
                  <a:gd name="T43" fmla="*/ 2147483646 h 456"/>
                  <a:gd name="T44" fmla="*/ 2147483646 w 912"/>
                  <a:gd name="T45" fmla="*/ 2147483646 h 456"/>
                  <a:gd name="T46" fmla="*/ 2147483646 w 912"/>
                  <a:gd name="T47" fmla="*/ 2147483646 h 456"/>
                  <a:gd name="T48" fmla="*/ 2147483646 w 912"/>
                  <a:gd name="T49" fmla="*/ 2147483646 h 456"/>
                  <a:gd name="T50" fmla="*/ 2147483646 w 912"/>
                  <a:gd name="T51" fmla="*/ 2147483646 h 456"/>
                  <a:gd name="T52" fmla="*/ 2147483646 w 912"/>
                  <a:gd name="T53" fmla="*/ 2147483646 h 456"/>
                  <a:gd name="T54" fmla="*/ 2147483646 w 912"/>
                  <a:gd name="T55" fmla="*/ 2147483646 h 456"/>
                  <a:gd name="T56" fmla="*/ 2147483646 w 912"/>
                  <a:gd name="T57" fmla="*/ 2147483646 h 456"/>
                  <a:gd name="T58" fmla="*/ 2147483646 w 912"/>
                  <a:gd name="T59" fmla="*/ 2147483646 h 456"/>
                  <a:gd name="T60" fmla="*/ 2147483646 w 912"/>
                  <a:gd name="T61" fmla="*/ 2147483646 h 456"/>
                  <a:gd name="T62" fmla="*/ 2147483646 w 912"/>
                  <a:gd name="T63" fmla="*/ 2147483646 h 456"/>
                  <a:gd name="T64" fmla="*/ 2147483646 w 912"/>
                  <a:gd name="T65" fmla="*/ 0 h 456"/>
                  <a:gd name="T66" fmla="*/ 2147483646 w 912"/>
                  <a:gd name="T67" fmla="*/ 2147483646 h 456"/>
                  <a:gd name="T68" fmla="*/ 2147483646 w 912"/>
                  <a:gd name="T69" fmla="*/ 2147483646 h 456"/>
                  <a:gd name="T70" fmla="*/ 2147483646 w 912"/>
                  <a:gd name="T71" fmla="*/ 2147483646 h 456"/>
                  <a:gd name="T72" fmla="*/ 2147483646 w 912"/>
                  <a:gd name="T73" fmla="*/ 2147483646 h 456"/>
                  <a:gd name="T74" fmla="*/ 2147483646 w 912"/>
                  <a:gd name="T75" fmla="*/ 2147483646 h 456"/>
                  <a:gd name="T76" fmla="*/ 2147483646 w 912"/>
                  <a:gd name="T77" fmla="*/ 2147483646 h 456"/>
                  <a:gd name="T78" fmla="*/ 2147483646 w 912"/>
                  <a:gd name="T79" fmla="*/ 2147483646 h 456"/>
                  <a:gd name="T80" fmla="*/ 2147483646 w 912"/>
                  <a:gd name="T81" fmla="*/ 2147483646 h 456"/>
                  <a:gd name="T82" fmla="*/ 2147483646 w 912"/>
                  <a:gd name="T83" fmla="*/ 2147483646 h 456"/>
                  <a:gd name="T84" fmla="*/ 2147483646 w 912"/>
                  <a:gd name="T85" fmla="*/ 2147483646 h 456"/>
                  <a:gd name="T86" fmla="*/ 2147483646 w 912"/>
                  <a:gd name="T87" fmla="*/ 2147483646 h 456"/>
                  <a:gd name="T88" fmla="*/ 2147483646 w 912"/>
                  <a:gd name="T89" fmla="*/ 2147483646 h 456"/>
                  <a:gd name="T90" fmla="*/ 2147483646 w 912"/>
                  <a:gd name="T91" fmla="*/ 2147483646 h 456"/>
                  <a:gd name="T92" fmla="*/ 2147483646 w 912"/>
                  <a:gd name="T93" fmla="*/ 2147483646 h 456"/>
                  <a:gd name="T94" fmla="*/ 2147483646 w 912"/>
                  <a:gd name="T95" fmla="*/ 2147483646 h 456"/>
                  <a:gd name="T96" fmla="*/ 2147483646 w 912"/>
                  <a:gd name="T97" fmla="*/ 214748364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12"/>
                  <a:gd name="T148" fmla="*/ 0 h 456"/>
                  <a:gd name="T149" fmla="*/ 912 w 912"/>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12" h="456">
                    <a:moveTo>
                      <a:pt x="888" y="200"/>
                    </a:moveTo>
                    <a:lnTo>
                      <a:pt x="912" y="256"/>
                    </a:lnTo>
                    <a:lnTo>
                      <a:pt x="880" y="288"/>
                    </a:lnTo>
                    <a:lnTo>
                      <a:pt x="776" y="312"/>
                    </a:lnTo>
                    <a:lnTo>
                      <a:pt x="672" y="288"/>
                    </a:lnTo>
                    <a:lnTo>
                      <a:pt x="616" y="280"/>
                    </a:lnTo>
                    <a:lnTo>
                      <a:pt x="592" y="296"/>
                    </a:lnTo>
                    <a:lnTo>
                      <a:pt x="568" y="296"/>
                    </a:lnTo>
                    <a:lnTo>
                      <a:pt x="544" y="336"/>
                    </a:lnTo>
                    <a:lnTo>
                      <a:pt x="496" y="344"/>
                    </a:lnTo>
                    <a:lnTo>
                      <a:pt x="488" y="392"/>
                    </a:lnTo>
                    <a:lnTo>
                      <a:pt x="448" y="432"/>
                    </a:lnTo>
                    <a:lnTo>
                      <a:pt x="376" y="448"/>
                    </a:lnTo>
                    <a:lnTo>
                      <a:pt x="328" y="456"/>
                    </a:lnTo>
                    <a:lnTo>
                      <a:pt x="312" y="408"/>
                    </a:lnTo>
                    <a:lnTo>
                      <a:pt x="240" y="424"/>
                    </a:lnTo>
                    <a:lnTo>
                      <a:pt x="152" y="408"/>
                    </a:lnTo>
                    <a:lnTo>
                      <a:pt x="120" y="376"/>
                    </a:lnTo>
                    <a:lnTo>
                      <a:pt x="64" y="408"/>
                    </a:lnTo>
                    <a:lnTo>
                      <a:pt x="0" y="408"/>
                    </a:lnTo>
                    <a:lnTo>
                      <a:pt x="0" y="368"/>
                    </a:lnTo>
                    <a:lnTo>
                      <a:pt x="32" y="360"/>
                    </a:lnTo>
                    <a:lnTo>
                      <a:pt x="24" y="312"/>
                    </a:lnTo>
                    <a:lnTo>
                      <a:pt x="72" y="264"/>
                    </a:lnTo>
                    <a:lnTo>
                      <a:pt x="136" y="296"/>
                    </a:lnTo>
                    <a:lnTo>
                      <a:pt x="144" y="232"/>
                    </a:lnTo>
                    <a:lnTo>
                      <a:pt x="168" y="192"/>
                    </a:lnTo>
                    <a:lnTo>
                      <a:pt x="96" y="184"/>
                    </a:lnTo>
                    <a:lnTo>
                      <a:pt x="104" y="152"/>
                    </a:lnTo>
                    <a:lnTo>
                      <a:pt x="256" y="128"/>
                    </a:lnTo>
                    <a:lnTo>
                      <a:pt x="296" y="56"/>
                    </a:lnTo>
                    <a:lnTo>
                      <a:pt x="248" y="40"/>
                    </a:lnTo>
                    <a:lnTo>
                      <a:pt x="248" y="0"/>
                    </a:lnTo>
                    <a:lnTo>
                      <a:pt x="296" y="24"/>
                    </a:lnTo>
                    <a:lnTo>
                      <a:pt x="352" y="16"/>
                    </a:lnTo>
                    <a:lnTo>
                      <a:pt x="384" y="64"/>
                    </a:lnTo>
                    <a:lnTo>
                      <a:pt x="432" y="40"/>
                    </a:lnTo>
                    <a:lnTo>
                      <a:pt x="504" y="72"/>
                    </a:lnTo>
                    <a:lnTo>
                      <a:pt x="520" y="64"/>
                    </a:lnTo>
                    <a:lnTo>
                      <a:pt x="552" y="88"/>
                    </a:lnTo>
                    <a:lnTo>
                      <a:pt x="584" y="56"/>
                    </a:lnTo>
                    <a:lnTo>
                      <a:pt x="608" y="72"/>
                    </a:lnTo>
                    <a:lnTo>
                      <a:pt x="632" y="40"/>
                    </a:lnTo>
                    <a:lnTo>
                      <a:pt x="704" y="48"/>
                    </a:lnTo>
                    <a:lnTo>
                      <a:pt x="752" y="88"/>
                    </a:lnTo>
                    <a:lnTo>
                      <a:pt x="744" y="112"/>
                    </a:lnTo>
                    <a:lnTo>
                      <a:pt x="816" y="152"/>
                    </a:lnTo>
                    <a:lnTo>
                      <a:pt x="848" y="208"/>
                    </a:lnTo>
                    <a:lnTo>
                      <a:pt x="888" y="200"/>
                    </a:lnTo>
                    <a:close/>
                  </a:path>
                </a:pathLst>
              </a:custGeom>
              <a:solidFill>
                <a:srgbClr val="C6CFEB"/>
              </a:solidFill>
              <a:ln w="9525">
                <a:solidFill>
                  <a:schemeClr val="bg1"/>
                </a:solidFill>
                <a:round/>
                <a:headEnd/>
                <a:tailEnd/>
              </a:ln>
            </p:spPr>
            <p:txBody>
              <a:bodyPr/>
              <a:lstStyle/>
              <a:p>
                <a:endParaRPr lang="en-US" sz="1050"/>
              </a:p>
            </p:txBody>
          </p:sp>
          <p:sp>
            <p:nvSpPr>
              <p:cNvPr id="112" name="Freeform 111"/>
              <p:cNvSpPr>
                <a:spLocks/>
              </p:cNvSpPr>
              <p:nvPr/>
            </p:nvSpPr>
            <p:spPr bwMode="auto">
              <a:xfrm>
                <a:off x="4325946" y="3034136"/>
                <a:ext cx="622271" cy="615930"/>
              </a:xfrm>
              <a:custGeom>
                <a:avLst/>
                <a:gdLst>
                  <a:gd name="T0" fmla="*/ 2147483646 w 528"/>
                  <a:gd name="T1" fmla="*/ 2147483646 h 568"/>
                  <a:gd name="T2" fmla="*/ 2147483646 w 528"/>
                  <a:gd name="T3" fmla="*/ 2147483646 h 568"/>
                  <a:gd name="T4" fmla="*/ 2147483646 w 528"/>
                  <a:gd name="T5" fmla="*/ 2147483646 h 568"/>
                  <a:gd name="T6" fmla="*/ 2147483646 w 528"/>
                  <a:gd name="T7" fmla="*/ 2147483646 h 568"/>
                  <a:gd name="T8" fmla="*/ 2147483646 w 528"/>
                  <a:gd name="T9" fmla="*/ 2147483646 h 568"/>
                  <a:gd name="T10" fmla="*/ 2147483646 w 528"/>
                  <a:gd name="T11" fmla="*/ 2147483646 h 568"/>
                  <a:gd name="T12" fmla="*/ 2147483646 w 528"/>
                  <a:gd name="T13" fmla="*/ 2147483646 h 568"/>
                  <a:gd name="T14" fmla="*/ 2147483646 w 528"/>
                  <a:gd name="T15" fmla="*/ 2147483646 h 568"/>
                  <a:gd name="T16" fmla="*/ 2147483646 w 528"/>
                  <a:gd name="T17" fmla="*/ 2147483646 h 568"/>
                  <a:gd name="T18" fmla="*/ 2147483646 w 528"/>
                  <a:gd name="T19" fmla="*/ 2147483646 h 568"/>
                  <a:gd name="T20" fmla="*/ 2147483646 w 528"/>
                  <a:gd name="T21" fmla="*/ 2147483646 h 568"/>
                  <a:gd name="T22" fmla="*/ 2147483646 w 528"/>
                  <a:gd name="T23" fmla="*/ 2147483646 h 568"/>
                  <a:gd name="T24" fmla="*/ 2147483646 w 528"/>
                  <a:gd name="T25" fmla="*/ 2147483646 h 568"/>
                  <a:gd name="T26" fmla="*/ 2147483646 w 528"/>
                  <a:gd name="T27" fmla="*/ 2147483646 h 568"/>
                  <a:gd name="T28" fmla="*/ 2147483646 w 528"/>
                  <a:gd name="T29" fmla="*/ 2147483646 h 568"/>
                  <a:gd name="T30" fmla="*/ 2147483646 w 528"/>
                  <a:gd name="T31" fmla="*/ 2147483646 h 568"/>
                  <a:gd name="T32" fmla="*/ 2147483646 w 528"/>
                  <a:gd name="T33" fmla="*/ 2147483646 h 568"/>
                  <a:gd name="T34" fmla="*/ 2147483646 w 528"/>
                  <a:gd name="T35" fmla="*/ 2147483646 h 568"/>
                  <a:gd name="T36" fmla="*/ 2147483646 w 528"/>
                  <a:gd name="T37" fmla="*/ 2147483646 h 568"/>
                  <a:gd name="T38" fmla="*/ 2147483646 w 528"/>
                  <a:gd name="T39" fmla="*/ 2147483646 h 568"/>
                  <a:gd name="T40" fmla="*/ 2147483646 w 528"/>
                  <a:gd name="T41" fmla="*/ 2147483646 h 568"/>
                  <a:gd name="T42" fmla="*/ 2147483646 w 528"/>
                  <a:gd name="T43" fmla="*/ 2147483646 h 568"/>
                  <a:gd name="T44" fmla="*/ 2147483646 w 528"/>
                  <a:gd name="T45" fmla="*/ 2147483646 h 568"/>
                  <a:gd name="T46" fmla="*/ 0 w 528"/>
                  <a:gd name="T47" fmla="*/ 2147483646 h 568"/>
                  <a:gd name="T48" fmla="*/ 2147483646 w 528"/>
                  <a:gd name="T49" fmla="*/ 2147483646 h 568"/>
                  <a:gd name="T50" fmla="*/ 2147483646 w 528"/>
                  <a:gd name="T51" fmla="*/ 2147483646 h 568"/>
                  <a:gd name="T52" fmla="*/ 2147483646 w 528"/>
                  <a:gd name="T53" fmla="*/ 2147483646 h 568"/>
                  <a:gd name="T54" fmla="*/ 2147483646 w 528"/>
                  <a:gd name="T55" fmla="*/ 2147483646 h 568"/>
                  <a:gd name="T56" fmla="*/ 2147483646 w 528"/>
                  <a:gd name="T57" fmla="*/ 2147483646 h 568"/>
                  <a:gd name="T58" fmla="*/ 2147483646 w 528"/>
                  <a:gd name="T59" fmla="*/ 2147483646 h 568"/>
                  <a:gd name="T60" fmla="*/ 2147483646 w 528"/>
                  <a:gd name="T61" fmla="*/ 2147483646 h 568"/>
                  <a:gd name="T62" fmla="*/ 2147483646 w 528"/>
                  <a:gd name="T63" fmla="*/ 2147483646 h 568"/>
                  <a:gd name="T64" fmla="*/ 2147483646 w 528"/>
                  <a:gd name="T65" fmla="*/ 0 h 568"/>
                  <a:gd name="T66" fmla="*/ 2147483646 w 528"/>
                  <a:gd name="T67" fmla="*/ 2147483646 h 568"/>
                  <a:gd name="T68" fmla="*/ 2147483646 w 528"/>
                  <a:gd name="T69" fmla="*/ 2147483646 h 568"/>
                  <a:gd name="T70" fmla="*/ 2147483646 w 528"/>
                  <a:gd name="T71" fmla="*/ 2147483646 h 5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8"/>
                  <a:gd name="T109" fmla="*/ 0 h 568"/>
                  <a:gd name="T110" fmla="*/ 528 w 528"/>
                  <a:gd name="T111" fmla="*/ 568 h 5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8" h="568">
                    <a:moveTo>
                      <a:pt x="472" y="8"/>
                    </a:moveTo>
                    <a:lnTo>
                      <a:pt x="512" y="32"/>
                    </a:lnTo>
                    <a:lnTo>
                      <a:pt x="528" y="72"/>
                    </a:lnTo>
                    <a:lnTo>
                      <a:pt x="520" y="104"/>
                    </a:lnTo>
                    <a:lnTo>
                      <a:pt x="480" y="104"/>
                    </a:lnTo>
                    <a:lnTo>
                      <a:pt x="504" y="152"/>
                    </a:lnTo>
                    <a:lnTo>
                      <a:pt x="480" y="200"/>
                    </a:lnTo>
                    <a:lnTo>
                      <a:pt x="504" y="240"/>
                    </a:lnTo>
                    <a:lnTo>
                      <a:pt x="488" y="304"/>
                    </a:lnTo>
                    <a:lnTo>
                      <a:pt x="408" y="336"/>
                    </a:lnTo>
                    <a:lnTo>
                      <a:pt x="376" y="384"/>
                    </a:lnTo>
                    <a:lnTo>
                      <a:pt x="376" y="440"/>
                    </a:lnTo>
                    <a:lnTo>
                      <a:pt x="328" y="424"/>
                    </a:lnTo>
                    <a:lnTo>
                      <a:pt x="264" y="472"/>
                    </a:lnTo>
                    <a:lnTo>
                      <a:pt x="272" y="528"/>
                    </a:lnTo>
                    <a:lnTo>
                      <a:pt x="224" y="568"/>
                    </a:lnTo>
                    <a:lnTo>
                      <a:pt x="168" y="560"/>
                    </a:lnTo>
                    <a:lnTo>
                      <a:pt x="112" y="544"/>
                    </a:lnTo>
                    <a:lnTo>
                      <a:pt x="120" y="464"/>
                    </a:lnTo>
                    <a:lnTo>
                      <a:pt x="88" y="432"/>
                    </a:lnTo>
                    <a:lnTo>
                      <a:pt x="104" y="360"/>
                    </a:lnTo>
                    <a:lnTo>
                      <a:pt x="72" y="328"/>
                    </a:lnTo>
                    <a:lnTo>
                      <a:pt x="40" y="280"/>
                    </a:lnTo>
                    <a:lnTo>
                      <a:pt x="0" y="280"/>
                    </a:lnTo>
                    <a:lnTo>
                      <a:pt x="8" y="224"/>
                    </a:lnTo>
                    <a:lnTo>
                      <a:pt x="56" y="192"/>
                    </a:lnTo>
                    <a:lnTo>
                      <a:pt x="40" y="152"/>
                    </a:lnTo>
                    <a:lnTo>
                      <a:pt x="80" y="112"/>
                    </a:lnTo>
                    <a:lnTo>
                      <a:pt x="88" y="64"/>
                    </a:lnTo>
                    <a:lnTo>
                      <a:pt x="136" y="56"/>
                    </a:lnTo>
                    <a:lnTo>
                      <a:pt x="160" y="16"/>
                    </a:lnTo>
                    <a:lnTo>
                      <a:pt x="184" y="16"/>
                    </a:lnTo>
                    <a:lnTo>
                      <a:pt x="208" y="0"/>
                    </a:lnTo>
                    <a:lnTo>
                      <a:pt x="272" y="8"/>
                    </a:lnTo>
                    <a:lnTo>
                      <a:pt x="368" y="32"/>
                    </a:lnTo>
                    <a:lnTo>
                      <a:pt x="472" y="8"/>
                    </a:lnTo>
                    <a:close/>
                  </a:path>
                </a:pathLst>
              </a:custGeom>
              <a:solidFill>
                <a:srgbClr val="C6CFEB"/>
              </a:solidFill>
              <a:ln w="9525">
                <a:solidFill>
                  <a:schemeClr val="bg1"/>
                </a:solidFill>
                <a:round/>
                <a:headEnd/>
                <a:tailEnd/>
              </a:ln>
            </p:spPr>
            <p:txBody>
              <a:bodyPr/>
              <a:lstStyle/>
              <a:p>
                <a:endParaRPr lang="en-US" sz="1050"/>
              </a:p>
            </p:txBody>
          </p:sp>
          <p:sp>
            <p:nvSpPr>
              <p:cNvPr id="113" name="Freeform 112"/>
              <p:cNvSpPr>
                <a:spLocks/>
              </p:cNvSpPr>
              <p:nvPr/>
            </p:nvSpPr>
            <p:spPr bwMode="auto">
              <a:xfrm>
                <a:off x="4325946" y="3355114"/>
                <a:ext cx="754269" cy="754732"/>
              </a:xfrm>
              <a:custGeom>
                <a:avLst/>
                <a:gdLst>
                  <a:gd name="T0" fmla="*/ 2147483646 w 640"/>
                  <a:gd name="T1" fmla="*/ 2147483646 h 696"/>
                  <a:gd name="T2" fmla="*/ 2147483646 w 640"/>
                  <a:gd name="T3" fmla="*/ 2147483646 h 696"/>
                  <a:gd name="T4" fmla="*/ 2147483646 w 640"/>
                  <a:gd name="T5" fmla="*/ 2147483646 h 696"/>
                  <a:gd name="T6" fmla="*/ 2147483646 w 640"/>
                  <a:gd name="T7" fmla="*/ 2147483646 h 696"/>
                  <a:gd name="T8" fmla="*/ 2147483646 w 640"/>
                  <a:gd name="T9" fmla="*/ 2147483646 h 696"/>
                  <a:gd name="T10" fmla="*/ 2147483646 w 640"/>
                  <a:gd name="T11" fmla="*/ 2147483646 h 696"/>
                  <a:gd name="T12" fmla="*/ 2147483646 w 640"/>
                  <a:gd name="T13" fmla="*/ 2147483646 h 696"/>
                  <a:gd name="T14" fmla="*/ 2147483646 w 640"/>
                  <a:gd name="T15" fmla="*/ 2147483646 h 696"/>
                  <a:gd name="T16" fmla="*/ 2147483646 w 640"/>
                  <a:gd name="T17" fmla="*/ 2147483646 h 696"/>
                  <a:gd name="T18" fmla="*/ 2147483646 w 640"/>
                  <a:gd name="T19" fmla="*/ 2147483646 h 696"/>
                  <a:gd name="T20" fmla="*/ 2147483646 w 640"/>
                  <a:gd name="T21" fmla="*/ 2147483646 h 696"/>
                  <a:gd name="T22" fmla="*/ 2147483646 w 640"/>
                  <a:gd name="T23" fmla="*/ 2147483646 h 696"/>
                  <a:gd name="T24" fmla="*/ 2147483646 w 640"/>
                  <a:gd name="T25" fmla="*/ 2147483646 h 696"/>
                  <a:gd name="T26" fmla="*/ 2147483646 w 640"/>
                  <a:gd name="T27" fmla="*/ 2147483646 h 696"/>
                  <a:gd name="T28" fmla="*/ 2147483646 w 640"/>
                  <a:gd name="T29" fmla="*/ 0 h 696"/>
                  <a:gd name="T30" fmla="*/ 2147483646 w 640"/>
                  <a:gd name="T31" fmla="*/ 2147483646 h 696"/>
                  <a:gd name="T32" fmla="*/ 2147483646 w 640"/>
                  <a:gd name="T33" fmla="*/ 2147483646 h 696"/>
                  <a:gd name="T34" fmla="*/ 2147483646 w 640"/>
                  <a:gd name="T35" fmla="*/ 2147483646 h 696"/>
                  <a:gd name="T36" fmla="*/ 2147483646 w 640"/>
                  <a:gd name="T37" fmla="*/ 2147483646 h 696"/>
                  <a:gd name="T38" fmla="*/ 2147483646 w 640"/>
                  <a:gd name="T39" fmla="*/ 2147483646 h 696"/>
                  <a:gd name="T40" fmla="*/ 2147483646 w 640"/>
                  <a:gd name="T41" fmla="*/ 2147483646 h 696"/>
                  <a:gd name="T42" fmla="*/ 2147483646 w 640"/>
                  <a:gd name="T43" fmla="*/ 2147483646 h 696"/>
                  <a:gd name="T44" fmla="*/ 2147483646 w 640"/>
                  <a:gd name="T45" fmla="*/ 2147483646 h 696"/>
                  <a:gd name="T46" fmla="*/ 2147483646 w 640"/>
                  <a:gd name="T47" fmla="*/ 2147483646 h 696"/>
                  <a:gd name="T48" fmla="*/ 2147483646 w 640"/>
                  <a:gd name="T49" fmla="*/ 2147483646 h 696"/>
                  <a:gd name="T50" fmla="*/ 2147483646 w 640"/>
                  <a:gd name="T51" fmla="*/ 2147483646 h 696"/>
                  <a:gd name="T52" fmla="*/ 2147483646 w 640"/>
                  <a:gd name="T53" fmla="*/ 2147483646 h 696"/>
                  <a:gd name="T54" fmla="*/ 2147483646 w 640"/>
                  <a:gd name="T55" fmla="*/ 2147483646 h 696"/>
                  <a:gd name="T56" fmla="*/ 2147483646 w 640"/>
                  <a:gd name="T57" fmla="*/ 2147483646 h 696"/>
                  <a:gd name="T58" fmla="*/ 2147483646 w 640"/>
                  <a:gd name="T59" fmla="*/ 2147483646 h 696"/>
                  <a:gd name="T60" fmla="*/ 2147483646 w 640"/>
                  <a:gd name="T61" fmla="*/ 2147483646 h 696"/>
                  <a:gd name="T62" fmla="*/ 2147483646 w 640"/>
                  <a:gd name="T63" fmla="*/ 2147483646 h 696"/>
                  <a:gd name="T64" fmla="*/ 0 w 640"/>
                  <a:gd name="T65" fmla="*/ 2147483646 h 696"/>
                  <a:gd name="T66" fmla="*/ 2147483646 w 640"/>
                  <a:gd name="T67" fmla="*/ 2147483646 h 696"/>
                  <a:gd name="T68" fmla="*/ 2147483646 w 640"/>
                  <a:gd name="T69" fmla="*/ 2147483646 h 696"/>
                  <a:gd name="T70" fmla="*/ 2147483646 w 640"/>
                  <a:gd name="T71" fmla="*/ 2147483646 h 696"/>
                  <a:gd name="T72" fmla="*/ 2147483646 w 640"/>
                  <a:gd name="T73" fmla="*/ 2147483646 h 696"/>
                  <a:gd name="T74" fmla="*/ 2147483646 w 640"/>
                  <a:gd name="T75" fmla="*/ 2147483646 h 696"/>
                  <a:gd name="T76" fmla="*/ 2147483646 w 640"/>
                  <a:gd name="T77" fmla="*/ 2147483646 h 696"/>
                  <a:gd name="T78" fmla="*/ 2147483646 w 640"/>
                  <a:gd name="T79" fmla="*/ 2147483646 h 696"/>
                  <a:gd name="T80" fmla="*/ 2147483646 w 640"/>
                  <a:gd name="T81" fmla="*/ 2147483646 h 696"/>
                  <a:gd name="T82" fmla="*/ 2147483646 w 640"/>
                  <a:gd name="T83" fmla="*/ 2147483646 h 696"/>
                  <a:gd name="T84" fmla="*/ 2147483646 w 640"/>
                  <a:gd name="T85" fmla="*/ 2147483646 h 696"/>
                  <a:gd name="T86" fmla="*/ 2147483646 w 640"/>
                  <a:gd name="T87" fmla="*/ 2147483646 h 696"/>
                  <a:gd name="T88" fmla="*/ 2147483646 w 640"/>
                  <a:gd name="T89" fmla="*/ 2147483646 h 696"/>
                  <a:gd name="T90" fmla="*/ 2147483646 w 640"/>
                  <a:gd name="T91" fmla="*/ 2147483646 h 696"/>
                  <a:gd name="T92" fmla="*/ 2147483646 w 640"/>
                  <a:gd name="T93" fmla="*/ 2147483646 h 696"/>
                  <a:gd name="T94" fmla="*/ 2147483646 w 640"/>
                  <a:gd name="T95" fmla="*/ 2147483646 h 696"/>
                  <a:gd name="T96" fmla="*/ 2147483646 w 640"/>
                  <a:gd name="T97" fmla="*/ 2147483646 h 696"/>
                  <a:gd name="T98" fmla="*/ 2147483646 w 640"/>
                  <a:gd name="T99" fmla="*/ 2147483646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0"/>
                  <a:gd name="T151" fmla="*/ 0 h 696"/>
                  <a:gd name="T152" fmla="*/ 640 w 64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0" h="696">
                    <a:moveTo>
                      <a:pt x="552" y="640"/>
                    </a:moveTo>
                    <a:lnTo>
                      <a:pt x="472" y="608"/>
                    </a:lnTo>
                    <a:lnTo>
                      <a:pt x="432" y="528"/>
                    </a:lnTo>
                    <a:lnTo>
                      <a:pt x="464" y="520"/>
                    </a:lnTo>
                    <a:lnTo>
                      <a:pt x="464" y="472"/>
                    </a:lnTo>
                    <a:lnTo>
                      <a:pt x="544" y="400"/>
                    </a:lnTo>
                    <a:lnTo>
                      <a:pt x="544" y="368"/>
                    </a:lnTo>
                    <a:lnTo>
                      <a:pt x="592" y="352"/>
                    </a:lnTo>
                    <a:lnTo>
                      <a:pt x="608" y="304"/>
                    </a:lnTo>
                    <a:lnTo>
                      <a:pt x="640" y="288"/>
                    </a:lnTo>
                    <a:lnTo>
                      <a:pt x="600" y="192"/>
                    </a:lnTo>
                    <a:lnTo>
                      <a:pt x="632" y="128"/>
                    </a:lnTo>
                    <a:lnTo>
                      <a:pt x="624" y="80"/>
                    </a:lnTo>
                    <a:lnTo>
                      <a:pt x="608" y="32"/>
                    </a:lnTo>
                    <a:lnTo>
                      <a:pt x="568" y="0"/>
                    </a:lnTo>
                    <a:lnTo>
                      <a:pt x="528" y="24"/>
                    </a:lnTo>
                    <a:lnTo>
                      <a:pt x="488" y="8"/>
                    </a:lnTo>
                    <a:lnTo>
                      <a:pt x="408" y="40"/>
                    </a:lnTo>
                    <a:lnTo>
                      <a:pt x="376" y="88"/>
                    </a:lnTo>
                    <a:lnTo>
                      <a:pt x="376" y="144"/>
                    </a:lnTo>
                    <a:lnTo>
                      <a:pt x="328" y="128"/>
                    </a:lnTo>
                    <a:lnTo>
                      <a:pt x="264" y="176"/>
                    </a:lnTo>
                    <a:lnTo>
                      <a:pt x="272" y="232"/>
                    </a:lnTo>
                    <a:lnTo>
                      <a:pt x="224" y="272"/>
                    </a:lnTo>
                    <a:lnTo>
                      <a:pt x="168" y="264"/>
                    </a:lnTo>
                    <a:lnTo>
                      <a:pt x="112" y="248"/>
                    </a:lnTo>
                    <a:lnTo>
                      <a:pt x="80" y="264"/>
                    </a:lnTo>
                    <a:lnTo>
                      <a:pt x="88" y="288"/>
                    </a:lnTo>
                    <a:lnTo>
                      <a:pt x="56" y="288"/>
                    </a:lnTo>
                    <a:lnTo>
                      <a:pt x="88" y="328"/>
                    </a:lnTo>
                    <a:lnTo>
                      <a:pt x="56" y="344"/>
                    </a:lnTo>
                    <a:lnTo>
                      <a:pt x="40" y="376"/>
                    </a:lnTo>
                    <a:lnTo>
                      <a:pt x="0" y="384"/>
                    </a:lnTo>
                    <a:lnTo>
                      <a:pt x="24" y="448"/>
                    </a:lnTo>
                    <a:lnTo>
                      <a:pt x="72" y="424"/>
                    </a:lnTo>
                    <a:lnTo>
                      <a:pt x="72" y="464"/>
                    </a:lnTo>
                    <a:lnTo>
                      <a:pt x="40" y="488"/>
                    </a:lnTo>
                    <a:lnTo>
                      <a:pt x="56" y="536"/>
                    </a:lnTo>
                    <a:lnTo>
                      <a:pt x="136" y="592"/>
                    </a:lnTo>
                    <a:lnTo>
                      <a:pt x="192" y="584"/>
                    </a:lnTo>
                    <a:lnTo>
                      <a:pt x="256" y="592"/>
                    </a:lnTo>
                    <a:lnTo>
                      <a:pt x="336" y="560"/>
                    </a:lnTo>
                    <a:lnTo>
                      <a:pt x="344" y="616"/>
                    </a:lnTo>
                    <a:lnTo>
                      <a:pt x="328" y="672"/>
                    </a:lnTo>
                    <a:lnTo>
                      <a:pt x="360" y="696"/>
                    </a:lnTo>
                    <a:lnTo>
                      <a:pt x="408" y="680"/>
                    </a:lnTo>
                    <a:lnTo>
                      <a:pt x="464" y="696"/>
                    </a:lnTo>
                    <a:lnTo>
                      <a:pt x="504" y="672"/>
                    </a:lnTo>
                    <a:lnTo>
                      <a:pt x="544" y="664"/>
                    </a:lnTo>
                    <a:lnTo>
                      <a:pt x="552" y="640"/>
                    </a:lnTo>
                    <a:close/>
                  </a:path>
                </a:pathLst>
              </a:custGeom>
              <a:solidFill>
                <a:srgbClr val="C6CFEB"/>
              </a:solidFill>
              <a:ln w="9525">
                <a:solidFill>
                  <a:schemeClr val="bg1"/>
                </a:solidFill>
                <a:round/>
                <a:headEnd/>
                <a:tailEnd/>
              </a:ln>
            </p:spPr>
            <p:txBody>
              <a:bodyPr/>
              <a:lstStyle/>
              <a:p>
                <a:endParaRPr lang="en-US" sz="1050"/>
              </a:p>
            </p:txBody>
          </p:sp>
          <p:sp>
            <p:nvSpPr>
              <p:cNvPr id="114" name="Freeform 113"/>
              <p:cNvSpPr>
                <a:spLocks/>
              </p:cNvSpPr>
              <p:nvPr/>
            </p:nvSpPr>
            <p:spPr bwMode="auto">
              <a:xfrm>
                <a:off x="3590535" y="3138237"/>
                <a:ext cx="697699" cy="399054"/>
              </a:xfrm>
              <a:custGeom>
                <a:avLst/>
                <a:gdLst>
                  <a:gd name="T0" fmla="*/ 2147483646 w 592"/>
                  <a:gd name="T1" fmla="*/ 2147483646 h 368"/>
                  <a:gd name="T2" fmla="*/ 2147483646 w 592"/>
                  <a:gd name="T3" fmla="*/ 0 h 368"/>
                  <a:gd name="T4" fmla="*/ 2147483646 w 592"/>
                  <a:gd name="T5" fmla="*/ 2147483646 h 368"/>
                  <a:gd name="T6" fmla="*/ 2147483646 w 592"/>
                  <a:gd name="T7" fmla="*/ 2147483646 h 368"/>
                  <a:gd name="T8" fmla="*/ 2147483646 w 592"/>
                  <a:gd name="T9" fmla="*/ 2147483646 h 368"/>
                  <a:gd name="T10" fmla="*/ 2147483646 w 592"/>
                  <a:gd name="T11" fmla="*/ 2147483646 h 368"/>
                  <a:gd name="T12" fmla="*/ 2147483646 w 592"/>
                  <a:gd name="T13" fmla="*/ 2147483646 h 368"/>
                  <a:gd name="T14" fmla="*/ 2147483646 w 592"/>
                  <a:gd name="T15" fmla="*/ 2147483646 h 368"/>
                  <a:gd name="T16" fmla="*/ 2147483646 w 592"/>
                  <a:gd name="T17" fmla="*/ 2147483646 h 368"/>
                  <a:gd name="T18" fmla="*/ 2147483646 w 592"/>
                  <a:gd name="T19" fmla="*/ 2147483646 h 368"/>
                  <a:gd name="T20" fmla="*/ 2147483646 w 592"/>
                  <a:gd name="T21" fmla="*/ 2147483646 h 368"/>
                  <a:gd name="T22" fmla="*/ 2147483646 w 592"/>
                  <a:gd name="T23" fmla="*/ 2147483646 h 368"/>
                  <a:gd name="T24" fmla="*/ 2147483646 w 592"/>
                  <a:gd name="T25" fmla="*/ 2147483646 h 368"/>
                  <a:gd name="T26" fmla="*/ 2147483646 w 592"/>
                  <a:gd name="T27" fmla="*/ 2147483646 h 368"/>
                  <a:gd name="T28" fmla="*/ 2147483646 w 592"/>
                  <a:gd name="T29" fmla="*/ 2147483646 h 368"/>
                  <a:gd name="T30" fmla="*/ 2147483646 w 592"/>
                  <a:gd name="T31" fmla="*/ 2147483646 h 368"/>
                  <a:gd name="T32" fmla="*/ 2147483646 w 592"/>
                  <a:gd name="T33" fmla="*/ 2147483646 h 368"/>
                  <a:gd name="T34" fmla="*/ 2147483646 w 592"/>
                  <a:gd name="T35" fmla="*/ 2147483646 h 368"/>
                  <a:gd name="T36" fmla="*/ 2147483646 w 592"/>
                  <a:gd name="T37" fmla="*/ 2147483646 h 368"/>
                  <a:gd name="T38" fmla="*/ 2147483646 w 592"/>
                  <a:gd name="T39" fmla="*/ 2147483646 h 368"/>
                  <a:gd name="T40" fmla="*/ 2147483646 w 592"/>
                  <a:gd name="T41" fmla="*/ 2147483646 h 368"/>
                  <a:gd name="T42" fmla="*/ 2147483646 w 592"/>
                  <a:gd name="T43" fmla="*/ 2147483646 h 368"/>
                  <a:gd name="T44" fmla="*/ 2147483646 w 592"/>
                  <a:gd name="T45" fmla="*/ 2147483646 h 368"/>
                  <a:gd name="T46" fmla="*/ 2147483646 w 592"/>
                  <a:gd name="T47" fmla="*/ 2147483646 h 368"/>
                  <a:gd name="T48" fmla="*/ 0 w 592"/>
                  <a:gd name="T49" fmla="*/ 2147483646 h 368"/>
                  <a:gd name="T50" fmla="*/ 2147483646 w 592"/>
                  <a:gd name="T51" fmla="*/ 2147483646 h 368"/>
                  <a:gd name="T52" fmla="*/ 2147483646 w 592"/>
                  <a:gd name="T53" fmla="*/ 2147483646 h 368"/>
                  <a:gd name="T54" fmla="*/ 2147483646 w 592"/>
                  <a:gd name="T55" fmla="*/ 2147483646 h 368"/>
                  <a:gd name="T56" fmla="*/ 2147483646 w 592"/>
                  <a:gd name="T57" fmla="*/ 2147483646 h 368"/>
                  <a:gd name="T58" fmla="*/ 2147483646 w 592"/>
                  <a:gd name="T59" fmla="*/ 2147483646 h 368"/>
                  <a:gd name="T60" fmla="*/ 2147483646 w 592"/>
                  <a:gd name="T61" fmla="*/ 2147483646 h 368"/>
                  <a:gd name="T62" fmla="*/ 2147483646 w 592"/>
                  <a:gd name="T63" fmla="*/ 2147483646 h 368"/>
                  <a:gd name="T64" fmla="*/ 2147483646 w 592"/>
                  <a:gd name="T65" fmla="*/ 2147483646 h 368"/>
                  <a:gd name="T66" fmla="*/ 2147483646 w 592"/>
                  <a:gd name="T67" fmla="*/ 2147483646 h 368"/>
                  <a:gd name="T68" fmla="*/ 2147483646 w 592"/>
                  <a:gd name="T69" fmla="*/ 2147483646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2"/>
                  <a:gd name="T106" fmla="*/ 0 h 368"/>
                  <a:gd name="T107" fmla="*/ 592 w 592"/>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2" h="368">
                    <a:moveTo>
                      <a:pt x="280" y="32"/>
                    </a:moveTo>
                    <a:lnTo>
                      <a:pt x="336" y="0"/>
                    </a:lnTo>
                    <a:lnTo>
                      <a:pt x="368" y="32"/>
                    </a:lnTo>
                    <a:lnTo>
                      <a:pt x="456" y="48"/>
                    </a:lnTo>
                    <a:lnTo>
                      <a:pt x="528" y="32"/>
                    </a:lnTo>
                    <a:lnTo>
                      <a:pt x="544" y="80"/>
                    </a:lnTo>
                    <a:lnTo>
                      <a:pt x="592" y="72"/>
                    </a:lnTo>
                    <a:lnTo>
                      <a:pt x="584" y="136"/>
                    </a:lnTo>
                    <a:lnTo>
                      <a:pt x="544" y="144"/>
                    </a:lnTo>
                    <a:lnTo>
                      <a:pt x="536" y="168"/>
                    </a:lnTo>
                    <a:lnTo>
                      <a:pt x="480" y="176"/>
                    </a:lnTo>
                    <a:lnTo>
                      <a:pt x="480" y="272"/>
                    </a:lnTo>
                    <a:lnTo>
                      <a:pt x="432" y="288"/>
                    </a:lnTo>
                    <a:lnTo>
                      <a:pt x="392" y="344"/>
                    </a:lnTo>
                    <a:lnTo>
                      <a:pt x="328" y="312"/>
                    </a:lnTo>
                    <a:lnTo>
                      <a:pt x="312" y="352"/>
                    </a:lnTo>
                    <a:lnTo>
                      <a:pt x="248" y="368"/>
                    </a:lnTo>
                    <a:lnTo>
                      <a:pt x="184" y="336"/>
                    </a:lnTo>
                    <a:lnTo>
                      <a:pt x="184" y="304"/>
                    </a:lnTo>
                    <a:lnTo>
                      <a:pt x="128" y="280"/>
                    </a:lnTo>
                    <a:lnTo>
                      <a:pt x="120" y="248"/>
                    </a:lnTo>
                    <a:lnTo>
                      <a:pt x="80" y="240"/>
                    </a:lnTo>
                    <a:lnTo>
                      <a:pt x="40" y="184"/>
                    </a:lnTo>
                    <a:lnTo>
                      <a:pt x="16" y="184"/>
                    </a:lnTo>
                    <a:lnTo>
                      <a:pt x="0" y="152"/>
                    </a:lnTo>
                    <a:lnTo>
                      <a:pt x="56" y="120"/>
                    </a:lnTo>
                    <a:lnTo>
                      <a:pt x="56" y="88"/>
                    </a:lnTo>
                    <a:lnTo>
                      <a:pt x="88" y="80"/>
                    </a:lnTo>
                    <a:lnTo>
                      <a:pt x="80" y="40"/>
                    </a:lnTo>
                    <a:lnTo>
                      <a:pt x="176" y="8"/>
                    </a:lnTo>
                    <a:lnTo>
                      <a:pt x="160" y="40"/>
                    </a:lnTo>
                    <a:lnTo>
                      <a:pt x="192" y="40"/>
                    </a:lnTo>
                    <a:lnTo>
                      <a:pt x="248" y="80"/>
                    </a:lnTo>
                    <a:lnTo>
                      <a:pt x="280" y="48"/>
                    </a:lnTo>
                    <a:lnTo>
                      <a:pt x="280" y="32"/>
                    </a:lnTo>
                    <a:close/>
                  </a:path>
                </a:pathLst>
              </a:custGeom>
              <a:solidFill>
                <a:srgbClr val="C6CFEB"/>
              </a:solidFill>
              <a:ln w="9525">
                <a:solidFill>
                  <a:schemeClr val="bg1"/>
                </a:solidFill>
                <a:round/>
                <a:headEnd/>
                <a:tailEnd/>
              </a:ln>
            </p:spPr>
            <p:txBody>
              <a:bodyPr/>
              <a:lstStyle/>
              <a:p>
                <a:endParaRPr lang="en-US" sz="1050"/>
              </a:p>
            </p:txBody>
          </p:sp>
          <p:sp>
            <p:nvSpPr>
              <p:cNvPr id="115" name="Freeform 114"/>
              <p:cNvSpPr>
                <a:spLocks/>
              </p:cNvSpPr>
              <p:nvPr/>
            </p:nvSpPr>
            <p:spPr bwMode="auto">
              <a:xfrm>
                <a:off x="3647104" y="3198963"/>
                <a:ext cx="820267" cy="685331"/>
              </a:xfrm>
              <a:custGeom>
                <a:avLst/>
                <a:gdLst>
                  <a:gd name="T0" fmla="*/ 2147483646 w 696"/>
                  <a:gd name="T1" fmla="*/ 2147483646 h 632"/>
                  <a:gd name="T2" fmla="*/ 2147483646 w 696"/>
                  <a:gd name="T3" fmla="*/ 2147483646 h 632"/>
                  <a:gd name="T4" fmla="*/ 2147483646 w 696"/>
                  <a:gd name="T5" fmla="*/ 2147483646 h 632"/>
                  <a:gd name="T6" fmla="*/ 2147483646 w 696"/>
                  <a:gd name="T7" fmla="*/ 2147483646 h 632"/>
                  <a:gd name="T8" fmla="*/ 2147483646 w 696"/>
                  <a:gd name="T9" fmla="*/ 2147483646 h 632"/>
                  <a:gd name="T10" fmla="*/ 2147483646 w 696"/>
                  <a:gd name="T11" fmla="*/ 2147483646 h 632"/>
                  <a:gd name="T12" fmla="*/ 2147483646 w 696"/>
                  <a:gd name="T13" fmla="*/ 2147483646 h 632"/>
                  <a:gd name="T14" fmla="*/ 2147483646 w 696"/>
                  <a:gd name="T15" fmla="*/ 2147483646 h 632"/>
                  <a:gd name="T16" fmla="*/ 2147483646 w 696"/>
                  <a:gd name="T17" fmla="*/ 2147483646 h 632"/>
                  <a:gd name="T18" fmla="*/ 2147483646 w 696"/>
                  <a:gd name="T19" fmla="*/ 2147483646 h 632"/>
                  <a:gd name="T20" fmla="*/ 2147483646 w 696"/>
                  <a:gd name="T21" fmla="*/ 2147483646 h 632"/>
                  <a:gd name="T22" fmla="*/ 2147483646 w 696"/>
                  <a:gd name="T23" fmla="*/ 2147483646 h 632"/>
                  <a:gd name="T24" fmla="*/ 2147483646 w 696"/>
                  <a:gd name="T25" fmla="*/ 2147483646 h 632"/>
                  <a:gd name="T26" fmla="*/ 2147483646 w 696"/>
                  <a:gd name="T27" fmla="*/ 2147483646 h 632"/>
                  <a:gd name="T28" fmla="*/ 2147483646 w 696"/>
                  <a:gd name="T29" fmla="*/ 0 h 632"/>
                  <a:gd name="T30" fmla="*/ 2147483646 w 696"/>
                  <a:gd name="T31" fmla="*/ 2147483646 h 632"/>
                  <a:gd name="T32" fmla="*/ 2147483646 w 696"/>
                  <a:gd name="T33" fmla="*/ 2147483646 h 632"/>
                  <a:gd name="T34" fmla="*/ 2147483646 w 696"/>
                  <a:gd name="T35" fmla="*/ 2147483646 h 632"/>
                  <a:gd name="T36" fmla="*/ 2147483646 w 696"/>
                  <a:gd name="T37" fmla="*/ 2147483646 h 632"/>
                  <a:gd name="T38" fmla="*/ 2147483646 w 696"/>
                  <a:gd name="T39" fmla="*/ 2147483646 h 632"/>
                  <a:gd name="T40" fmla="*/ 2147483646 w 696"/>
                  <a:gd name="T41" fmla="*/ 2147483646 h 632"/>
                  <a:gd name="T42" fmla="*/ 2147483646 w 696"/>
                  <a:gd name="T43" fmla="*/ 2147483646 h 632"/>
                  <a:gd name="T44" fmla="*/ 2147483646 w 696"/>
                  <a:gd name="T45" fmla="*/ 2147483646 h 632"/>
                  <a:gd name="T46" fmla="*/ 2147483646 w 696"/>
                  <a:gd name="T47" fmla="*/ 2147483646 h 632"/>
                  <a:gd name="T48" fmla="*/ 2147483646 w 696"/>
                  <a:gd name="T49" fmla="*/ 2147483646 h 632"/>
                  <a:gd name="T50" fmla="*/ 2147483646 w 696"/>
                  <a:gd name="T51" fmla="*/ 2147483646 h 632"/>
                  <a:gd name="T52" fmla="*/ 2147483646 w 696"/>
                  <a:gd name="T53" fmla="*/ 2147483646 h 632"/>
                  <a:gd name="T54" fmla="*/ 2147483646 w 696"/>
                  <a:gd name="T55" fmla="*/ 2147483646 h 632"/>
                  <a:gd name="T56" fmla="*/ 2147483646 w 696"/>
                  <a:gd name="T57" fmla="*/ 2147483646 h 632"/>
                  <a:gd name="T58" fmla="*/ 2147483646 w 696"/>
                  <a:gd name="T59" fmla="*/ 2147483646 h 632"/>
                  <a:gd name="T60" fmla="*/ 2147483646 w 696"/>
                  <a:gd name="T61" fmla="*/ 2147483646 h 632"/>
                  <a:gd name="T62" fmla="*/ 2147483646 w 696"/>
                  <a:gd name="T63" fmla="*/ 2147483646 h 632"/>
                  <a:gd name="T64" fmla="*/ 2147483646 w 696"/>
                  <a:gd name="T65" fmla="*/ 2147483646 h 632"/>
                  <a:gd name="T66" fmla="*/ 2147483646 w 696"/>
                  <a:gd name="T67" fmla="*/ 2147483646 h 632"/>
                  <a:gd name="T68" fmla="*/ 2147483646 w 696"/>
                  <a:gd name="T69" fmla="*/ 2147483646 h 632"/>
                  <a:gd name="T70" fmla="*/ 2147483646 w 696"/>
                  <a:gd name="T71" fmla="*/ 2147483646 h 632"/>
                  <a:gd name="T72" fmla="*/ 2147483646 w 696"/>
                  <a:gd name="T73" fmla="*/ 2147483646 h 632"/>
                  <a:gd name="T74" fmla="*/ 2147483646 w 696"/>
                  <a:gd name="T75" fmla="*/ 2147483646 h 632"/>
                  <a:gd name="T76" fmla="*/ 2147483646 w 696"/>
                  <a:gd name="T77" fmla="*/ 2147483646 h 632"/>
                  <a:gd name="T78" fmla="*/ 2147483646 w 696"/>
                  <a:gd name="T79" fmla="*/ 2147483646 h 632"/>
                  <a:gd name="T80" fmla="*/ 2147483646 w 696"/>
                  <a:gd name="T81" fmla="*/ 2147483646 h 632"/>
                  <a:gd name="T82" fmla="*/ 2147483646 w 696"/>
                  <a:gd name="T83" fmla="*/ 2147483646 h 632"/>
                  <a:gd name="T84" fmla="*/ 2147483646 w 696"/>
                  <a:gd name="T85" fmla="*/ 2147483646 h 632"/>
                  <a:gd name="T86" fmla="*/ 2147483646 w 696"/>
                  <a:gd name="T87" fmla="*/ 2147483646 h 632"/>
                  <a:gd name="T88" fmla="*/ 2147483646 w 696"/>
                  <a:gd name="T89" fmla="*/ 2147483646 h 632"/>
                  <a:gd name="T90" fmla="*/ 0 w 696"/>
                  <a:gd name="T91" fmla="*/ 2147483646 h 632"/>
                  <a:gd name="T92" fmla="*/ 2147483646 w 696"/>
                  <a:gd name="T93" fmla="*/ 2147483646 h 632"/>
                  <a:gd name="T94" fmla="*/ 2147483646 w 696"/>
                  <a:gd name="T95" fmla="*/ 2147483646 h 632"/>
                  <a:gd name="T96" fmla="*/ 2147483646 w 696"/>
                  <a:gd name="T97" fmla="*/ 2147483646 h 632"/>
                  <a:gd name="T98" fmla="*/ 2147483646 w 696"/>
                  <a:gd name="T99" fmla="*/ 2147483646 h 6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96"/>
                  <a:gd name="T151" fmla="*/ 0 h 632"/>
                  <a:gd name="T152" fmla="*/ 696 w 696"/>
                  <a:gd name="T153" fmla="*/ 632 h 6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96" h="632">
                    <a:moveTo>
                      <a:pt x="80" y="224"/>
                    </a:moveTo>
                    <a:lnTo>
                      <a:pt x="136" y="248"/>
                    </a:lnTo>
                    <a:lnTo>
                      <a:pt x="136" y="280"/>
                    </a:lnTo>
                    <a:lnTo>
                      <a:pt x="200" y="312"/>
                    </a:lnTo>
                    <a:lnTo>
                      <a:pt x="264" y="296"/>
                    </a:lnTo>
                    <a:lnTo>
                      <a:pt x="280" y="256"/>
                    </a:lnTo>
                    <a:lnTo>
                      <a:pt x="344" y="280"/>
                    </a:lnTo>
                    <a:lnTo>
                      <a:pt x="384" y="232"/>
                    </a:lnTo>
                    <a:lnTo>
                      <a:pt x="432" y="216"/>
                    </a:lnTo>
                    <a:lnTo>
                      <a:pt x="432" y="120"/>
                    </a:lnTo>
                    <a:lnTo>
                      <a:pt x="488" y="112"/>
                    </a:lnTo>
                    <a:lnTo>
                      <a:pt x="488" y="80"/>
                    </a:lnTo>
                    <a:lnTo>
                      <a:pt x="536" y="80"/>
                    </a:lnTo>
                    <a:lnTo>
                      <a:pt x="544" y="8"/>
                    </a:lnTo>
                    <a:lnTo>
                      <a:pt x="616" y="0"/>
                    </a:lnTo>
                    <a:lnTo>
                      <a:pt x="624" y="40"/>
                    </a:lnTo>
                    <a:lnTo>
                      <a:pt x="584" y="72"/>
                    </a:lnTo>
                    <a:lnTo>
                      <a:pt x="576" y="128"/>
                    </a:lnTo>
                    <a:lnTo>
                      <a:pt x="616" y="128"/>
                    </a:lnTo>
                    <a:lnTo>
                      <a:pt x="680" y="208"/>
                    </a:lnTo>
                    <a:lnTo>
                      <a:pt x="664" y="272"/>
                    </a:lnTo>
                    <a:lnTo>
                      <a:pt x="696" y="312"/>
                    </a:lnTo>
                    <a:lnTo>
                      <a:pt x="688" y="384"/>
                    </a:lnTo>
                    <a:lnTo>
                      <a:pt x="656" y="408"/>
                    </a:lnTo>
                    <a:lnTo>
                      <a:pt x="664" y="432"/>
                    </a:lnTo>
                    <a:lnTo>
                      <a:pt x="632" y="432"/>
                    </a:lnTo>
                    <a:lnTo>
                      <a:pt x="664" y="472"/>
                    </a:lnTo>
                    <a:lnTo>
                      <a:pt x="632" y="488"/>
                    </a:lnTo>
                    <a:lnTo>
                      <a:pt x="616" y="520"/>
                    </a:lnTo>
                    <a:lnTo>
                      <a:pt x="576" y="520"/>
                    </a:lnTo>
                    <a:lnTo>
                      <a:pt x="600" y="592"/>
                    </a:lnTo>
                    <a:lnTo>
                      <a:pt x="544" y="608"/>
                    </a:lnTo>
                    <a:lnTo>
                      <a:pt x="496" y="584"/>
                    </a:lnTo>
                    <a:lnTo>
                      <a:pt x="456" y="632"/>
                    </a:lnTo>
                    <a:lnTo>
                      <a:pt x="440" y="608"/>
                    </a:lnTo>
                    <a:lnTo>
                      <a:pt x="448" y="568"/>
                    </a:lnTo>
                    <a:lnTo>
                      <a:pt x="392" y="576"/>
                    </a:lnTo>
                    <a:lnTo>
                      <a:pt x="368" y="552"/>
                    </a:lnTo>
                    <a:lnTo>
                      <a:pt x="272" y="544"/>
                    </a:lnTo>
                    <a:lnTo>
                      <a:pt x="248" y="536"/>
                    </a:lnTo>
                    <a:lnTo>
                      <a:pt x="184" y="568"/>
                    </a:lnTo>
                    <a:lnTo>
                      <a:pt x="144" y="480"/>
                    </a:lnTo>
                    <a:lnTo>
                      <a:pt x="88" y="488"/>
                    </a:lnTo>
                    <a:lnTo>
                      <a:pt x="72" y="472"/>
                    </a:lnTo>
                    <a:lnTo>
                      <a:pt x="64" y="424"/>
                    </a:lnTo>
                    <a:lnTo>
                      <a:pt x="0" y="360"/>
                    </a:lnTo>
                    <a:lnTo>
                      <a:pt x="56" y="344"/>
                    </a:lnTo>
                    <a:lnTo>
                      <a:pt x="88" y="288"/>
                    </a:lnTo>
                    <a:lnTo>
                      <a:pt x="56" y="256"/>
                    </a:lnTo>
                    <a:lnTo>
                      <a:pt x="80" y="224"/>
                    </a:lnTo>
                    <a:close/>
                  </a:path>
                </a:pathLst>
              </a:custGeom>
              <a:solidFill>
                <a:srgbClr val="4670F8"/>
              </a:solidFill>
              <a:ln w="9525">
                <a:solidFill>
                  <a:schemeClr val="bg1"/>
                </a:solidFill>
                <a:round/>
                <a:headEnd/>
                <a:tailEnd/>
              </a:ln>
            </p:spPr>
            <p:txBody>
              <a:bodyPr/>
              <a:lstStyle/>
              <a:p>
                <a:endParaRPr lang="en-US" sz="1050"/>
              </a:p>
            </p:txBody>
          </p:sp>
          <p:sp>
            <p:nvSpPr>
              <p:cNvPr id="116" name="Freeform 115"/>
              <p:cNvSpPr>
                <a:spLocks/>
              </p:cNvSpPr>
              <p:nvPr/>
            </p:nvSpPr>
            <p:spPr bwMode="auto">
              <a:xfrm>
                <a:off x="3647104" y="3710792"/>
                <a:ext cx="839124" cy="850158"/>
              </a:xfrm>
              <a:custGeom>
                <a:avLst/>
                <a:gdLst>
                  <a:gd name="T0" fmla="*/ 2147483646 w 712"/>
                  <a:gd name="T1" fmla="*/ 0 h 784"/>
                  <a:gd name="T2" fmla="*/ 2147483646 w 712"/>
                  <a:gd name="T3" fmla="*/ 2147483646 h 784"/>
                  <a:gd name="T4" fmla="*/ 2147483646 w 712"/>
                  <a:gd name="T5" fmla="*/ 2147483646 h 784"/>
                  <a:gd name="T6" fmla="*/ 2147483646 w 712"/>
                  <a:gd name="T7" fmla="*/ 2147483646 h 784"/>
                  <a:gd name="T8" fmla="*/ 2147483646 w 712"/>
                  <a:gd name="T9" fmla="*/ 2147483646 h 784"/>
                  <a:gd name="T10" fmla="*/ 2147483646 w 712"/>
                  <a:gd name="T11" fmla="*/ 2147483646 h 784"/>
                  <a:gd name="T12" fmla="*/ 2147483646 w 712"/>
                  <a:gd name="T13" fmla="*/ 2147483646 h 784"/>
                  <a:gd name="T14" fmla="*/ 2147483646 w 712"/>
                  <a:gd name="T15" fmla="*/ 2147483646 h 784"/>
                  <a:gd name="T16" fmla="*/ 2147483646 w 712"/>
                  <a:gd name="T17" fmla="*/ 2147483646 h 784"/>
                  <a:gd name="T18" fmla="*/ 2147483646 w 712"/>
                  <a:gd name="T19" fmla="*/ 2147483646 h 784"/>
                  <a:gd name="T20" fmla="*/ 2147483646 w 712"/>
                  <a:gd name="T21" fmla="*/ 2147483646 h 784"/>
                  <a:gd name="T22" fmla="*/ 2147483646 w 712"/>
                  <a:gd name="T23" fmla="*/ 2147483646 h 784"/>
                  <a:gd name="T24" fmla="*/ 2147483646 w 712"/>
                  <a:gd name="T25" fmla="*/ 2147483646 h 784"/>
                  <a:gd name="T26" fmla="*/ 2147483646 w 712"/>
                  <a:gd name="T27" fmla="*/ 2147483646 h 784"/>
                  <a:gd name="T28" fmla="*/ 2147483646 w 712"/>
                  <a:gd name="T29" fmla="*/ 2147483646 h 784"/>
                  <a:gd name="T30" fmla="*/ 2147483646 w 712"/>
                  <a:gd name="T31" fmla="*/ 2147483646 h 784"/>
                  <a:gd name="T32" fmla="*/ 2147483646 w 712"/>
                  <a:gd name="T33" fmla="*/ 2147483646 h 784"/>
                  <a:gd name="T34" fmla="*/ 2147483646 w 712"/>
                  <a:gd name="T35" fmla="*/ 2147483646 h 784"/>
                  <a:gd name="T36" fmla="*/ 2147483646 w 712"/>
                  <a:gd name="T37" fmla="*/ 2147483646 h 784"/>
                  <a:gd name="T38" fmla="*/ 2147483646 w 712"/>
                  <a:gd name="T39" fmla="*/ 2147483646 h 784"/>
                  <a:gd name="T40" fmla="*/ 2147483646 w 712"/>
                  <a:gd name="T41" fmla="*/ 2147483646 h 784"/>
                  <a:gd name="T42" fmla="*/ 2147483646 w 712"/>
                  <a:gd name="T43" fmla="*/ 2147483646 h 784"/>
                  <a:gd name="T44" fmla="*/ 2147483646 w 712"/>
                  <a:gd name="T45" fmla="*/ 2147483646 h 784"/>
                  <a:gd name="T46" fmla="*/ 2147483646 w 712"/>
                  <a:gd name="T47" fmla="*/ 2147483646 h 784"/>
                  <a:gd name="T48" fmla="*/ 2147483646 w 712"/>
                  <a:gd name="T49" fmla="*/ 2147483646 h 784"/>
                  <a:gd name="T50" fmla="*/ 2147483646 w 712"/>
                  <a:gd name="T51" fmla="*/ 2147483646 h 784"/>
                  <a:gd name="T52" fmla="*/ 2147483646 w 712"/>
                  <a:gd name="T53" fmla="*/ 2147483646 h 784"/>
                  <a:gd name="T54" fmla="*/ 2147483646 w 712"/>
                  <a:gd name="T55" fmla="*/ 2147483646 h 784"/>
                  <a:gd name="T56" fmla="*/ 2147483646 w 712"/>
                  <a:gd name="T57" fmla="*/ 2147483646 h 784"/>
                  <a:gd name="T58" fmla="*/ 2147483646 w 712"/>
                  <a:gd name="T59" fmla="*/ 2147483646 h 784"/>
                  <a:gd name="T60" fmla="*/ 2147483646 w 712"/>
                  <a:gd name="T61" fmla="*/ 2147483646 h 784"/>
                  <a:gd name="T62" fmla="*/ 2147483646 w 712"/>
                  <a:gd name="T63" fmla="*/ 2147483646 h 784"/>
                  <a:gd name="T64" fmla="*/ 2147483646 w 712"/>
                  <a:gd name="T65" fmla="*/ 2147483646 h 784"/>
                  <a:gd name="T66" fmla="*/ 2147483646 w 712"/>
                  <a:gd name="T67" fmla="*/ 2147483646 h 784"/>
                  <a:gd name="T68" fmla="*/ 2147483646 w 712"/>
                  <a:gd name="T69" fmla="*/ 2147483646 h 784"/>
                  <a:gd name="T70" fmla="*/ 2147483646 w 712"/>
                  <a:gd name="T71" fmla="*/ 2147483646 h 784"/>
                  <a:gd name="T72" fmla="*/ 2147483646 w 712"/>
                  <a:gd name="T73" fmla="*/ 2147483646 h 784"/>
                  <a:gd name="T74" fmla="*/ 2147483646 w 712"/>
                  <a:gd name="T75" fmla="*/ 2147483646 h 784"/>
                  <a:gd name="T76" fmla="*/ 2147483646 w 712"/>
                  <a:gd name="T77" fmla="*/ 2147483646 h 784"/>
                  <a:gd name="T78" fmla="*/ 2147483646 w 712"/>
                  <a:gd name="T79" fmla="*/ 2147483646 h 784"/>
                  <a:gd name="T80" fmla="*/ 2147483646 w 712"/>
                  <a:gd name="T81" fmla="*/ 2147483646 h 784"/>
                  <a:gd name="T82" fmla="*/ 2147483646 w 712"/>
                  <a:gd name="T83" fmla="*/ 2147483646 h 784"/>
                  <a:gd name="T84" fmla="*/ 2147483646 w 712"/>
                  <a:gd name="T85" fmla="*/ 2147483646 h 784"/>
                  <a:gd name="T86" fmla="*/ 2147483646 w 712"/>
                  <a:gd name="T87" fmla="*/ 2147483646 h 784"/>
                  <a:gd name="T88" fmla="*/ 2147483646 w 712"/>
                  <a:gd name="T89" fmla="*/ 2147483646 h 784"/>
                  <a:gd name="T90" fmla="*/ 0 w 712"/>
                  <a:gd name="T91" fmla="*/ 2147483646 h 784"/>
                  <a:gd name="T92" fmla="*/ 2147483646 w 712"/>
                  <a:gd name="T93" fmla="*/ 2147483646 h 784"/>
                  <a:gd name="T94" fmla="*/ 2147483646 w 712"/>
                  <a:gd name="T95" fmla="*/ 0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2"/>
                  <a:gd name="T145" fmla="*/ 0 h 784"/>
                  <a:gd name="T146" fmla="*/ 712 w 712"/>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2" h="784">
                    <a:moveTo>
                      <a:pt x="72" y="0"/>
                    </a:moveTo>
                    <a:lnTo>
                      <a:pt x="96" y="24"/>
                    </a:lnTo>
                    <a:lnTo>
                      <a:pt x="144" y="8"/>
                    </a:lnTo>
                    <a:lnTo>
                      <a:pt x="184" y="96"/>
                    </a:lnTo>
                    <a:lnTo>
                      <a:pt x="248" y="64"/>
                    </a:lnTo>
                    <a:lnTo>
                      <a:pt x="272" y="72"/>
                    </a:lnTo>
                    <a:lnTo>
                      <a:pt x="368" y="80"/>
                    </a:lnTo>
                    <a:lnTo>
                      <a:pt x="392" y="112"/>
                    </a:lnTo>
                    <a:lnTo>
                      <a:pt x="448" y="96"/>
                    </a:lnTo>
                    <a:lnTo>
                      <a:pt x="440" y="144"/>
                    </a:lnTo>
                    <a:lnTo>
                      <a:pt x="456" y="160"/>
                    </a:lnTo>
                    <a:lnTo>
                      <a:pt x="496" y="112"/>
                    </a:lnTo>
                    <a:lnTo>
                      <a:pt x="544" y="136"/>
                    </a:lnTo>
                    <a:lnTo>
                      <a:pt x="600" y="120"/>
                    </a:lnTo>
                    <a:lnTo>
                      <a:pt x="648" y="96"/>
                    </a:lnTo>
                    <a:lnTo>
                      <a:pt x="648" y="136"/>
                    </a:lnTo>
                    <a:lnTo>
                      <a:pt x="616" y="160"/>
                    </a:lnTo>
                    <a:lnTo>
                      <a:pt x="632" y="208"/>
                    </a:lnTo>
                    <a:lnTo>
                      <a:pt x="712" y="264"/>
                    </a:lnTo>
                    <a:lnTo>
                      <a:pt x="704" y="328"/>
                    </a:lnTo>
                    <a:lnTo>
                      <a:pt x="648" y="344"/>
                    </a:lnTo>
                    <a:lnTo>
                      <a:pt x="640" y="392"/>
                    </a:lnTo>
                    <a:lnTo>
                      <a:pt x="576" y="408"/>
                    </a:lnTo>
                    <a:lnTo>
                      <a:pt x="568" y="456"/>
                    </a:lnTo>
                    <a:lnTo>
                      <a:pt x="520" y="480"/>
                    </a:lnTo>
                    <a:lnTo>
                      <a:pt x="520" y="528"/>
                    </a:lnTo>
                    <a:lnTo>
                      <a:pt x="456" y="552"/>
                    </a:lnTo>
                    <a:lnTo>
                      <a:pt x="448" y="616"/>
                    </a:lnTo>
                    <a:lnTo>
                      <a:pt x="472" y="688"/>
                    </a:lnTo>
                    <a:lnTo>
                      <a:pt x="448" y="784"/>
                    </a:lnTo>
                    <a:lnTo>
                      <a:pt x="432" y="776"/>
                    </a:lnTo>
                    <a:lnTo>
                      <a:pt x="384" y="704"/>
                    </a:lnTo>
                    <a:lnTo>
                      <a:pt x="328" y="656"/>
                    </a:lnTo>
                    <a:lnTo>
                      <a:pt x="304" y="472"/>
                    </a:lnTo>
                    <a:lnTo>
                      <a:pt x="272" y="432"/>
                    </a:lnTo>
                    <a:lnTo>
                      <a:pt x="272" y="384"/>
                    </a:lnTo>
                    <a:lnTo>
                      <a:pt x="200" y="400"/>
                    </a:lnTo>
                    <a:lnTo>
                      <a:pt x="152" y="344"/>
                    </a:lnTo>
                    <a:lnTo>
                      <a:pt x="184" y="336"/>
                    </a:lnTo>
                    <a:lnTo>
                      <a:pt x="184" y="312"/>
                    </a:lnTo>
                    <a:lnTo>
                      <a:pt x="136" y="280"/>
                    </a:lnTo>
                    <a:lnTo>
                      <a:pt x="128" y="208"/>
                    </a:lnTo>
                    <a:lnTo>
                      <a:pt x="56" y="208"/>
                    </a:lnTo>
                    <a:lnTo>
                      <a:pt x="16" y="176"/>
                    </a:lnTo>
                    <a:lnTo>
                      <a:pt x="32" y="128"/>
                    </a:lnTo>
                    <a:lnTo>
                      <a:pt x="0" y="56"/>
                    </a:lnTo>
                    <a:lnTo>
                      <a:pt x="32" y="16"/>
                    </a:lnTo>
                    <a:lnTo>
                      <a:pt x="72" y="0"/>
                    </a:lnTo>
                    <a:close/>
                  </a:path>
                </a:pathLst>
              </a:custGeom>
              <a:solidFill>
                <a:srgbClr val="C6CFEB"/>
              </a:solidFill>
              <a:ln w="9525">
                <a:solidFill>
                  <a:schemeClr val="bg1"/>
                </a:solidFill>
                <a:round/>
                <a:headEnd/>
                <a:tailEnd/>
              </a:ln>
            </p:spPr>
            <p:txBody>
              <a:bodyPr/>
              <a:lstStyle/>
              <a:p>
                <a:endParaRPr lang="en-US" sz="1050"/>
              </a:p>
            </p:txBody>
          </p:sp>
          <p:sp>
            <p:nvSpPr>
              <p:cNvPr id="117" name="Freeform 116"/>
              <p:cNvSpPr>
                <a:spLocks/>
              </p:cNvSpPr>
              <p:nvPr/>
            </p:nvSpPr>
            <p:spPr bwMode="auto">
              <a:xfrm>
                <a:off x="4175093" y="3962369"/>
                <a:ext cx="697699" cy="598580"/>
              </a:xfrm>
              <a:custGeom>
                <a:avLst/>
                <a:gdLst>
                  <a:gd name="T0" fmla="*/ 0 w 592"/>
                  <a:gd name="T1" fmla="*/ 2147483646 h 552"/>
                  <a:gd name="T2" fmla="*/ 2147483646 w 592"/>
                  <a:gd name="T3" fmla="*/ 2147483646 h 552"/>
                  <a:gd name="T4" fmla="*/ 0 w 592"/>
                  <a:gd name="T5" fmla="*/ 2147483646 h 552"/>
                  <a:gd name="T6" fmla="*/ 2147483646 w 592"/>
                  <a:gd name="T7" fmla="*/ 2147483646 h 552"/>
                  <a:gd name="T8" fmla="*/ 2147483646 w 592"/>
                  <a:gd name="T9" fmla="*/ 2147483646 h 552"/>
                  <a:gd name="T10" fmla="*/ 2147483646 w 592"/>
                  <a:gd name="T11" fmla="*/ 2147483646 h 552"/>
                  <a:gd name="T12" fmla="*/ 2147483646 w 592"/>
                  <a:gd name="T13" fmla="*/ 2147483646 h 552"/>
                  <a:gd name="T14" fmla="*/ 2147483646 w 592"/>
                  <a:gd name="T15" fmla="*/ 2147483646 h 552"/>
                  <a:gd name="T16" fmla="*/ 2147483646 w 592"/>
                  <a:gd name="T17" fmla="*/ 2147483646 h 552"/>
                  <a:gd name="T18" fmla="*/ 2147483646 w 592"/>
                  <a:gd name="T19" fmla="*/ 2147483646 h 552"/>
                  <a:gd name="T20" fmla="*/ 2147483646 w 592"/>
                  <a:gd name="T21" fmla="*/ 2147483646 h 552"/>
                  <a:gd name="T22" fmla="*/ 2147483646 w 592"/>
                  <a:gd name="T23" fmla="*/ 2147483646 h 552"/>
                  <a:gd name="T24" fmla="*/ 2147483646 w 592"/>
                  <a:gd name="T25" fmla="*/ 2147483646 h 552"/>
                  <a:gd name="T26" fmla="*/ 2147483646 w 592"/>
                  <a:gd name="T27" fmla="*/ 2147483646 h 552"/>
                  <a:gd name="T28" fmla="*/ 2147483646 w 592"/>
                  <a:gd name="T29" fmla="*/ 0 h 552"/>
                  <a:gd name="T30" fmla="*/ 2147483646 w 592"/>
                  <a:gd name="T31" fmla="*/ 2147483646 h 552"/>
                  <a:gd name="T32" fmla="*/ 2147483646 w 592"/>
                  <a:gd name="T33" fmla="*/ 2147483646 h 552"/>
                  <a:gd name="T34" fmla="*/ 2147483646 w 592"/>
                  <a:gd name="T35" fmla="*/ 2147483646 h 552"/>
                  <a:gd name="T36" fmla="*/ 2147483646 w 592"/>
                  <a:gd name="T37" fmla="*/ 2147483646 h 552"/>
                  <a:gd name="T38" fmla="*/ 2147483646 w 592"/>
                  <a:gd name="T39" fmla="*/ 2147483646 h 552"/>
                  <a:gd name="T40" fmla="*/ 2147483646 w 592"/>
                  <a:gd name="T41" fmla="*/ 2147483646 h 552"/>
                  <a:gd name="T42" fmla="*/ 2147483646 w 592"/>
                  <a:gd name="T43" fmla="*/ 2147483646 h 552"/>
                  <a:gd name="T44" fmla="*/ 2147483646 w 592"/>
                  <a:gd name="T45" fmla="*/ 2147483646 h 552"/>
                  <a:gd name="T46" fmla="*/ 2147483646 w 592"/>
                  <a:gd name="T47" fmla="*/ 2147483646 h 552"/>
                  <a:gd name="T48" fmla="*/ 2147483646 w 592"/>
                  <a:gd name="T49" fmla="*/ 2147483646 h 552"/>
                  <a:gd name="T50" fmla="*/ 2147483646 w 592"/>
                  <a:gd name="T51" fmla="*/ 2147483646 h 552"/>
                  <a:gd name="T52" fmla="*/ 2147483646 w 592"/>
                  <a:gd name="T53" fmla="*/ 2147483646 h 552"/>
                  <a:gd name="T54" fmla="*/ 2147483646 w 592"/>
                  <a:gd name="T55" fmla="*/ 2147483646 h 552"/>
                  <a:gd name="T56" fmla="*/ 2147483646 w 592"/>
                  <a:gd name="T57" fmla="*/ 2147483646 h 552"/>
                  <a:gd name="T58" fmla="*/ 2147483646 w 592"/>
                  <a:gd name="T59" fmla="*/ 2147483646 h 552"/>
                  <a:gd name="T60" fmla="*/ 2147483646 w 592"/>
                  <a:gd name="T61" fmla="*/ 2147483646 h 552"/>
                  <a:gd name="T62" fmla="*/ 0 w 592"/>
                  <a:gd name="T63" fmla="*/ 2147483646 h 5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2"/>
                  <a:gd name="T97" fmla="*/ 0 h 552"/>
                  <a:gd name="T98" fmla="*/ 592 w 592"/>
                  <a:gd name="T99" fmla="*/ 552 h 5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2" h="552">
                    <a:moveTo>
                      <a:pt x="0" y="552"/>
                    </a:moveTo>
                    <a:lnTo>
                      <a:pt x="24" y="456"/>
                    </a:lnTo>
                    <a:lnTo>
                      <a:pt x="0" y="384"/>
                    </a:lnTo>
                    <a:lnTo>
                      <a:pt x="8" y="320"/>
                    </a:lnTo>
                    <a:lnTo>
                      <a:pt x="72" y="296"/>
                    </a:lnTo>
                    <a:lnTo>
                      <a:pt x="72" y="248"/>
                    </a:lnTo>
                    <a:lnTo>
                      <a:pt x="120" y="224"/>
                    </a:lnTo>
                    <a:lnTo>
                      <a:pt x="128" y="176"/>
                    </a:lnTo>
                    <a:lnTo>
                      <a:pt x="192" y="160"/>
                    </a:lnTo>
                    <a:lnTo>
                      <a:pt x="200" y="112"/>
                    </a:lnTo>
                    <a:lnTo>
                      <a:pt x="256" y="96"/>
                    </a:lnTo>
                    <a:lnTo>
                      <a:pt x="264" y="32"/>
                    </a:lnTo>
                    <a:lnTo>
                      <a:pt x="320" y="24"/>
                    </a:lnTo>
                    <a:lnTo>
                      <a:pt x="384" y="32"/>
                    </a:lnTo>
                    <a:lnTo>
                      <a:pt x="464" y="0"/>
                    </a:lnTo>
                    <a:lnTo>
                      <a:pt x="472" y="56"/>
                    </a:lnTo>
                    <a:lnTo>
                      <a:pt x="456" y="112"/>
                    </a:lnTo>
                    <a:lnTo>
                      <a:pt x="488" y="136"/>
                    </a:lnTo>
                    <a:lnTo>
                      <a:pt x="536" y="120"/>
                    </a:lnTo>
                    <a:lnTo>
                      <a:pt x="592" y="136"/>
                    </a:lnTo>
                    <a:lnTo>
                      <a:pt x="592" y="176"/>
                    </a:lnTo>
                    <a:lnTo>
                      <a:pt x="544" y="216"/>
                    </a:lnTo>
                    <a:lnTo>
                      <a:pt x="504" y="208"/>
                    </a:lnTo>
                    <a:lnTo>
                      <a:pt x="520" y="240"/>
                    </a:lnTo>
                    <a:lnTo>
                      <a:pt x="472" y="256"/>
                    </a:lnTo>
                    <a:lnTo>
                      <a:pt x="536" y="312"/>
                    </a:lnTo>
                    <a:lnTo>
                      <a:pt x="464" y="328"/>
                    </a:lnTo>
                    <a:lnTo>
                      <a:pt x="480" y="464"/>
                    </a:lnTo>
                    <a:lnTo>
                      <a:pt x="400" y="488"/>
                    </a:lnTo>
                    <a:lnTo>
                      <a:pt x="264" y="480"/>
                    </a:lnTo>
                    <a:lnTo>
                      <a:pt x="136" y="504"/>
                    </a:lnTo>
                    <a:lnTo>
                      <a:pt x="0" y="552"/>
                    </a:lnTo>
                    <a:close/>
                  </a:path>
                </a:pathLst>
              </a:custGeom>
              <a:solidFill>
                <a:srgbClr val="4670F8"/>
              </a:solidFill>
              <a:ln w="9525">
                <a:solidFill>
                  <a:schemeClr val="bg1"/>
                </a:solidFill>
                <a:round/>
                <a:headEnd/>
                <a:tailEnd/>
              </a:ln>
            </p:spPr>
            <p:txBody>
              <a:bodyPr/>
              <a:lstStyle/>
              <a:p>
                <a:endParaRPr lang="en-US" sz="1050"/>
              </a:p>
            </p:txBody>
          </p:sp>
          <p:sp>
            <p:nvSpPr>
              <p:cNvPr id="118" name="Freeform 117"/>
              <p:cNvSpPr>
                <a:spLocks/>
              </p:cNvSpPr>
              <p:nvPr/>
            </p:nvSpPr>
            <p:spPr bwMode="auto">
              <a:xfrm>
                <a:off x="4721938" y="4049120"/>
                <a:ext cx="791982" cy="572555"/>
              </a:xfrm>
              <a:custGeom>
                <a:avLst/>
                <a:gdLst>
                  <a:gd name="T0" fmla="*/ 2147483646 w 672"/>
                  <a:gd name="T1" fmla="*/ 2147483646 h 528"/>
                  <a:gd name="T2" fmla="*/ 0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0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2147483646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72"/>
                  <a:gd name="T118" fmla="*/ 0 h 528"/>
                  <a:gd name="T119" fmla="*/ 672 w 672"/>
                  <a:gd name="T120" fmla="*/ 528 h 5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72" h="528">
                    <a:moveTo>
                      <a:pt x="16" y="384"/>
                    </a:moveTo>
                    <a:lnTo>
                      <a:pt x="0" y="248"/>
                    </a:lnTo>
                    <a:lnTo>
                      <a:pt x="72" y="232"/>
                    </a:lnTo>
                    <a:lnTo>
                      <a:pt x="8" y="176"/>
                    </a:lnTo>
                    <a:lnTo>
                      <a:pt x="56" y="160"/>
                    </a:lnTo>
                    <a:lnTo>
                      <a:pt x="40" y="128"/>
                    </a:lnTo>
                    <a:lnTo>
                      <a:pt x="80" y="136"/>
                    </a:lnTo>
                    <a:lnTo>
                      <a:pt x="128" y="96"/>
                    </a:lnTo>
                    <a:lnTo>
                      <a:pt x="128" y="56"/>
                    </a:lnTo>
                    <a:lnTo>
                      <a:pt x="208" y="24"/>
                    </a:lnTo>
                    <a:lnTo>
                      <a:pt x="216" y="0"/>
                    </a:lnTo>
                    <a:lnTo>
                      <a:pt x="264" y="32"/>
                    </a:lnTo>
                    <a:lnTo>
                      <a:pt x="288" y="16"/>
                    </a:lnTo>
                    <a:lnTo>
                      <a:pt x="336" y="56"/>
                    </a:lnTo>
                    <a:lnTo>
                      <a:pt x="336" y="88"/>
                    </a:lnTo>
                    <a:lnTo>
                      <a:pt x="432" y="112"/>
                    </a:lnTo>
                    <a:lnTo>
                      <a:pt x="416" y="176"/>
                    </a:lnTo>
                    <a:lnTo>
                      <a:pt x="456" y="224"/>
                    </a:lnTo>
                    <a:lnTo>
                      <a:pt x="424" y="240"/>
                    </a:lnTo>
                    <a:lnTo>
                      <a:pt x="440" y="288"/>
                    </a:lnTo>
                    <a:lnTo>
                      <a:pt x="488" y="312"/>
                    </a:lnTo>
                    <a:lnTo>
                      <a:pt x="536" y="304"/>
                    </a:lnTo>
                    <a:lnTo>
                      <a:pt x="608" y="336"/>
                    </a:lnTo>
                    <a:lnTo>
                      <a:pt x="672" y="408"/>
                    </a:lnTo>
                    <a:lnTo>
                      <a:pt x="656" y="480"/>
                    </a:lnTo>
                    <a:lnTo>
                      <a:pt x="592" y="440"/>
                    </a:lnTo>
                    <a:lnTo>
                      <a:pt x="552" y="512"/>
                    </a:lnTo>
                    <a:lnTo>
                      <a:pt x="472" y="472"/>
                    </a:lnTo>
                    <a:lnTo>
                      <a:pt x="432" y="472"/>
                    </a:lnTo>
                    <a:lnTo>
                      <a:pt x="416" y="488"/>
                    </a:lnTo>
                    <a:lnTo>
                      <a:pt x="384" y="472"/>
                    </a:lnTo>
                    <a:lnTo>
                      <a:pt x="376" y="504"/>
                    </a:lnTo>
                    <a:lnTo>
                      <a:pt x="336" y="480"/>
                    </a:lnTo>
                    <a:lnTo>
                      <a:pt x="296" y="528"/>
                    </a:lnTo>
                    <a:lnTo>
                      <a:pt x="248" y="488"/>
                    </a:lnTo>
                    <a:lnTo>
                      <a:pt x="256" y="448"/>
                    </a:lnTo>
                    <a:lnTo>
                      <a:pt x="160" y="392"/>
                    </a:lnTo>
                    <a:lnTo>
                      <a:pt x="64" y="376"/>
                    </a:lnTo>
                    <a:lnTo>
                      <a:pt x="16" y="384"/>
                    </a:lnTo>
                    <a:close/>
                  </a:path>
                </a:pathLst>
              </a:custGeom>
              <a:solidFill>
                <a:srgbClr val="4670F8"/>
              </a:solidFill>
              <a:ln w="9525">
                <a:solidFill>
                  <a:schemeClr val="bg1"/>
                </a:solidFill>
                <a:round/>
                <a:headEnd/>
                <a:tailEnd/>
              </a:ln>
            </p:spPr>
            <p:txBody>
              <a:bodyPr/>
              <a:lstStyle/>
              <a:p>
                <a:endParaRPr lang="en-US" sz="1050"/>
              </a:p>
            </p:txBody>
          </p:sp>
          <p:sp>
            <p:nvSpPr>
              <p:cNvPr id="119" name="Freeform 118"/>
              <p:cNvSpPr>
                <a:spLocks/>
              </p:cNvSpPr>
              <p:nvPr/>
            </p:nvSpPr>
            <p:spPr bwMode="auto">
              <a:xfrm>
                <a:off x="5117929" y="3979720"/>
                <a:ext cx="546845" cy="511830"/>
              </a:xfrm>
              <a:custGeom>
                <a:avLst/>
                <a:gdLst>
                  <a:gd name="T0" fmla="*/ 2147483646 w 464"/>
                  <a:gd name="T1" fmla="*/ 2147483646 h 472"/>
                  <a:gd name="T2" fmla="*/ 2147483646 w 464"/>
                  <a:gd name="T3" fmla="*/ 2147483646 h 472"/>
                  <a:gd name="T4" fmla="*/ 2147483646 w 464"/>
                  <a:gd name="T5" fmla="*/ 2147483646 h 472"/>
                  <a:gd name="T6" fmla="*/ 2147483646 w 464"/>
                  <a:gd name="T7" fmla="*/ 2147483646 h 472"/>
                  <a:gd name="T8" fmla="*/ 2147483646 w 464"/>
                  <a:gd name="T9" fmla="*/ 2147483646 h 472"/>
                  <a:gd name="T10" fmla="*/ 2147483646 w 464"/>
                  <a:gd name="T11" fmla="*/ 2147483646 h 472"/>
                  <a:gd name="T12" fmla="*/ 2147483646 w 464"/>
                  <a:gd name="T13" fmla="*/ 2147483646 h 472"/>
                  <a:gd name="T14" fmla="*/ 2147483646 w 464"/>
                  <a:gd name="T15" fmla="*/ 2147483646 h 472"/>
                  <a:gd name="T16" fmla="*/ 2147483646 w 464"/>
                  <a:gd name="T17" fmla="*/ 2147483646 h 472"/>
                  <a:gd name="T18" fmla="*/ 0 w 464"/>
                  <a:gd name="T19" fmla="*/ 2147483646 h 472"/>
                  <a:gd name="T20" fmla="*/ 0 w 464"/>
                  <a:gd name="T21" fmla="*/ 2147483646 h 472"/>
                  <a:gd name="T22" fmla="*/ 2147483646 w 464"/>
                  <a:gd name="T23" fmla="*/ 2147483646 h 472"/>
                  <a:gd name="T24" fmla="*/ 2147483646 w 464"/>
                  <a:gd name="T25" fmla="*/ 0 h 472"/>
                  <a:gd name="T26" fmla="*/ 2147483646 w 464"/>
                  <a:gd name="T27" fmla="*/ 2147483646 h 472"/>
                  <a:gd name="T28" fmla="*/ 2147483646 w 464"/>
                  <a:gd name="T29" fmla="*/ 2147483646 h 472"/>
                  <a:gd name="T30" fmla="*/ 2147483646 w 464"/>
                  <a:gd name="T31" fmla="*/ 2147483646 h 472"/>
                  <a:gd name="T32" fmla="*/ 2147483646 w 464"/>
                  <a:gd name="T33" fmla="*/ 2147483646 h 472"/>
                  <a:gd name="T34" fmla="*/ 2147483646 w 464"/>
                  <a:gd name="T35" fmla="*/ 2147483646 h 472"/>
                  <a:gd name="T36" fmla="*/ 2147483646 w 464"/>
                  <a:gd name="T37" fmla="*/ 2147483646 h 472"/>
                  <a:gd name="T38" fmla="*/ 2147483646 w 464"/>
                  <a:gd name="T39" fmla="*/ 2147483646 h 472"/>
                  <a:gd name="T40" fmla="*/ 2147483646 w 464"/>
                  <a:gd name="T41" fmla="*/ 2147483646 h 472"/>
                  <a:gd name="T42" fmla="*/ 2147483646 w 464"/>
                  <a:gd name="T43" fmla="*/ 2147483646 h 472"/>
                  <a:gd name="T44" fmla="*/ 2147483646 w 464"/>
                  <a:gd name="T45" fmla="*/ 2147483646 h 472"/>
                  <a:gd name="T46" fmla="*/ 2147483646 w 464"/>
                  <a:gd name="T47" fmla="*/ 2147483646 h 472"/>
                  <a:gd name="T48" fmla="*/ 2147483646 w 464"/>
                  <a:gd name="T49" fmla="*/ 2147483646 h 472"/>
                  <a:gd name="T50" fmla="*/ 2147483646 w 464"/>
                  <a:gd name="T51" fmla="*/ 2147483646 h 472"/>
                  <a:gd name="T52" fmla="*/ 2147483646 w 464"/>
                  <a:gd name="T53" fmla="*/ 2147483646 h 472"/>
                  <a:gd name="T54" fmla="*/ 2147483646 w 464"/>
                  <a:gd name="T55" fmla="*/ 2147483646 h 472"/>
                  <a:gd name="T56" fmla="*/ 2147483646 w 464"/>
                  <a:gd name="T57" fmla="*/ 2147483646 h 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4"/>
                  <a:gd name="T88" fmla="*/ 0 h 472"/>
                  <a:gd name="T89" fmla="*/ 464 w 464"/>
                  <a:gd name="T90" fmla="*/ 472 h 4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4" h="472">
                    <a:moveTo>
                      <a:pt x="336" y="472"/>
                    </a:moveTo>
                    <a:lnTo>
                      <a:pt x="272" y="400"/>
                    </a:lnTo>
                    <a:lnTo>
                      <a:pt x="200" y="368"/>
                    </a:lnTo>
                    <a:lnTo>
                      <a:pt x="152" y="376"/>
                    </a:lnTo>
                    <a:lnTo>
                      <a:pt x="104" y="352"/>
                    </a:lnTo>
                    <a:lnTo>
                      <a:pt x="88" y="304"/>
                    </a:lnTo>
                    <a:lnTo>
                      <a:pt x="120" y="288"/>
                    </a:lnTo>
                    <a:lnTo>
                      <a:pt x="80" y="240"/>
                    </a:lnTo>
                    <a:lnTo>
                      <a:pt x="96" y="176"/>
                    </a:lnTo>
                    <a:lnTo>
                      <a:pt x="0" y="152"/>
                    </a:lnTo>
                    <a:lnTo>
                      <a:pt x="0" y="120"/>
                    </a:lnTo>
                    <a:lnTo>
                      <a:pt x="56" y="32"/>
                    </a:lnTo>
                    <a:lnTo>
                      <a:pt x="112" y="0"/>
                    </a:lnTo>
                    <a:lnTo>
                      <a:pt x="136" y="80"/>
                    </a:lnTo>
                    <a:lnTo>
                      <a:pt x="184" y="128"/>
                    </a:lnTo>
                    <a:lnTo>
                      <a:pt x="360" y="112"/>
                    </a:lnTo>
                    <a:lnTo>
                      <a:pt x="392" y="48"/>
                    </a:lnTo>
                    <a:lnTo>
                      <a:pt x="424" y="48"/>
                    </a:lnTo>
                    <a:lnTo>
                      <a:pt x="432" y="112"/>
                    </a:lnTo>
                    <a:lnTo>
                      <a:pt x="464" y="152"/>
                    </a:lnTo>
                    <a:lnTo>
                      <a:pt x="456" y="216"/>
                    </a:lnTo>
                    <a:lnTo>
                      <a:pt x="464" y="320"/>
                    </a:lnTo>
                    <a:lnTo>
                      <a:pt x="464" y="384"/>
                    </a:lnTo>
                    <a:lnTo>
                      <a:pt x="432" y="400"/>
                    </a:lnTo>
                    <a:lnTo>
                      <a:pt x="440" y="456"/>
                    </a:lnTo>
                    <a:lnTo>
                      <a:pt x="408" y="472"/>
                    </a:lnTo>
                    <a:lnTo>
                      <a:pt x="400" y="416"/>
                    </a:lnTo>
                    <a:lnTo>
                      <a:pt x="376" y="464"/>
                    </a:lnTo>
                    <a:lnTo>
                      <a:pt x="336" y="472"/>
                    </a:lnTo>
                    <a:close/>
                  </a:path>
                </a:pathLst>
              </a:custGeom>
              <a:solidFill>
                <a:srgbClr val="4670F8"/>
              </a:solidFill>
              <a:ln w="9525">
                <a:solidFill>
                  <a:schemeClr val="bg1"/>
                </a:solidFill>
                <a:round/>
                <a:headEnd/>
                <a:tailEnd/>
              </a:ln>
            </p:spPr>
            <p:txBody>
              <a:bodyPr/>
              <a:lstStyle/>
              <a:p>
                <a:endParaRPr lang="en-US" sz="1050"/>
              </a:p>
            </p:txBody>
          </p:sp>
          <p:sp>
            <p:nvSpPr>
              <p:cNvPr id="120" name="Freeform 119"/>
              <p:cNvSpPr>
                <a:spLocks/>
              </p:cNvSpPr>
              <p:nvPr/>
            </p:nvSpPr>
            <p:spPr bwMode="auto">
              <a:xfrm>
                <a:off x="5655345" y="4049120"/>
                <a:ext cx="641128" cy="581230"/>
              </a:xfrm>
              <a:custGeom>
                <a:avLst/>
                <a:gdLst>
                  <a:gd name="T0" fmla="*/ 2147483646 w 544"/>
                  <a:gd name="T1" fmla="*/ 2147483646 h 536"/>
                  <a:gd name="T2" fmla="*/ 0 w 544"/>
                  <a:gd name="T3" fmla="*/ 2147483646 h 536"/>
                  <a:gd name="T4" fmla="*/ 2147483646 w 544"/>
                  <a:gd name="T5" fmla="*/ 2147483646 h 536"/>
                  <a:gd name="T6" fmla="*/ 2147483646 w 544"/>
                  <a:gd name="T7" fmla="*/ 2147483646 h 536"/>
                  <a:gd name="T8" fmla="*/ 2147483646 w 544"/>
                  <a:gd name="T9" fmla="*/ 2147483646 h 536"/>
                  <a:gd name="T10" fmla="*/ 2147483646 w 544"/>
                  <a:gd name="T11" fmla="*/ 2147483646 h 536"/>
                  <a:gd name="T12" fmla="*/ 2147483646 w 544"/>
                  <a:gd name="T13" fmla="*/ 2147483646 h 536"/>
                  <a:gd name="T14" fmla="*/ 2147483646 w 544"/>
                  <a:gd name="T15" fmla="*/ 2147483646 h 536"/>
                  <a:gd name="T16" fmla="*/ 2147483646 w 544"/>
                  <a:gd name="T17" fmla="*/ 2147483646 h 536"/>
                  <a:gd name="T18" fmla="*/ 2147483646 w 544"/>
                  <a:gd name="T19" fmla="*/ 0 h 536"/>
                  <a:gd name="T20" fmla="*/ 2147483646 w 544"/>
                  <a:gd name="T21" fmla="*/ 2147483646 h 536"/>
                  <a:gd name="T22" fmla="*/ 2147483646 w 544"/>
                  <a:gd name="T23" fmla="*/ 2147483646 h 536"/>
                  <a:gd name="T24" fmla="*/ 2147483646 w 544"/>
                  <a:gd name="T25" fmla="*/ 2147483646 h 536"/>
                  <a:gd name="T26" fmla="*/ 2147483646 w 544"/>
                  <a:gd name="T27" fmla="*/ 2147483646 h 536"/>
                  <a:gd name="T28" fmla="*/ 2147483646 w 544"/>
                  <a:gd name="T29" fmla="*/ 2147483646 h 536"/>
                  <a:gd name="T30" fmla="*/ 2147483646 w 544"/>
                  <a:gd name="T31" fmla="*/ 2147483646 h 536"/>
                  <a:gd name="T32" fmla="*/ 2147483646 w 544"/>
                  <a:gd name="T33" fmla="*/ 2147483646 h 536"/>
                  <a:gd name="T34" fmla="*/ 2147483646 w 544"/>
                  <a:gd name="T35" fmla="*/ 2147483646 h 536"/>
                  <a:gd name="T36" fmla="*/ 2147483646 w 544"/>
                  <a:gd name="T37" fmla="*/ 2147483646 h 536"/>
                  <a:gd name="T38" fmla="*/ 2147483646 w 544"/>
                  <a:gd name="T39" fmla="*/ 2147483646 h 536"/>
                  <a:gd name="T40" fmla="*/ 2147483646 w 544"/>
                  <a:gd name="T41" fmla="*/ 2147483646 h 536"/>
                  <a:gd name="T42" fmla="*/ 2147483646 w 544"/>
                  <a:gd name="T43" fmla="*/ 2147483646 h 536"/>
                  <a:gd name="T44" fmla="*/ 2147483646 w 544"/>
                  <a:gd name="T45" fmla="*/ 2147483646 h 536"/>
                  <a:gd name="T46" fmla="*/ 2147483646 w 544"/>
                  <a:gd name="T47" fmla="*/ 2147483646 h 536"/>
                  <a:gd name="T48" fmla="*/ 2147483646 w 544"/>
                  <a:gd name="T49" fmla="*/ 2147483646 h 536"/>
                  <a:gd name="T50" fmla="*/ 2147483646 w 544"/>
                  <a:gd name="T51" fmla="*/ 2147483646 h 536"/>
                  <a:gd name="T52" fmla="*/ 2147483646 w 544"/>
                  <a:gd name="T53" fmla="*/ 2147483646 h 536"/>
                  <a:gd name="T54" fmla="*/ 2147483646 w 544"/>
                  <a:gd name="T55" fmla="*/ 2147483646 h 536"/>
                  <a:gd name="T56" fmla="*/ 2147483646 w 544"/>
                  <a:gd name="T57" fmla="*/ 2147483646 h 536"/>
                  <a:gd name="T58" fmla="*/ 2147483646 w 544"/>
                  <a:gd name="T59" fmla="*/ 2147483646 h 536"/>
                  <a:gd name="T60" fmla="*/ 2147483646 w 544"/>
                  <a:gd name="T61" fmla="*/ 2147483646 h 536"/>
                  <a:gd name="T62" fmla="*/ 2147483646 w 544"/>
                  <a:gd name="T63" fmla="*/ 2147483646 h 536"/>
                  <a:gd name="T64" fmla="*/ 2147483646 w 544"/>
                  <a:gd name="T65" fmla="*/ 2147483646 h 536"/>
                  <a:gd name="T66" fmla="*/ 2147483646 w 544"/>
                  <a:gd name="T67" fmla="*/ 2147483646 h 536"/>
                  <a:gd name="T68" fmla="*/ 2147483646 w 544"/>
                  <a:gd name="T69" fmla="*/ 2147483646 h 536"/>
                  <a:gd name="T70" fmla="*/ 2147483646 w 544"/>
                  <a:gd name="T71" fmla="*/ 2147483646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8" y="256"/>
                    </a:moveTo>
                    <a:lnTo>
                      <a:pt x="0" y="152"/>
                    </a:lnTo>
                    <a:lnTo>
                      <a:pt x="8" y="88"/>
                    </a:lnTo>
                    <a:lnTo>
                      <a:pt x="88" y="104"/>
                    </a:lnTo>
                    <a:lnTo>
                      <a:pt x="152" y="64"/>
                    </a:lnTo>
                    <a:lnTo>
                      <a:pt x="256" y="80"/>
                    </a:lnTo>
                    <a:lnTo>
                      <a:pt x="328" y="32"/>
                    </a:lnTo>
                    <a:lnTo>
                      <a:pt x="392" y="8"/>
                    </a:lnTo>
                    <a:lnTo>
                      <a:pt x="440" y="24"/>
                    </a:lnTo>
                    <a:lnTo>
                      <a:pt x="464" y="0"/>
                    </a:lnTo>
                    <a:lnTo>
                      <a:pt x="512" y="8"/>
                    </a:lnTo>
                    <a:lnTo>
                      <a:pt x="512" y="48"/>
                    </a:lnTo>
                    <a:lnTo>
                      <a:pt x="464" y="48"/>
                    </a:lnTo>
                    <a:lnTo>
                      <a:pt x="456" y="72"/>
                    </a:lnTo>
                    <a:lnTo>
                      <a:pt x="384" y="104"/>
                    </a:lnTo>
                    <a:lnTo>
                      <a:pt x="408" y="224"/>
                    </a:lnTo>
                    <a:lnTo>
                      <a:pt x="456" y="288"/>
                    </a:lnTo>
                    <a:lnTo>
                      <a:pt x="456" y="336"/>
                    </a:lnTo>
                    <a:lnTo>
                      <a:pt x="528" y="384"/>
                    </a:lnTo>
                    <a:lnTo>
                      <a:pt x="544" y="456"/>
                    </a:lnTo>
                    <a:lnTo>
                      <a:pt x="480" y="488"/>
                    </a:lnTo>
                    <a:lnTo>
                      <a:pt x="472" y="536"/>
                    </a:lnTo>
                    <a:lnTo>
                      <a:pt x="448" y="520"/>
                    </a:lnTo>
                    <a:lnTo>
                      <a:pt x="424" y="536"/>
                    </a:lnTo>
                    <a:lnTo>
                      <a:pt x="424" y="496"/>
                    </a:lnTo>
                    <a:lnTo>
                      <a:pt x="360" y="520"/>
                    </a:lnTo>
                    <a:lnTo>
                      <a:pt x="352" y="480"/>
                    </a:lnTo>
                    <a:lnTo>
                      <a:pt x="312" y="488"/>
                    </a:lnTo>
                    <a:lnTo>
                      <a:pt x="288" y="464"/>
                    </a:lnTo>
                    <a:lnTo>
                      <a:pt x="248" y="440"/>
                    </a:lnTo>
                    <a:lnTo>
                      <a:pt x="216" y="464"/>
                    </a:lnTo>
                    <a:lnTo>
                      <a:pt x="168" y="392"/>
                    </a:lnTo>
                    <a:lnTo>
                      <a:pt x="96" y="416"/>
                    </a:lnTo>
                    <a:lnTo>
                      <a:pt x="48" y="328"/>
                    </a:lnTo>
                    <a:lnTo>
                      <a:pt x="48" y="272"/>
                    </a:lnTo>
                    <a:lnTo>
                      <a:pt x="8" y="256"/>
                    </a:lnTo>
                    <a:close/>
                  </a:path>
                </a:pathLst>
              </a:custGeom>
              <a:solidFill>
                <a:srgbClr val="9950A8"/>
              </a:solidFill>
              <a:ln w="9525">
                <a:solidFill>
                  <a:schemeClr val="bg1"/>
                </a:solidFill>
                <a:round/>
                <a:headEnd/>
                <a:tailEnd/>
              </a:ln>
            </p:spPr>
            <p:txBody>
              <a:bodyPr/>
              <a:lstStyle/>
              <a:p>
                <a:endParaRPr lang="en-US" sz="1050"/>
              </a:p>
            </p:txBody>
          </p:sp>
          <p:sp>
            <p:nvSpPr>
              <p:cNvPr id="121" name="Freeform 120"/>
              <p:cNvSpPr>
                <a:spLocks/>
              </p:cNvSpPr>
              <p:nvPr/>
            </p:nvSpPr>
            <p:spPr bwMode="auto">
              <a:xfrm>
                <a:off x="6107906" y="4049120"/>
                <a:ext cx="546845" cy="581230"/>
              </a:xfrm>
              <a:custGeom>
                <a:avLst/>
                <a:gdLst>
                  <a:gd name="T0" fmla="*/ 2147483646 w 464"/>
                  <a:gd name="T1" fmla="*/ 2147483646 h 536"/>
                  <a:gd name="T2" fmla="*/ 2147483646 w 464"/>
                  <a:gd name="T3" fmla="*/ 2147483646 h 536"/>
                  <a:gd name="T4" fmla="*/ 2147483646 w 464"/>
                  <a:gd name="T5" fmla="*/ 2147483646 h 536"/>
                  <a:gd name="T6" fmla="*/ 2147483646 w 464"/>
                  <a:gd name="T7" fmla="*/ 2147483646 h 536"/>
                  <a:gd name="T8" fmla="*/ 2147483646 w 464"/>
                  <a:gd name="T9" fmla="*/ 2147483646 h 536"/>
                  <a:gd name="T10" fmla="*/ 0 w 464"/>
                  <a:gd name="T11" fmla="*/ 2147483646 h 536"/>
                  <a:gd name="T12" fmla="*/ 2147483646 w 464"/>
                  <a:gd name="T13" fmla="*/ 2147483646 h 536"/>
                  <a:gd name="T14" fmla="*/ 2147483646 w 464"/>
                  <a:gd name="T15" fmla="*/ 2147483646 h 536"/>
                  <a:gd name="T16" fmla="*/ 2147483646 w 464"/>
                  <a:gd name="T17" fmla="*/ 2147483646 h 536"/>
                  <a:gd name="T18" fmla="*/ 2147483646 w 464"/>
                  <a:gd name="T19" fmla="*/ 2147483646 h 536"/>
                  <a:gd name="T20" fmla="*/ 2147483646 w 464"/>
                  <a:gd name="T21" fmla="*/ 2147483646 h 536"/>
                  <a:gd name="T22" fmla="*/ 2147483646 w 464"/>
                  <a:gd name="T23" fmla="*/ 2147483646 h 536"/>
                  <a:gd name="T24" fmla="*/ 2147483646 w 464"/>
                  <a:gd name="T25" fmla="*/ 2147483646 h 536"/>
                  <a:gd name="T26" fmla="*/ 2147483646 w 464"/>
                  <a:gd name="T27" fmla="*/ 2147483646 h 536"/>
                  <a:gd name="T28" fmla="*/ 2147483646 w 464"/>
                  <a:gd name="T29" fmla="*/ 2147483646 h 536"/>
                  <a:gd name="T30" fmla="*/ 2147483646 w 464"/>
                  <a:gd name="T31" fmla="*/ 0 h 536"/>
                  <a:gd name="T32" fmla="*/ 2147483646 w 464"/>
                  <a:gd name="T33" fmla="*/ 2147483646 h 536"/>
                  <a:gd name="T34" fmla="*/ 2147483646 w 464"/>
                  <a:gd name="T35" fmla="*/ 2147483646 h 536"/>
                  <a:gd name="T36" fmla="*/ 2147483646 w 464"/>
                  <a:gd name="T37" fmla="*/ 2147483646 h 536"/>
                  <a:gd name="T38" fmla="*/ 2147483646 w 464"/>
                  <a:gd name="T39" fmla="*/ 2147483646 h 536"/>
                  <a:gd name="T40" fmla="*/ 2147483646 w 464"/>
                  <a:gd name="T41" fmla="*/ 2147483646 h 536"/>
                  <a:gd name="T42" fmla="*/ 2147483646 w 464"/>
                  <a:gd name="T43" fmla="*/ 2147483646 h 536"/>
                  <a:gd name="T44" fmla="*/ 2147483646 w 464"/>
                  <a:gd name="T45" fmla="*/ 2147483646 h 536"/>
                  <a:gd name="T46" fmla="*/ 2147483646 w 464"/>
                  <a:gd name="T47" fmla="*/ 2147483646 h 536"/>
                  <a:gd name="T48" fmla="*/ 2147483646 w 464"/>
                  <a:gd name="T49" fmla="*/ 2147483646 h 536"/>
                  <a:gd name="T50" fmla="*/ 2147483646 w 464"/>
                  <a:gd name="T51" fmla="*/ 2147483646 h 536"/>
                  <a:gd name="T52" fmla="*/ 2147483646 w 464"/>
                  <a:gd name="T53" fmla="*/ 2147483646 h 536"/>
                  <a:gd name="T54" fmla="*/ 2147483646 w 464"/>
                  <a:gd name="T55" fmla="*/ 2147483646 h 536"/>
                  <a:gd name="T56" fmla="*/ 2147483646 w 464"/>
                  <a:gd name="T57" fmla="*/ 2147483646 h 536"/>
                  <a:gd name="T58" fmla="*/ 2147483646 w 464"/>
                  <a:gd name="T59" fmla="*/ 2147483646 h 536"/>
                  <a:gd name="T60" fmla="*/ 2147483646 w 464"/>
                  <a:gd name="T61" fmla="*/ 2147483646 h 536"/>
                  <a:gd name="T62" fmla="*/ 2147483646 w 464"/>
                  <a:gd name="T63" fmla="*/ 2147483646 h 536"/>
                  <a:gd name="T64" fmla="*/ 2147483646 w 464"/>
                  <a:gd name="T65" fmla="*/ 2147483646 h 536"/>
                  <a:gd name="T66" fmla="*/ 2147483646 w 464"/>
                  <a:gd name="T67" fmla="*/ 2147483646 h 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536"/>
                  <a:gd name="T104" fmla="*/ 464 w 464"/>
                  <a:gd name="T105" fmla="*/ 536 h 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536">
                    <a:moveTo>
                      <a:pt x="160" y="456"/>
                    </a:moveTo>
                    <a:lnTo>
                      <a:pt x="144" y="384"/>
                    </a:lnTo>
                    <a:lnTo>
                      <a:pt x="72" y="336"/>
                    </a:lnTo>
                    <a:lnTo>
                      <a:pt x="72" y="288"/>
                    </a:lnTo>
                    <a:lnTo>
                      <a:pt x="24" y="224"/>
                    </a:lnTo>
                    <a:lnTo>
                      <a:pt x="0" y="104"/>
                    </a:lnTo>
                    <a:lnTo>
                      <a:pt x="72" y="72"/>
                    </a:lnTo>
                    <a:lnTo>
                      <a:pt x="80" y="48"/>
                    </a:lnTo>
                    <a:lnTo>
                      <a:pt x="128" y="48"/>
                    </a:lnTo>
                    <a:lnTo>
                      <a:pt x="152" y="56"/>
                    </a:lnTo>
                    <a:lnTo>
                      <a:pt x="152" y="88"/>
                    </a:lnTo>
                    <a:lnTo>
                      <a:pt x="152" y="120"/>
                    </a:lnTo>
                    <a:lnTo>
                      <a:pt x="200" y="88"/>
                    </a:lnTo>
                    <a:lnTo>
                      <a:pt x="208" y="40"/>
                    </a:lnTo>
                    <a:lnTo>
                      <a:pt x="280" y="32"/>
                    </a:lnTo>
                    <a:lnTo>
                      <a:pt x="312" y="0"/>
                    </a:lnTo>
                    <a:lnTo>
                      <a:pt x="344" y="32"/>
                    </a:lnTo>
                    <a:lnTo>
                      <a:pt x="424" y="40"/>
                    </a:lnTo>
                    <a:lnTo>
                      <a:pt x="400" y="96"/>
                    </a:lnTo>
                    <a:lnTo>
                      <a:pt x="432" y="200"/>
                    </a:lnTo>
                    <a:lnTo>
                      <a:pt x="408" y="232"/>
                    </a:lnTo>
                    <a:lnTo>
                      <a:pt x="440" y="280"/>
                    </a:lnTo>
                    <a:lnTo>
                      <a:pt x="440" y="360"/>
                    </a:lnTo>
                    <a:lnTo>
                      <a:pt x="392" y="400"/>
                    </a:lnTo>
                    <a:lnTo>
                      <a:pt x="448" y="424"/>
                    </a:lnTo>
                    <a:lnTo>
                      <a:pt x="464" y="480"/>
                    </a:lnTo>
                    <a:lnTo>
                      <a:pt x="464" y="512"/>
                    </a:lnTo>
                    <a:lnTo>
                      <a:pt x="432" y="504"/>
                    </a:lnTo>
                    <a:lnTo>
                      <a:pt x="384" y="528"/>
                    </a:lnTo>
                    <a:lnTo>
                      <a:pt x="320" y="512"/>
                    </a:lnTo>
                    <a:lnTo>
                      <a:pt x="304" y="536"/>
                    </a:lnTo>
                    <a:lnTo>
                      <a:pt x="248" y="520"/>
                    </a:lnTo>
                    <a:lnTo>
                      <a:pt x="232" y="496"/>
                    </a:lnTo>
                    <a:lnTo>
                      <a:pt x="160" y="456"/>
                    </a:lnTo>
                    <a:close/>
                  </a:path>
                </a:pathLst>
              </a:custGeom>
              <a:solidFill>
                <a:srgbClr val="002060"/>
              </a:solidFill>
              <a:ln w="9525">
                <a:solidFill>
                  <a:schemeClr val="bg1"/>
                </a:solidFill>
                <a:round/>
                <a:headEnd/>
                <a:tailEnd/>
              </a:ln>
            </p:spPr>
            <p:txBody>
              <a:bodyPr/>
              <a:lstStyle/>
              <a:p>
                <a:endParaRPr lang="en-US" sz="1050"/>
              </a:p>
            </p:txBody>
          </p:sp>
          <p:sp>
            <p:nvSpPr>
              <p:cNvPr id="122" name="Freeform 121"/>
              <p:cNvSpPr>
                <a:spLocks/>
              </p:cNvSpPr>
              <p:nvPr/>
            </p:nvSpPr>
            <p:spPr bwMode="auto">
              <a:xfrm>
                <a:off x="3449109" y="3901644"/>
                <a:ext cx="716555" cy="806782"/>
              </a:xfrm>
              <a:custGeom>
                <a:avLst/>
                <a:gdLst>
                  <a:gd name="T0" fmla="*/ 2147483646 w 608"/>
                  <a:gd name="T1" fmla="*/ 0 h 744"/>
                  <a:gd name="T2" fmla="*/ 2147483646 w 608"/>
                  <a:gd name="T3" fmla="*/ 2147483646 h 744"/>
                  <a:gd name="T4" fmla="*/ 2147483646 w 608"/>
                  <a:gd name="T5" fmla="*/ 2147483646 h 744"/>
                  <a:gd name="T6" fmla="*/ 2147483646 w 608"/>
                  <a:gd name="T7" fmla="*/ 2147483646 h 744"/>
                  <a:gd name="T8" fmla="*/ 2147483646 w 608"/>
                  <a:gd name="T9" fmla="*/ 2147483646 h 744"/>
                  <a:gd name="T10" fmla="*/ 2147483646 w 608"/>
                  <a:gd name="T11" fmla="*/ 2147483646 h 744"/>
                  <a:gd name="T12" fmla="*/ 2147483646 w 608"/>
                  <a:gd name="T13" fmla="*/ 2147483646 h 744"/>
                  <a:gd name="T14" fmla="*/ 2147483646 w 608"/>
                  <a:gd name="T15" fmla="*/ 2147483646 h 744"/>
                  <a:gd name="T16" fmla="*/ 2147483646 w 608"/>
                  <a:gd name="T17" fmla="*/ 2147483646 h 744"/>
                  <a:gd name="T18" fmla="*/ 2147483646 w 608"/>
                  <a:gd name="T19" fmla="*/ 2147483646 h 744"/>
                  <a:gd name="T20" fmla="*/ 2147483646 w 608"/>
                  <a:gd name="T21" fmla="*/ 2147483646 h 744"/>
                  <a:gd name="T22" fmla="*/ 2147483646 w 608"/>
                  <a:gd name="T23" fmla="*/ 2147483646 h 744"/>
                  <a:gd name="T24" fmla="*/ 2147483646 w 608"/>
                  <a:gd name="T25" fmla="*/ 2147483646 h 744"/>
                  <a:gd name="T26" fmla="*/ 2147483646 w 608"/>
                  <a:gd name="T27" fmla="*/ 2147483646 h 744"/>
                  <a:gd name="T28" fmla="*/ 2147483646 w 608"/>
                  <a:gd name="T29" fmla="*/ 2147483646 h 744"/>
                  <a:gd name="T30" fmla="*/ 2147483646 w 608"/>
                  <a:gd name="T31" fmla="*/ 2147483646 h 744"/>
                  <a:gd name="T32" fmla="*/ 2147483646 w 608"/>
                  <a:gd name="T33" fmla="*/ 2147483646 h 744"/>
                  <a:gd name="T34" fmla="*/ 2147483646 w 608"/>
                  <a:gd name="T35" fmla="*/ 2147483646 h 744"/>
                  <a:gd name="T36" fmla="*/ 2147483646 w 608"/>
                  <a:gd name="T37" fmla="*/ 2147483646 h 744"/>
                  <a:gd name="T38" fmla="*/ 2147483646 w 608"/>
                  <a:gd name="T39" fmla="*/ 2147483646 h 744"/>
                  <a:gd name="T40" fmla="*/ 2147483646 w 608"/>
                  <a:gd name="T41" fmla="*/ 2147483646 h 744"/>
                  <a:gd name="T42" fmla="*/ 2147483646 w 608"/>
                  <a:gd name="T43" fmla="*/ 2147483646 h 744"/>
                  <a:gd name="T44" fmla="*/ 2147483646 w 608"/>
                  <a:gd name="T45" fmla="*/ 2147483646 h 744"/>
                  <a:gd name="T46" fmla="*/ 2147483646 w 608"/>
                  <a:gd name="T47" fmla="*/ 2147483646 h 744"/>
                  <a:gd name="T48" fmla="*/ 2147483646 w 608"/>
                  <a:gd name="T49" fmla="*/ 2147483646 h 744"/>
                  <a:gd name="T50" fmla="*/ 2147483646 w 608"/>
                  <a:gd name="T51" fmla="*/ 2147483646 h 744"/>
                  <a:gd name="T52" fmla="*/ 2147483646 w 608"/>
                  <a:gd name="T53" fmla="*/ 2147483646 h 744"/>
                  <a:gd name="T54" fmla="*/ 2147483646 w 608"/>
                  <a:gd name="T55" fmla="*/ 2147483646 h 744"/>
                  <a:gd name="T56" fmla="*/ 2147483646 w 608"/>
                  <a:gd name="T57" fmla="*/ 2147483646 h 744"/>
                  <a:gd name="T58" fmla="*/ 0 w 608"/>
                  <a:gd name="T59" fmla="*/ 2147483646 h 744"/>
                  <a:gd name="T60" fmla="*/ 2147483646 w 608"/>
                  <a:gd name="T61" fmla="*/ 2147483646 h 744"/>
                  <a:gd name="T62" fmla="*/ 2147483646 w 608"/>
                  <a:gd name="T63" fmla="*/ 2147483646 h 744"/>
                  <a:gd name="T64" fmla="*/ 2147483646 w 608"/>
                  <a:gd name="T65" fmla="*/ 2147483646 h 744"/>
                  <a:gd name="T66" fmla="*/ 2147483646 w 608"/>
                  <a:gd name="T67" fmla="*/ 2147483646 h 744"/>
                  <a:gd name="T68" fmla="*/ 2147483646 w 608"/>
                  <a:gd name="T69" fmla="*/ 2147483646 h 744"/>
                  <a:gd name="T70" fmla="*/ 2147483646 w 608"/>
                  <a:gd name="T71" fmla="*/ 2147483646 h 744"/>
                  <a:gd name="T72" fmla="*/ 2147483646 w 608"/>
                  <a:gd name="T73" fmla="*/ 0 h 7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744"/>
                  <a:gd name="T113" fmla="*/ 608 w 608"/>
                  <a:gd name="T114" fmla="*/ 744 h 7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744">
                    <a:moveTo>
                      <a:pt x="184" y="0"/>
                    </a:moveTo>
                    <a:lnTo>
                      <a:pt x="224" y="32"/>
                    </a:lnTo>
                    <a:lnTo>
                      <a:pt x="296" y="32"/>
                    </a:lnTo>
                    <a:lnTo>
                      <a:pt x="304" y="104"/>
                    </a:lnTo>
                    <a:lnTo>
                      <a:pt x="352" y="136"/>
                    </a:lnTo>
                    <a:lnTo>
                      <a:pt x="352" y="160"/>
                    </a:lnTo>
                    <a:lnTo>
                      <a:pt x="320" y="168"/>
                    </a:lnTo>
                    <a:lnTo>
                      <a:pt x="368" y="224"/>
                    </a:lnTo>
                    <a:lnTo>
                      <a:pt x="440" y="208"/>
                    </a:lnTo>
                    <a:lnTo>
                      <a:pt x="440" y="256"/>
                    </a:lnTo>
                    <a:lnTo>
                      <a:pt x="472" y="296"/>
                    </a:lnTo>
                    <a:lnTo>
                      <a:pt x="496" y="480"/>
                    </a:lnTo>
                    <a:lnTo>
                      <a:pt x="552" y="528"/>
                    </a:lnTo>
                    <a:lnTo>
                      <a:pt x="600" y="600"/>
                    </a:lnTo>
                    <a:lnTo>
                      <a:pt x="608" y="672"/>
                    </a:lnTo>
                    <a:lnTo>
                      <a:pt x="552" y="704"/>
                    </a:lnTo>
                    <a:lnTo>
                      <a:pt x="424" y="704"/>
                    </a:lnTo>
                    <a:lnTo>
                      <a:pt x="312" y="744"/>
                    </a:lnTo>
                    <a:lnTo>
                      <a:pt x="200" y="712"/>
                    </a:lnTo>
                    <a:lnTo>
                      <a:pt x="152" y="720"/>
                    </a:lnTo>
                    <a:lnTo>
                      <a:pt x="144" y="640"/>
                    </a:lnTo>
                    <a:lnTo>
                      <a:pt x="184" y="608"/>
                    </a:lnTo>
                    <a:lnTo>
                      <a:pt x="120" y="512"/>
                    </a:lnTo>
                    <a:lnTo>
                      <a:pt x="96" y="472"/>
                    </a:lnTo>
                    <a:lnTo>
                      <a:pt x="56" y="456"/>
                    </a:lnTo>
                    <a:lnTo>
                      <a:pt x="104" y="392"/>
                    </a:lnTo>
                    <a:lnTo>
                      <a:pt x="72" y="336"/>
                    </a:lnTo>
                    <a:lnTo>
                      <a:pt x="32" y="328"/>
                    </a:lnTo>
                    <a:lnTo>
                      <a:pt x="32" y="280"/>
                    </a:lnTo>
                    <a:lnTo>
                      <a:pt x="0" y="272"/>
                    </a:lnTo>
                    <a:lnTo>
                      <a:pt x="16" y="240"/>
                    </a:lnTo>
                    <a:lnTo>
                      <a:pt x="48" y="224"/>
                    </a:lnTo>
                    <a:lnTo>
                      <a:pt x="48" y="200"/>
                    </a:lnTo>
                    <a:lnTo>
                      <a:pt x="88" y="176"/>
                    </a:lnTo>
                    <a:lnTo>
                      <a:pt x="96" y="104"/>
                    </a:lnTo>
                    <a:lnTo>
                      <a:pt x="144" y="104"/>
                    </a:lnTo>
                    <a:lnTo>
                      <a:pt x="184" y="0"/>
                    </a:lnTo>
                    <a:close/>
                  </a:path>
                </a:pathLst>
              </a:custGeom>
              <a:solidFill>
                <a:srgbClr val="C6CFEB"/>
              </a:solidFill>
              <a:ln w="9525">
                <a:solidFill>
                  <a:schemeClr val="bg1"/>
                </a:solidFill>
                <a:round/>
                <a:headEnd/>
                <a:tailEnd/>
              </a:ln>
            </p:spPr>
            <p:txBody>
              <a:bodyPr/>
              <a:lstStyle/>
              <a:p>
                <a:endParaRPr lang="en-US" sz="1050"/>
              </a:p>
            </p:txBody>
          </p:sp>
          <p:sp>
            <p:nvSpPr>
              <p:cNvPr id="123" name="Freeform 122"/>
              <p:cNvSpPr>
                <a:spLocks/>
              </p:cNvSpPr>
              <p:nvPr/>
            </p:nvSpPr>
            <p:spPr bwMode="auto">
              <a:xfrm>
                <a:off x="6541611" y="4552275"/>
                <a:ext cx="942835" cy="624606"/>
              </a:xfrm>
              <a:custGeom>
                <a:avLst/>
                <a:gdLst>
                  <a:gd name="T0" fmla="*/ 2147483646 w 800"/>
                  <a:gd name="T1" fmla="*/ 2147483646 h 576"/>
                  <a:gd name="T2" fmla="*/ 0 w 800"/>
                  <a:gd name="T3" fmla="*/ 2147483646 h 576"/>
                  <a:gd name="T4" fmla="*/ 2147483646 w 800"/>
                  <a:gd name="T5" fmla="*/ 2147483646 h 576"/>
                  <a:gd name="T6" fmla="*/ 2147483646 w 800"/>
                  <a:gd name="T7" fmla="*/ 2147483646 h 576"/>
                  <a:gd name="T8" fmla="*/ 2147483646 w 800"/>
                  <a:gd name="T9" fmla="*/ 2147483646 h 576"/>
                  <a:gd name="T10" fmla="*/ 2147483646 w 800"/>
                  <a:gd name="T11" fmla="*/ 2147483646 h 576"/>
                  <a:gd name="T12" fmla="*/ 2147483646 w 800"/>
                  <a:gd name="T13" fmla="*/ 2147483646 h 576"/>
                  <a:gd name="T14" fmla="*/ 2147483646 w 800"/>
                  <a:gd name="T15" fmla="*/ 2147483646 h 576"/>
                  <a:gd name="T16" fmla="*/ 2147483646 w 800"/>
                  <a:gd name="T17" fmla="*/ 2147483646 h 576"/>
                  <a:gd name="T18" fmla="*/ 2147483646 w 800"/>
                  <a:gd name="T19" fmla="*/ 2147483646 h 576"/>
                  <a:gd name="T20" fmla="*/ 2147483646 w 800"/>
                  <a:gd name="T21" fmla="*/ 2147483646 h 576"/>
                  <a:gd name="T22" fmla="*/ 2147483646 w 800"/>
                  <a:gd name="T23" fmla="*/ 2147483646 h 576"/>
                  <a:gd name="T24" fmla="*/ 2147483646 w 800"/>
                  <a:gd name="T25" fmla="*/ 2147483646 h 576"/>
                  <a:gd name="T26" fmla="*/ 2147483646 w 800"/>
                  <a:gd name="T27" fmla="*/ 2147483646 h 576"/>
                  <a:gd name="T28" fmla="*/ 2147483646 w 800"/>
                  <a:gd name="T29" fmla="*/ 2147483646 h 576"/>
                  <a:gd name="T30" fmla="*/ 2147483646 w 800"/>
                  <a:gd name="T31" fmla="*/ 2147483646 h 576"/>
                  <a:gd name="T32" fmla="*/ 2147483646 w 800"/>
                  <a:gd name="T33" fmla="*/ 2147483646 h 576"/>
                  <a:gd name="T34" fmla="*/ 2147483646 w 800"/>
                  <a:gd name="T35" fmla="*/ 2147483646 h 576"/>
                  <a:gd name="T36" fmla="*/ 2147483646 w 800"/>
                  <a:gd name="T37" fmla="*/ 2147483646 h 576"/>
                  <a:gd name="T38" fmla="*/ 2147483646 w 800"/>
                  <a:gd name="T39" fmla="*/ 2147483646 h 576"/>
                  <a:gd name="T40" fmla="*/ 2147483646 w 800"/>
                  <a:gd name="T41" fmla="*/ 2147483646 h 576"/>
                  <a:gd name="T42" fmla="*/ 2147483646 w 800"/>
                  <a:gd name="T43" fmla="*/ 2147483646 h 576"/>
                  <a:gd name="T44" fmla="*/ 2147483646 w 800"/>
                  <a:gd name="T45" fmla="*/ 2147483646 h 576"/>
                  <a:gd name="T46" fmla="*/ 2147483646 w 800"/>
                  <a:gd name="T47" fmla="*/ 2147483646 h 576"/>
                  <a:gd name="T48" fmla="*/ 2147483646 w 800"/>
                  <a:gd name="T49" fmla="*/ 2147483646 h 576"/>
                  <a:gd name="T50" fmla="*/ 2147483646 w 800"/>
                  <a:gd name="T51" fmla="*/ 2147483646 h 576"/>
                  <a:gd name="T52" fmla="*/ 2147483646 w 800"/>
                  <a:gd name="T53" fmla="*/ 2147483646 h 576"/>
                  <a:gd name="T54" fmla="*/ 2147483646 w 800"/>
                  <a:gd name="T55" fmla="*/ 2147483646 h 576"/>
                  <a:gd name="T56" fmla="*/ 2147483646 w 800"/>
                  <a:gd name="T57" fmla="*/ 2147483646 h 576"/>
                  <a:gd name="T58" fmla="*/ 2147483646 w 800"/>
                  <a:gd name="T59" fmla="*/ 2147483646 h 576"/>
                  <a:gd name="T60" fmla="*/ 2147483646 w 800"/>
                  <a:gd name="T61" fmla="*/ 2147483646 h 576"/>
                  <a:gd name="T62" fmla="*/ 2147483646 w 800"/>
                  <a:gd name="T63" fmla="*/ 2147483646 h 576"/>
                  <a:gd name="T64" fmla="*/ 2147483646 w 800"/>
                  <a:gd name="T65" fmla="*/ 2147483646 h 576"/>
                  <a:gd name="T66" fmla="*/ 2147483646 w 800"/>
                  <a:gd name="T67" fmla="*/ 0 h 576"/>
                  <a:gd name="T68" fmla="*/ 2147483646 w 800"/>
                  <a:gd name="T69" fmla="*/ 2147483646 h 576"/>
                  <a:gd name="T70" fmla="*/ 2147483646 w 800"/>
                  <a:gd name="T71" fmla="*/ 2147483646 h 576"/>
                  <a:gd name="T72" fmla="*/ 2147483646 w 800"/>
                  <a:gd name="T73" fmla="*/ 2147483646 h 576"/>
                  <a:gd name="T74" fmla="*/ 2147483646 w 800"/>
                  <a:gd name="T75" fmla="*/ 2147483646 h 576"/>
                  <a:gd name="T76" fmla="*/ 2147483646 w 800"/>
                  <a:gd name="T77" fmla="*/ 2147483646 h 576"/>
                  <a:gd name="T78" fmla="*/ 2147483646 w 800"/>
                  <a:gd name="T79" fmla="*/ 2147483646 h 576"/>
                  <a:gd name="T80" fmla="*/ 2147483646 w 800"/>
                  <a:gd name="T81" fmla="*/ 2147483646 h 576"/>
                  <a:gd name="T82" fmla="*/ 2147483646 w 800"/>
                  <a:gd name="T83" fmla="*/ 2147483646 h 576"/>
                  <a:gd name="T84" fmla="*/ 2147483646 w 800"/>
                  <a:gd name="T85" fmla="*/ 2147483646 h 576"/>
                  <a:gd name="T86" fmla="*/ 2147483646 w 800"/>
                  <a:gd name="T87" fmla="*/ 2147483646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0"/>
                  <a:gd name="T133" fmla="*/ 0 h 576"/>
                  <a:gd name="T134" fmla="*/ 800 w 800"/>
                  <a:gd name="T135" fmla="*/ 576 h 5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0" h="576">
                    <a:moveTo>
                      <a:pt x="96" y="48"/>
                    </a:moveTo>
                    <a:lnTo>
                      <a:pt x="64" y="40"/>
                    </a:lnTo>
                    <a:lnTo>
                      <a:pt x="16" y="64"/>
                    </a:lnTo>
                    <a:lnTo>
                      <a:pt x="0" y="136"/>
                    </a:lnTo>
                    <a:lnTo>
                      <a:pt x="40" y="168"/>
                    </a:lnTo>
                    <a:lnTo>
                      <a:pt x="80" y="160"/>
                    </a:lnTo>
                    <a:lnTo>
                      <a:pt x="56" y="208"/>
                    </a:lnTo>
                    <a:lnTo>
                      <a:pt x="104" y="240"/>
                    </a:lnTo>
                    <a:lnTo>
                      <a:pt x="72" y="256"/>
                    </a:lnTo>
                    <a:lnTo>
                      <a:pt x="88" y="392"/>
                    </a:lnTo>
                    <a:lnTo>
                      <a:pt x="56" y="464"/>
                    </a:lnTo>
                    <a:lnTo>
                      <a:pt x="104" y="496"/>
                    </a:lnTo>
                    <a:lnTo>
                      <a:pt x="168" y="488"/>
                    </a:lnTo>
                    <a:lnTo>
                      <a:pt x="208" y="576"/>
                    </a:lnTo>
                    <a:lnTo>
                      <a:pt x="232" y="512"/>
                    </a:lnTo>
                    <a:lnTo>
                      <a:pt x="264" y="552"/>
                    </a:lnTo>
                    <a:lnTo>
                      <a:pt x="288" y="536"/>
                    </a:lnTo>
                    <a:lnTo>
                      <a:pt x="400" y="544"/>
                    </a:lnTo>
                    <a:lnTo>
                      <a:pt x="400" y="512"/>
                    </a:lnTo>
                    <a:lnTo>
                      <a:pt x="456" y="464"/>
                    </a:lnTo>
                    <a:lnTo>
                      <a:pt x="464" y="424"/>
                    </a:lnTo>
                    <a:lnTo>
                      <a:pt x="432" y="392"/>
                    </a:lnTo>
                    <a:lnTo>
                      <a:pt x="424" y="352"/>
                    </a:lnTo>
                    <a:lnTo>
                      <a:pt x="456" y="312"/>
                    </a:lnTo>
                    <a:lnTo>
                      <a:pt x="496" y="304"/>
                    </a:lnTo>
                    <a:lnTo>
                      <a:pt x="544" y="320"/>
                    </a:lnTo>
                    <a:lnTo>
                      <a:pt x="504" y="352"/>
                    </a:lnTo>
                    <a:lnTo>
                      <a:pt x="512" y="416"/>
                    </a:lnTo>
                    <a:lnTo>
                      <a:pt x="536" y="408"/>
                    </a:lnTo>
                    <a:lnTo>
                      <a:pt x="544" y="392"/>
                    </a:lnTo>
                    <a:lnTo>
                      <a:pt x="560" y="424"/>
                    </a:lnTo>
                    <a:lnTo>
                      <a:pt x="536" y="456"/>
                    </a:lnTo>
                    <a:lnTo>
                      <a:pt x="496" y="480"/>
                    </a:lnTo>
                    <a:lnTo>
                      <a:pt x="496" y="504"/>
                    </a:lnTo>
                    <a:lnTo>
                      <a:pt x="472" y="512"/>
                    </a:lnTo>
                    <a:lnTo>
                      <a:pt x="456" y="504"/>
                    </a:lnTo>
                    <a:lnTo>
                      <a:pt x="440" y="520"/>
                    </a:lnTo>
                    <a:lnTo>
                      <a:pt x="424" y="544"/>
                    </a:lnTo>
                    <a:lnTo>
                      <a:pt x="400" y="552"/>
                    </a:lnTo>
                    <a:lnTo>
                      <a:pt x="400" y="568"/>
                    </a:lnTo>
                    <a:lnTo>
                      <a:pt x="432" y="552"/>
                    </a:lnTo>
                    <a:lnTo>
                      <a:pt x="456" y="528"/>
                    </a:lnTo>
                    <a:lnTo>
                      <a:pt x="472" y="520"/>
                    </a:lnTo>
                    <a:lnTo>
                      <a:pt x="488" y="528"/>
                    </a:lnTo>
                    <a:lnTo>
                      <a:pt x="472" y="544"/>
                    </a:lnTo>
                    <a:lnTo>
                      <a:pt x="488" y="544"/>
                    </a:lnTo>
                    <a:lnTo>
                      <a:pt x="496" y="520"/>
                    </a:lnTo>
                    <a:lnTo>
                      <a:pt x="512" y="496"/>
                    </a:lnTo>
                    <a:lnTo>
                      <a:pt x="528" y="480"/>
                    </a:lnTo>
                    <a:lnTo>
                      <a:pt x="552" y="456"/>
                    </a:lnTo>
                    <a:lnTo>
                      <a:pt x="576" y="448"/>
                    </a:lnTo>
                    <a:lnTo>
                      <a:pt x="632" y="432"/>
                    </a:lnTo>
                    <a:lnTo>
                      <a:pt x="704" y="424"/>
                    </a:lnTo>
                    <a:lnTo>
                      <a:pt x="744" y="416"/>
                    </a:lnTo>
                    <a:lnTo>
                      <a:pt x="768" y="408"/>
                    </a:lnTo>
                    <a:lnTo>
                      <a:pt x="776" y="376"/>
                    </a:lnTo>
                    <a:lnTo>
                      <a:pt x="784" y="344"/>
                    </a:lnTo>
                    <a:lnTo>
                      <a:pt x="800" y="272"/>
                    </a:lnTo>
                    <a:lnTo>
                      <a:pt x="800" y="232"/>
                    </a:lnTo>
                    <a:lnTo>
                      <a:pt x="800" y="192"/>
                    </a:lnTo>
                    <a:lnTo>
                      <a:pt x="792" y="184"/>
                    </a:lnTo>
                    <a:lnTo>
                      <a:pt x="768" y="152"/>
                    </a:lnTo>
                    <a:lnTo>
                      <a:pt x="800" y="136"/>
                    </a:lnTo>
                    <a:lnTo>
                      <a:pt x="800" y="88"/>
                    </a:lnTo>
                    <a:lnTo>
                      <a:pt x="776" y="56"/>
                    </a:lnTo>
                    <a:lnTo>
                      <a:pt x="736" y="16"/>
                    </a:lnTo>
                    <a:lnTo>
                      <a:pt x="656" y="8"/>
                    </a:lnTo>
                    <a:lnTo>
                      <a:pt x="608" y="0"/>
                    </a:lnTo>
                    <a:lnTo>
                      <a:pt x="576" y="16"/>
                    </a:lnTo>
                    <a:lnTo>
                      <a:pt x="552" y="48"/>
                    </a:lnTo>
                    <a:lnTo>
                      <a:pt x="496" y="72"/>
                    </a:lnTo>
                    <a:lnTo>
                      <a:pt x="488" y="96"/>
                    </a:lnTo>
                    <a:lnTo>
                      <a:pt x="464" y="88"/>
                    </a:lnTo>
                    <a:lnTo>
                      <a:pt x="448" y="128"/>
                    </a:lnTo>
                    <a:lnTo>
                      <a:pt x="392" y="96"/>
                    </a:lnTo>
                    <a:lnTo>
                      <a:pt x="376" y="88"/>
                    </a:lnTo>
                    <a:lnTo>
                      <a:pt x="376" y="120"/>
                    </a:lnTo>
                    <a:lnTo>
                      <a:pt x="368" y="128"/>
                    </a:lnTo>
                    <a:lnTo>
                      <a:pt x="392" y="152"/>
                    </a:lnTo>
                    <a:lnTo>
                      <a:pt x="368" y="168"/>
                    </a:lnTo>
                    <a:lnTo>
                      <a:pt x="312" y="152"/>
                    </a:lnTo>
                    <a:lnTo>
                      <a:pt x="272" y="152"/>
                    </a:lnTo>
                    <a:lnTo>
                      <a:pt x="200" y="112"/>
                    </a:lnTo>
                    <a:lnTo>
                      <a:pt x="168" y="104"/>
                    </a:lnTo>
                    <a:lnTo>
                      <a:pt x="136" y="56"/>
                    </a:lnTo>
                    <a:lnTo>
                      <a:pt x="136" y="16"/>
                    </a:lnTo>
                    <a:lnTo>
                      <a:pt x="96" y="32"/>
                    </a:lnTo>
                    <a:lnTo>
                      <a:pt x="96" y="48"/>
                    </a:lnTo>
                    <a:close/>
                  </a:path>
                </a:pathLst>
              </a:custGeom>
              <a:solidFill>
                <a:srgbClr val="9950A8"/>
              </a:solidFill>
              <a:ln w="9525">
                <a:solidFill>
                  <a:schemeClr val="bg1"/>
                </a:solidFill>
                <a:round/>
                <a:headEnd/>
                <a:tailEnd/>
              </a:ln>
            </p:spPr>
            <p:txBody>
              <a:bodyPr/>
              <a:lstStyle/>
              <a:p>
                <a:endParaRPr lang="en-US" sz="1050"/>
              </a:p>
            </p:txBody>
          </p:sp>
          <p:sp>
            <p:nvSpPr>
              <p:cNvPr id="124" name="Freeform 123"/>
              <p:cNvSpPr>
                <a:spLocks/>
              </p:cNvSpPr>
              <p:nvPr/>
            </p:nvSpPr>
            <p:spPr bwMode="auto">
              <a:xfrm>
                <a:off x="6004194" y="4543600"/>
                <a:ext cx="659985" cy="546530"/>
              </a:xfrm>
              <a:custGeom>
                <a:avLst/>
                <a:gdLst>
                  <a:gd name="T0" fmla="*/ 2147483646 w 560"/>
                  <a:gd name="T1" fmla="*/ 2147483646 h 504"/>
                  <a:gd name="T2" fmla="*/ 2147483646 w 560"/>
                  <a:gd name="T3" fmla="*/ 2147483646 h 504"/>
                  <a:gd name="T4" fmla="*/ 2147483646 w 560"/>
                  <a:gd name="T5" fmla="*/ 2147483646 h 504"/>
                  <a:gd name="T6" fmla="*/ 2147483646 w 560"/>
                  <a:gd name="T7" fmla="*/ 2147483646 h 504"/>
                  <a:gd name="T8" fmla="*/ 2147483646 w 560"/>
                  <a:gd name="T9" fmla="*/ 2147483646 h 504"/>
                  <a:gd name="T10" fmla="*/ 2147483646 w 560"/>
                  <a:gd name="T11" fmla="*/ 2147483646 h 504"/>
                  <a:gd name="T12" fmla="*/ 2147483646 w 560"/>
                  <a:gd name="T13" fmla="*/ 2147483646 h 504"/>
                  <a:gd name="T14" fmla="*/ 2147483646 w 560"/>
                  <a:gd name="T15" fmla="*/ 2147483646 h 504"/>
                  <a:gd name="T16" fmla="*/ 2147483646 w 560"/>
                  <a:gd name="T17" fmla="*/ 2147483646 h 504"/>
                  <a:gd name="T18" fmla="*/ 2147483646 w 560"/>
                  <a:gd name="T19" fmla="*/ 2147483646 h 504"/>
                  <a:gd name="T20" fmla="*/ 2147483646 w 560"/>
                  <a:gd name="T21" fmla="*/ 2147483646 h 504"/>
                  <a:gd name="T22" fmla="*/ 2147483646 w 560"/>
                  <a:gd name="T23" fmla="*/ 2147483646 h 504"/>
                  <a:gd name="T24" fmla="*/ 2147483646 w 560"/>
                  <a:gd name="T25" fmla="*/ 2147483646 h 504"/>
                  <a:gd name="T26" fmla="*/ 2147483646 w 560"/>
                  <a:gd name="T27" fmla="*/ 0 h 504"/>
                  <a:gd name="T28" fmla="*/ 2147483646 w 560"/>
                  <a:gd name="T29" fmla="*/ 2147483646 h 504"/>
                  <a:gd name="T30" fmla="*/ 2147483646 w 560"/>
                  <a:gd name="T31" fmla="*/ 2147483646 h 504"/>
                  <a:gd name="T32" fmla="*/ 2147483646 w 560"/>
                  <a:gd name="T33" fmla="*/ 2147483646 h 504"/>
                  <a:gd name="T34" fmla="*/ 2147483646 w 560"/>
                  <a:gd name="T35" fmla="*/ 2147483646 h 504"/>
                  <a:gd name="T36" fmla="*/ 2147483646 w 560"/>
                  <a:gd name="T37" fmla="*/ 2147483646 h 504"/>
                  <a:gd name="T38" fmla="*/ 2147483646 w 560"/>
                  <a:gd name="T39" fmla="*/ 2147483646 h 504"/>
                  <a:gd name="T40" fmla="*/ 2147483646 w 560"/>
                  <a:gd name="T41" fmla="*/ 2147483646 h 504"/>
                  <a:gd name="T42" fmla="*/ 0 w 560"/>
                  <a:gd name="T43" fmla="*/ 2147483646 h 504"/>
                  <a:gd name="T44" fmla="*/ 2147483646 w 560"/>
                  <a:gd name="T45" fmla="*/ 2147483646 h 504"/>
                  <a:gd name="T46" fmla="*/ 2147483646 w 560"/>
                  <a:gd name="T47" fmla="*/ 2147483646 h 504"/>
                  <a:gd name="T48" fmla="*/ 2147483646 w 560"/>
                  <a:gd name="T49" fmla="*/ 2147483646 h 504"/>
                  <a:gd name="T50" fmla="*/ 2147483646 w 560"/>
                  <a:gd name="T51" fmla="*/ 2147483646 h 504"/>
                  <a:gd name="T52" fmla="*/ 2147483646 w 560"/>
                  <a:gd name="T53" fmla="*/ 2147483646 h 504"/>
                  <a:gd name="T54" fmla="*/ 2147483646 w 560"/>
                  <a:gd name="T55" fmla="*/ 2147483646 h 504"/>
                  <a:gd name="T56" fmla="*/ 2147483646 w 560"/>
                  <a:gd name="T57" fmla="*/ 2147483646 h 504"/>
                  <a:gd name="T58" fmla="*/ 2147483646 w 560"/>
                  <a:gd name="T59" fmla="*/ 2147483646 h 504"/>
                  <a:gd name="T60" fmla="*/ 2147483646 w 560"/>
                  <a:gd name="T61" fmla="*/ 2147483646 h 504"/>
                  <a:gd name="T62" fmla="*/ 2147483646 w 560"/>
                  <a:gd name="T63" fmla="*/ 2147483646 h 504"/>
                  <a:gd name="T64" fmla="*/ 2147483646 w 560"/>
                  <a:gd name="T65" fmla="*/ 2147483646 h 504"/>
                  <a:gd name="T66" fmla="*/ 2147483646 w 560"/>
                  <a:gd name="T67" fmla="*/ 2147483646 h 504"/>
                  <a:gd name="T68" fmla="*/ 2147483646 w 560"/>
                  <a:gd name="T69" fmla="*/ 2147483646 h 504"/>
                  <a:gd name="T70" fmla="*/ 2147483646 w 560"/>
                  <a:gd name="T71" fmla="*/ 2147483646 h 504"/>
                  <a:gd name="T72" fmla="*/ 2147483646 w 560"/>
                  <a:gd name="T73" fmla="*/ 2147483646 h 504"/>
                  <a:gd name="T74" fmla="*/ 2147483646 w 560"/>
                  <a:gd name="T75" fmla="*/ 2147483646 h 504"/>
                  <a:gd name="T76" fmla="*/ 2147483646 w 560"/>
                  <a:gd name="T77" fmla="*/ 2147483646 h 504"/>
                  <a:gd name="T78" fmla="*/ 2147483646 w 560"/>
                  <a:gd name="T79" fmla="*/ 2147483646 h 5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0"/>
                  <a:gd name="T121" fmla="*/ 0 h 504"/>
                  <a:gd name="T122" fmla="*/ 560 w 560"/>
                  <a:gd name="T123" fmla="*/ 504 h 5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0" h="504">
                    <a:moveTo>
                      <a:pt x="512" y="472"/>
                    </a:moveTo>
                    <a:lnTo>
                      <a:pt x="544" y="400"/>
                    </a:lnTo>
                    <a:lnTo>
                      <a:pt x="528" y="264"/>
                    </a:lnTo>
                    <a:lnTo>
                      <a:pt x="560" y="248"/>
                    </a:lnTo>
                    <a:lnTo>
                      <a:pt x="512" y="216"/>
                    </a:lnTo>
                    <a:lnTo>
                      <a:pt x="536" y="168"/>
                    </a:lnTo>
                    <a:lnTo>
                      <a:pt x="496" y="176"/>
                    </a:lnTo>
                    <a:lnTo>
                      <a:pt x="456" y="144"/>
                    </a:lnTo>
                    <a:lnTo>
                      <a:pt x="472" y="72"/>
                    </a:lnTo>
                    <a:lnTo>
                      <a:pt x="408" y="56"/>
                    </a:lnTo>
                    <a:lnTo>
                      <a:pt x="392" y="80"/>
                    </a:lnTo>
                    <a:lnTo>
                      <a:pt x="336" y="64"/>
                    </a:lnTo>
                    <a:lnTo>
                      <a:pt x="320" y="40"/>
                    </a:lnTo>
                    <a:lnTo>
                      <a:pt x="248" y="0"/>
                    </a:lnTo>
                    <a:lnTo>
                      <a:pt x="184" y="32"/>
                    </a:lnTo>
                    <a:lnTo>
                      <a:pt x="176" y="80"/>
                    </a:lnTo>
                    <a:lnTo>
                      <a:pt x="168" y="136"/>
                    </a:lnTo>
                    <a:lnTo>
                      <a:pt x="144" y="152"/>
                    </a:lnTo>
                    <a:lnTo>
                      <a:pt x="160" y="200"/>
                    </a:lnTo>
                    <a:lnTo>
                      <a:pt x="136" y="216"/>
                    </a:lnTo>
                    <a:lnTo>
                      <a:pt x="64" y="184"/>
                    </a:lnTo>
                    <a:lnTo>
                      <a:pt x="0" y="256"/>
                    </a:lnTo>
                    <a:lnTo>
                      <a:pt x="24" y="280"/>
                    </a:lnTo>
                    <a:lnTo>
                      <a:pt x="64" y="256"/>
                    </a:lnTo>
                    <a:lnTo>
                      <a:pt x="80" y="328"/>
                    </a:lnTo>
                    <a:lnTo>
                      <a:pt x="120" y="360"/>
                    </a:lnTo>
                    <a:lnTo>
                      <a:pt x="88" y="432"/>
                    </a:lnTo>
                    <a:lnTo>
                      <a:pt x="104" y="496"/>
                    </a:lnTo>
                    <a:lnTo>
                      <a:pt x="144" y="488"/>
                    </a:lnTo>
                    <a:lnTo>
                      <a:pt x="152" y="456"/>
                    </a:lnTo>
                    <a:lnTo>
                      <a:pt x="184" y="448"/>
                    </a:lnTo>
                    <a:lnTo>
                      <a:pt x="216" y="488"/>
                    </a:lnTo>
                    <a:lnTo>
                      <a:pt x="232" y="448"/>
                    </a:lnTo>
                    <a:lnTo>
                      <a:pt x="272" y="480"/>
                    </a:lnTo>
                    <a:lnTo>
                      <a:pt x="344" y="496"/>
                    </a:lnTo>
                    <a:lnTo>
                      <a:pt x="392" y="456"/>
                    </a:lnTo>
                    <a:lnTo>
                      <a:pt x="408" y="496"/>
                    </a:lnTo>
                    <a:lnTo>
                      <a:pt x="464" y="480"/>
                    </a:lnTo>
                    <a:lnTo>
                      <a:pt x="496" y="504"/>
                    </a:lnTo>
                    <a:lnTo>
                      <a:pt x="512" y="472"/>
                    </a:lnTo>
                    <a:close/>
                  </a:path>
                </a:pathLst>
              </a:custGeom>
              <a:solidFill>
                <a:srgbClr val="9950A8"/>
              </a:solidFill>
              <a:ln w="9525">
                <a:solidFill>
                  <a:schemeClr val="bg1"/>
                </a:solidFill>
                <a:round/>
                <a:headEnd/>
                <a:tailEnd/>
              </a:ln>
            </p:spPr>
            <p:txBody>
              <a:bodyPr/>
              <a:lstStyle/>
              <a:p>
                <a:endParaRPr lang="en-US" sz="1050"/>
              </a:p>
            </p:txBody>
          </p:sp>
          <p:sp>
            <p:nvSpPr>
              <p:cNvPr id="125" name="Freeform 124"/>
              <p:cNvSpPr>
                <a:spLocks/>
              </p:cNvSpPr>
              <p:nvPr/>
            </p:nvSpPr>
            <p:spPr bwMode="auto">
              <a:xfrm>
                <a:off x="5495062" y="4326723"/>
                <a:ext cx="716555" cy="780757"/>
              </a:xfrm>
              <a:custGeom>
                <a:avLst/>
                <a:gdLst>
                  <a:gd name="T0" fmla="*/ 2147483646 w 608"/>
                  <a:gd name="T1" fmla="*/ 2147483646 h 720"/>
                  <a:gd name="T2" fmla="*/ 2147483646 w 608"/>
                  <a:gd name="T3" fmla="*/ 2147483646 h 720"/>
                  <a:gd name="T4" fmla="*/ 2147483646 w 608"/>
                  <a:gd name="T5" fmla="*/ 2147483646 h 720"/>
                  <a:gd name="T6" fmla="*/ 2147483646 w 608"/>
                  <a:gd name="T7" fmla="*/ 2147483646 h 720"/>
                  <a:gd name="T8" fmla="*/ 2147483646 w 608"/>
                  <a:gd name="T9" fmla="*/ 2147483646 h 720"/>
                  <a:gd name="T10" fmla="*/ 2147483646 w 608"/>
                  <a:gd name="T11" fmla="*/ 2147483646 h 720"/>
                  <a:gd name="T12" fmla="*/ 2147483646 w 608"/>
                  <a:gd name="T13" fmla="*/ 2147483646 h 720"/>
                  <a:gd name="T14" fmla="*/ 2147483646 w 608"/>
                  <a:gd name="T15" fmla="*/ 2147483646 h 720"/>
                  <a:gd name="T16" fmla="*/ 2147483646 w 608"/>
                  <a:gd name="T17" fmla="*/ 2147483646 h 720"/>
                  <a:gd name="T18" fmla="*/ 2147483646 w 608"/>
                  <a:gd name="T19" fmla="*/ 2147483646 h 720"/>
                  <a:gd name="T20" fmla="*/ 2147483646 w 608"/>
                  <a:gd name="T21" fmla="*/ 2147483646 h 720"/>
                  <a:gd name="T22" fmla="*/ 2147483646 w 608"/>
                  <a:gd name="T23" fmla="*/ 2147483646 h 720"/>
                  <a:gd name="T24" fmla="*/ 2147483646 w 608"/>
                  <a:gd name="T25" fmla="*/ 2147483646 h 720"/>
                  <a:gd name="T26" fmla="*/ 2147483646 w 608"/>
                  <a:gd name="T27" fmla="*/ 2147483646 h 720"/>
                  <a:gd name="T28" fmla="*/ 2147483646 w 608"/>
                  <a:gd name="T29" fmla="*/ 2147483646 h 720"/>
                  <a:gd name="T30" fmla="*/ 2147483646 w 608"/>
                  <a:gd name="T31" fmla="*/ 2147483646 h 720"/>
                  <a:gd name="T32" fmla="*/ 2147483646 w 608"/>
                  <a:gd name="T33" fmla="*/ 2147483646 h 720"/>
                  <a:gd name="T34" fmla="*/ 2147483646 w 608"/>
                  <a:gd name="T35" fmla="*/ 2147483646 h 720"/>
                  <a:gd name="T36" fmla="*/ 2147483646 w 608"/>
                  <a:gd name="T37" fmla="*/ 2147483646 h 720"/>
                  <a:gd name="T38" fmla="*/ 2147483646 w 608"/>
                  <a:gd name="T39" fmla="*/ 2147483646 h 720"/>
                  <a:gd name="T40" fmla="*/ 2147483646 w 608"/>
                  <a:gd name="T41" fmla="*/ 2147483646 h 720"/>
                  <a:gd name="T42" fmla="*/ 2147483646 w 608"/>
                  <a:gd name="T43" fmla="*/ 2147483646 h 720"/>
                  <a:gd name="T44" fmla="*/ 2147483646 w 608"/>
                  <a:gd name="T45" fmla="*/ 2147483646 h 720"/>
                  <a:gd name="T46" fmla="*/ 2147483646 w 608"/>
                  <a:gd name="T47" fmla="*/ 2147483646 h 720"/>
                  <a:gd name="T48" fmla="*/ 2147483646 w 608"/>
                  <a:gd name="T49" fmla="*/ 2147483646 h 720"/>
                  <a:gd name="T50" fmla="*/ 2147483646 w 608"/>
                  <a:gd name="T51" fmla="*/ 2147483646 h 720"/>
                  <a:gd name="T52" fmla="*/ 2147483646 w 608"/>
                  <a:gd name="T53" fmla="*/ 0 h 720"/>
                  <a:gd name="T54" fmla="*/ 2147483646 w 608"/>
                  <a:gd name="T55" fmla="*/ 2147483646 h 720"/>
                  <a:gd name="T56" fmla="*/ 2147483646 w 608"/>
                  <a:gd name="T57" fmla="*/ 2147483646 h 720"/>
                  <a:gd name="T58" fmla="*/ 2147483646 w 608"/>
                  <a:gd name="T59" fmla="*/ 2147483646 h 720"/>
                  <a:gd name="T60" fmla="*/ 2147483646 w 608"/>
                  <a:gd name="T61" fmla="*/ 2147483646 h 720"/>
                  <a:gd name="T62" fmla="*/ 2147483646 w 608"/>
                  <a:gd name="T63" fmla="*/ 2147483646 h 720"/>
                  <a:gd name="T64" fmla="*/ 2147483646 w 608"/>
                  <a:gd name="T65" fmla="*/ 2147483646 h 720"/>
                  <a:gd name="T66" fmla="*/ 2147483646 w 608"/>
                  <a:gd name="T67" fmla="*/ 2147483646 h 720"/>
                  <a:gd name="T68" fmla="*/ 0 w 608"/>
                  <a:gd name="T69" fmla="*/ 2147483646 h 720"/>
                  <a:gd name="T70" fmla="*/ 2147483646 w 608"/>
                  <a:gd name="T71" fmla="*/ 2147483646 h 720"/>
                  <a:gd name="T72" fmla="*/ 2147483646 w 608"/>
                  <a:gd name="T73" fmla="*/ 2147483646 h 720"/>
                  <a:gd name="T74" fmla="*/ 2147483646 w 608"/>
                  <a:gd name="T75" fmla="*/ 2147483646 h 720"/>
                  <a:gd name="T76" fmla="*/ 2147483646 w 608"/>
                  <a:gd name="T77" fmla="*/ 2147483646 h 720"/>
                  <a:gd name="T78" fmla="*/ 2147483646 w 608"/>
                  <a:gd name="T79" fmla="*/ 2147483646 h 720"/>
                  <a:gd name="T80" fmla="*/ 2147483646 w 608"/>
                  <a:gd name="T81" fmla="*/ 2147483646 h 720"/>
                  <a:gd name="T82" fmla="*/ 2147483646 w 608"/>
                  <a:gd name="T83" fmla="*/ 2147483646 h 720"/>
                  <a:gd name="T84" fmla="*/ 2147483646 w 608"/>
                  <a:gd name="T85" fmla="*/ 2147483646 h 720"/>
                  <a:gd name="T86" fmla="*/ 2147483646 w 608"/>
                  <a:gd name="T87" fmla="*/ 2147483646 h 720"/>
                  <a:gd name="T88" fmla="*/ 2147483646 w 608"/>
                  <a:gd name="T89" fmla="*/ 2147483646 h 720"/>
                  <a:gd name="T90" fmla="*/ 2147483646 w 608"/>
                  <a:gd name="T91" fmla="*/ 2147483646 h 720"/>
                  <a:gd name="T92" fmla="*/ 2147483646 w 608"/>
                  <a:gd name="T93" fmla="*/ 2147483646 h 720"/>
                  <a:gd name="T94" fmla="*/ 2147483646 w 608"/>
                  <a:gd name="T95" fmla="*/ 2147483646 h 720"/>
                  <a:gd name="T96" fmla="*/ 2147483646 w 608"/>
                  <a:gd name="T97" fmla="*/ 2147483646 h 720"/>
                  <a:gd name="T98" fmla="*/ 2147483646 w 608"/>
                  <a:gd name="T99" fmla="*/ 2147483646 h 720"/>
                  <a:gd name="T100" fmla="*/ 2147483646 w 608"/>
                  <a:gd name="T101" fmla="*/ 2147483646 h 720"/>
                  <a:gd name="T102" fmla="*/ 2147483646 w 608"/>
                  <a:gd name="T103" fmla="*/ 2147483646 h 720"/>
                  <a:gd name="T104" fmla="*/ 2147483646 w 608"/>
                  <a:gd name="T105" fmla="*/ 2147483646 h 720"/>
                  <a:gd name="T106" fmla="*/ 2147483646 w 608"/>
                  <a:gd name="T107" fmla="*/ 2147483646 h 7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8"/>
                  <a:gd name="T163" fmla="*/ 0 h 720"/>
                  <a:gd name="T164" fmla="*/ 608 w 608"/>
                  <a:gd name="T165" fmla="*/ 720 h 7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8" h="720">
                    <a:moveTo>
                      <a:pt x="544" y="696"/>
                    </a:moveTo>
                    <a:lnTo>
                      <a:pt x="520" y="640"/>
                    </a:lnTo>
                    <a:lnTo>
                      <a:pt x="552" y="560"/>
                    </a:lnTo>
                    <a:lnTo>
                      <a:pt x="512" y="536"/>
                    </a:lnTo>
                    <a:lnTo>
                      <a:pt x="496" y="456"/>
                    </a:lnTo>
                    <a:lnTo>
                      <a:pt x="456" y="480"/>
                    </a:lnTo>
                    <a:lnTo>
                      <a:pt x="432" y="456"/>
                    </a:lnTo>
                    <a:lnTo>
                      <a:pt x="496" y="384"/>
                    </a:lnTo>
                    <a:lnTo>
                      <a:pt x="576" y="416"/>
                    </a:lnTo>
                    <a:lnTo>
                      <a:pt x="592" y="400"/>
                    </a:lnTo>
                    <a:lnTo>
                      <a:pt x="576" y="352"/>
                    </a:lnTo>
                    <a:lnTo>
                      <a:pt x="600" y="336"/>
                    </a:lnTo>
                    <a:lnTo>
                      <a:pt x="608" y="280"/>
                    </a:lnTo>
                    <a:lnTo>
                      <a:pt x="592" y="264"/>
                    </a:lnTo>
                    <a:lnTo>
                      <a:pt x="560" y="280"/>
                    </a:lnTo>
                    <a:lnTo>
                      <a:pt x="560" y="240"/>
                    </a:lnTo>
                    <a:lnTo>
                      <a:pt x="496" y="264"/>
                    </a:lnTo>
                    <a:lnTo>
                      <a:pt x="488" y="224"/>
                    </a:lnTo>
                    <a:lnTo>
                      <a:pt x="456" y="240"/>
                    </a:lnTo>
                    <a:lnTo>
                      <a:pt x="432" y="208"/>
                    </a:lnTo>
                    <a:lnTo>
                      <a:pt x="384" y="184"/>
                    </a:lnTo>
                    <a:lnTo>
                      <a:pt x="352" y="208"/>
                    </a:lnTo>
                    <a:lnTo>
                      <a:pt x="304" y="136"/>
                    </a:lnTo>
                    <a:lnTo>
                      <a:pt x="240" y="160"/>
                    </a:lnTo>
                    <a:lnTo>
                      <a:pt x="184" y="72"/>
                    </a:lnTo>
                    <a:lnTo>
                      <a:pt x="192" y="16"/>
                    </a:lnTo>
                    <a:lnTo>
                      <a:pt x="144" y="0"/>
                    </a:lnTo>
                    <a:lnTo>
                      <a:pt x="144" y="64"/>
                    </a:lnTo>
                    <a:lnTo>
                      <a:pt x="112" y="80"/>
                    </a:lnTo>
                    <a:lnTo>
                      <a:pt x="120" y="136"/>
                    </a:lnTo>
                    <a:lnTo>
                      <a:pt x="88" y="152"/>
                    </a:lnTo>
                    <a:lnTo>
                      <a:pt x="80" y="96"/>
                    </a:lnTo>
                    <a:lnTo>
                      <a:pt x="56" y="144"/>
                    </a:lnTo>
                    <a:lnTo>
                      <a:pt x="16" y="152"/>
                    </a:lnTo>
                    <a:lnTo>
                      <a:pt x="0" y="224"/>
                    </a:lnTo>
                    <a:lnTo>
                      <a:pt x="32" y="256"/>
                    </a:lnTo>
                    <a:lnTo>
                      <a:pt x="40" y="320"/>
                    </a:lnTo>
                    <a:lnTo>
                      <a:pt x="72" y="344"/>
                    </a:lnTo>
                    <a:lnTo>
                      <a:pt x="72" y="408"/>
                    </a:lnTo>
                    <a:lnTo>
                      <a:pt x="112" y="416"/>
                    </a:lnTo>
                    <a:lnTo>
                      <a:pt x="112" y="448"/>
                    </a:lnTo>
                    <a:lnTo>
                      <a:pt x="168" y="440"/>
                    </a:lnTo>
                    <a:lnTo>
                      <a:pt x="184" y="512"/>
                    </a:lnTo>
                    <a:lnTo>
                      <a:pt x="232" y="528"/>
                    </a:lnTo>
                    <a:lnTo>
                      <a:pt x="248" y="568"/>
                    </a:lnTo>
                    <a:lnTo>
                      <a:pt x="216" y="576"/>
                    </a:lnTo>
                    <a:lnTo>
                      <a:pt x="256" y="640"/>
                    </a:lnTo>
                    <a:lnTo>
                      <a:pt x="288" y="688"/>
                    </a:lnTo>
                    <a:lnTo>
                      <a:pt x="368" y="664"/>
                    </a:lnTo>
                    <a:lnTo>
                      <a:pt x="440" y="696"/>
                    </a:lnTo>
                    <a:lnTo>
                      <a:pt x="472" y="664"/>
                    </a:lnTo>
                    <a:lnTo>
                      <a:pt x="504" y="672"/>
                    </a:lnTo>
                    <a:lnTo>
                      <a:pt x="504" y="720"/>
                    </a:lnTo>
                    <a:lnTo>
                      <a:pt x="544" y="696"/>
                    </a:lnTo>
                    <a:close/>
                  </a:path>
                </a:pathLst>
              </a:custGeom>
              <a:solidFill>
                <a:srgbClr val="9950A8"/>
              </a:solidFill>
              <a:ln w="9525">
                <a:solidFill>
                  <a:schemeClr val="bg1"/>
                </a:solidFill>
                <a:round/>
                <a:headEnd/>
                <a:tailEnd/>
              </a:ln>
            </p:spPr>
            <p:txBody>
              <a:bodyPr/>
              <a:lstStyle/>
              <a:p>
                <a:endParaRPr lang="en-US" sz="1050"/>
              </a:p>
            </p:txBody>
          </p:sp>
          <p:sp>
            <p:nvSpPr>
              <p:cNvPr id="126" name="Freeform 125"/>
              <p:cNvSpPr>
                <a:spLocks/>
              </p:cNvSpPr>
              <p:nvPr/>
            </p:nvSpPr>
            <p:spPr bwMode="auto">
              <a:xfrm>
                <a:off x="6155048" y="5055429"/>
                <a:ext cx="933408" cy="754732"/>
              </a:xfrm>
              <a:custGeom>
                <a:avLst/>
                <a:gdLst>
                  <a:gd name="T0" fmla="*/ 2147483646 w 792"/>
                  <a:gd name="T1" fmla="*/ 2147483646 h 696"/>
                  <a:gd name="T2" fmla="*/ 2147483646 w 792"/>
                  <a:gd name="T3" fmla="*/ 2147483646 h 696"/>
                  <a:gd name="T4" fmla="*/ 2147483646 w 792"/>
                  <a:gd name="T5" fmla="*/ 2147483646 h 696"/>
                  <a:gd name="T6" fmla="*/ 2147483646 w 792"/>
                  <a:gd name="T7" fmla="*/ 2147483646 h 696"/>
                  <a:gd name="T8" fmla="*/ 2147483646 w 792"/>
                  <a:gd name="T9" fmla="*/ 2147483646 h 696"/>
                  <a:gd name="T10" fmla="*/ 2147483646 w 792"/>
                  <a:gd name="T11" fmla="*/ 2147483646 h 696"/>
                  <a:gd name="T12" fmla="*/ 2147483646 w 792"/>
                  <a:gd name="T13" fmla="*/ 2147483646 h 696"/>
                  <a:gd name="T14" fmla="*/ 2147483646 w 792"/>
                  <a:gd name="T15" fmla="*/ 0 h 696"/>
                  <a:gd name="T16" fmla="*/ 2147483646 w 792"/>
                  <a:gd name="T17" fmla="*/ 2147483646 h 696"/>
                  <a:gd name="T18" fmla="*/ 2147483646 w 792"/>
                  <a:gd name="T19" fmla="*/ 2147483646 h 696"/>
                  <a:gd name="T20" fmla="*/ 2147483646 w 792"/>
                  <a:gd name="T21" fmla="*/ 2147483646 h 696"/>
                  <a:gd name="T22" fmla="*/ 2147483646 w 792"/>
                  <a:gd name="T23" fmla="*/ 2147483646 h 696"/>
                  <a:gd name="T24" fmla="*/ 2147483646 w 792"/>
                  <a:gd name="T25" fmla="*/ 2147483646 h 696"/>
                  <a:gd name="T26" fmla="*/ 2147483646 w 792"/>
                  <a:gd name="T27" fmla="*/ 2147483646 h 696"/>
                  <a:gd name="T28" fmla="*/ 2147483646 w 792"/>
                  <a:gd name="T29" fmla="*/ 2147483646 h 696"/>
                  <a:gd name="T30" fmla="*/ 2147483646 w 792"/>
                  <a:gd name="T31" fmla="*/ 2147483646 h 696"/>
                  <a:gd name="T32" fmla="*/ 2147483646 w 792"/>
                  <a:gd name="T33" fmla="*/ 2147483646 h 696"/>
                  <a:gd name="T34" fmla="*/ 2147483646 w 792"/>
                  <a:gd name="T35" fmla="*/ 2147483646 h 696"/>
                  <a:gd name="T36" fmla="*/ 2147483646 w 792"/>
                  <a:gd name="T37" fmla="*/ 2147483646 h 696"/>
                  <a:gd name="T38" fmla="*/ 2147483646 w 792"/>
                  <a:gd name="T39" fmla="*/ 2147483646 h 696"/>
                  <a:gd name="T40" fmla="*/ 2147483646 w 792"/>
                  <a:gd name="T41" fmla="*/ 2147483646 h 696"/>
                  <a:gd name="T42" fmla="*/ 2147483646 w 792"/>
                  <a:gd name="T43" fmla="*/ 2147483646 h 696"/>
                  <a:gd name="T44" fmla="*/ 2147483646 w 792"/>
                  <a:gd name="T45" fmla="*/ 2147483646 h 696"/>
                  <a:gd name="T46" fmla="*/ 0 w 792"/>
                  <a:gd name="T47" fmla="*/ 2147483646 h 696"/>
                  <a:gd name="T48" fmla="*/ 2147483646 w 792"/>
                  <a:gd name="T49" fmla="*/ 2147483646 h 696"/>
                  <a:gd name="T50" fmla="*/ 2147483646 w 792"/>
                  <a:gd name="T51" fmla="*/ 2147483646 h 696"/>
                  <a:gd name="T52" fmla="*/ 2147483646 w 792"/>
                  <a:gd name="T53" fmla="*/ 2147483646 h 696"/>
                  <a:gd name="T54" fmla="*/ 2147483646 w 792"/>
                  <a:gd name="T55" fmla="*/ 2147483646 h 696"/>
                  <a:gd name="T56" fmla="*/ 2147483646 w 792"/>
                  <a:gd name="T57" fmla="*/ 2147483646 h 696"/>
                  <a:gd name="T58" fmla="*/ 2147483646 w 792"/>
                  <a:gd name="T59" fmla="*/ 2147483646 h 696"/>
                  <a:gd name="T60" fmla="*/ 2147483646 w 792"/>
                  <a:gd name="T61" fmla="*/ 2147483646 h 696"/>
                  <a:gd name="T62" fmla="*/ 2147483646 w 792"/>
                  <a:gd name="T63" fmla="*/ 2147483646 h 696"/>
                  <a:gd name="T64" fmla="*/ 2147483646 w 792"/>
                  <a:gd name="T65" fmla="*/ 2147483646 h 696"/>
                  <a:gd name="T66" fmla="*/ 2147483646 w 792"/>
                  <a:gd name="T67" fmla="*/ 2147483646 h 696"/>
                  <a:gd name="T68" fmla="*/ 2147483646 w 792"/>
                  <a:gd name="T69" fmla="*/ 2147483646 h 696"/>
                  <a:gd name="T70" fmla="*/ 2147483646 w 792"/>
                  <a:gd name="T71" fmla="*/ 2147483646 h 696"/>
                  <a:gd name="T72" fmla="*/ 2147483646 w 792"/>
                  <a:gd name="T73" fmla="*/ 2147483646 h 696"/>
                  <a:gd name="T74" fmla="*/ 2147483646 w 792"/>
                  <a:gd name="T75" fmla="*/ 2147483646 h 696"/>
                  <a:gd name="T76" fmla="*/ 2147483646 w 792"/>
                  <a:gd name="T77" fmla="*/ 2147483646 h 696"/>
                  <a:gd name="T78" fmla="*/ 2147483646 w 792"/>
                  <a:gd name="T79" fmla="*/ 2147483646 h 696"/>
                  <a:gd name="T80" fmla="*/ 2147483646 w 792"/>
                  <a:gd name="T81" fmla="*/ 2147483646 h 696"/>
                  <a:gd name="T82" fmla="*/ 2147483646 w 792"/>
                  <a:gd name="T83" fmla="*/ 2147483646 h 696"/>
                  <a:gd name="T84" fmla="*/ 2147483646 w 792"/>
                  <a:gd name="T85" fmla="*/ 2147483646 h 696"/>
                  <a:gd name="T86" fmla="*/ 2147483646 w 792"/>
                  <a:gd name="T87" fmla="*/ 2147483646 h 696"/>
                  <a:gd name="T88" fmla="*/ 2147483646 w 792"/>
                  <a:gd name="T89" fmla="*/ 2147483646 h 696"/>
                  <a:gd name="T90" fmla="*/ 2147483646 w 792"/>
                  <a:gd name="T91" fmla="*/ 2147483646 h 696"/>
                  <a:gd name="T92" fmla="*/ 2147483646 w 792"/>
                  <a:gd name="T93" fmla="*/ 2147483646 h 696"/>
                  <a:gd name="T94" fmla="*/ 2147483646 w 792"/>
                  <a:gd name="T95" fmla="*/ 2147483646 h 696"/>
                  <a:gd name="T96" fmla="*/ 2147483646 w 792"/>
                  <a:gd name="T97" fmla="*/ 2147483646 h 696"/>
                  <a:gd name="T98" fmla="*/ 2147483646 w 792"/>
                  <a:gd name="T99" fmla="*/ 2147483646 h 696"/>
                  <a:gd name="T100" fmla="*/ 2147483646 w 792"/>
                  <a:gd name="T101" fmla="*/ 2147483646 h 696"/>
                  <a:gd name="T102" fmla="*/ 2147483646 w 792"/>
                  <a:gd name="T103" fmla="*/ 2147483646 h 696"/>
                  <a:gd name="T104" fmla="*/ 2147483646 w 792"/>
                  <a:gd name="T105" fmla="*/ 2147483646 h 696"/>
                  <a:gd name="T106" fmla="*/ 2147483646 w 792"/>
                  <a:gd name="T107" fmla="*/ 2147483646 h 696"/>
                  <a:gd name="T108" fmla="*/ 2147483646 w 792"/>
                  <a:gd name="T109" fmla="*/ 2147483646 h 696"/>
                  <a:gd name="T110" fmla="*/ 2147483646 w 792"/>
                  <a:gd name="T111" fmla="*/ 2147483646 h 696"/>
                  <a:gd name="T112" fmla="*/ 2147483646 w 792"/>
                  <a:gd name="T113" fmla="*/ 2147483646 h 696"/>
                  <a:gd name="T114" fmla="*/ 2147483646 w 792"/>
                  <a:gd name="T115" fmla="*/ 2147483646 h 696"/>
                  <a:gd name="T116" fmla="*/ 2147483646 w 792"/>
                  <a:gd name="T117" fmla="*/ 2147483646 h 696"/>
                  <a:gd name="T118" fmla="*/ 2147483646 w 792"/>
                  <a:gd name="T119" fmla="*/ 2147483646 h 696"/>
                  <a:gd name="T120" fmla="*/ 2147483646 w 792"/>
                  <a:gd name="T121" fmla="*/ 2147483646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696"/>
                  <a:gd name="T185" fmla="*/ 792 w 792"/>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696">
                    <a:moveTo>
                      <a:pt x="728" y="80"/>
                    </a:moveTo>
                    <a:lnTo>
                      <a:pt x="616" y="72"/>
                    </a:lnTo>
                    <a:lnTo>
                      <a:pt x="592" y="88"/>
                    </a:lnTo>
                    <a:lnTo>
                      <a:pt x="560" y="48"/>
                    </a:lnTo>
                    <a:lnTo>
                      <a:pt x="536" y="112"/>
                    </a:lnTo>
                    <a:lnTo>
                      <a:pt x="496" y="24"/>
                    </a:lnTo>
                    <a:lnTo>
                      <a:pt x="432" y="32"/>
                    </a:lnTo>
                    <a:lnTo>
                      <a:pt x="384" y="0"/>
                    </a:lnTo>
                    <a:lnTo>
                      <a:pt x="368" y="32"/>
                    </a:lnTo>
                    <a:lnTo>
                      <a:pt x="336" y="8"/>
                    </a:lnTo>
                    <a:lnTo>
                      <a:pt x="280" y="24"/>
                    </a:lnTo>
                    <a:lnTo>
                      <a:pt x="320" y="88"/>
                    </a:lnTo>
                    <a:lnTo>
                      <a:pt x="368" y="96"/>
                    </a:lnTo>
                    <a:lnTo>
                      <a:pt x="360" y="184"/>
                    </a:lnTo>
                    <a:lnTo>
                      <a:pt x="400" y="192"/>
                    </a:lnTo>
                    <a:lnTo>
                      <a:pt x="416" y="240"/>
                    </a:lnTo>
                    <a:lnTo>
                      <a:pt x="360" y="304"/>
                    </a:lnTo>
                    <a:lnTo>
                      <a:pt x="344" y="368"/>
                    </a:lnTo>
                    <a:lnTo>
                      <a:pt x="256" y="376"/>
                    </a:lnTo>
                    <a:lnTo>
                      <a:pt x="224" y="408"/>
                    </a:lnTo>
                    <a:lnTo>
                      <a:pt x="168" y="408"/>
                    </a:lnTo>
                    <a:lnTo>
                      <a:pt x="104" y="448"/>
                    </a:lnTo>
                    <a:lnTo>
                      <a:pt x="24" y="448"/>
                    </a:lnTo>
                    <a:lnTo>
                      <a:pt x="0" y="480"/>
                    </a:lnTo>
                    <a:lnTo>
                      <a:pt x="72" y="512"/>
                    </a:lnTo>
                    <a:lnTo>
                      <a:pt x="80" y="528"/>
                    </a:lnTo>
                    <a:lnTo>
                      <a:pt x="184" y="528"/>
                    </a:lnTo>
                    <a:lnTo>
                      <a:pt x="200" y="496"/>
                    </a:lnTo>
                    <a:lnTo>
                      <a:pt x="224" y="536"/>
                    </a:lnTo>
                    <a:lnTo>
                      <a:pt x="240" y="560"/>
                    </a:lnTo>
                    <a:lnTo>
                      <a:pt x="296" y="552"/>
                    </a:lnTo>
                    <a:lnTo>
                      <a:pt x="328" y="528"/>
                    </a:lnTo>
                    <a:lnTo>
                      <a:pt x="352" y="560"/>
                    </a:lnTo>
                    <a:lnTo>
                      <a:pt x="360" y="616"/>
                    </a:lnTo>
                    <a:lnTo>
                      <a:pt x="416" y="656"/>
                    </a:lnTo>
                    <a:lnTo>
                      <a:pt x="488" y="688"/>
                    </a:lnTo>
                    <a:lnTo>
                      <a:pt x="560" y="688"/>
                    </a:lnTo>
                    <a:lnTo>
                      <a:pt x="656" y="696"/>
                    </a:lnTo>
                    <a:lnTo>
                      <a:pt x="656" y="648"/>
                    </a:lnTo>
                    <a:lnTo>
                      <a:pt x="672" y="576"/>
                    </a:lnTo>
                    <a:lnTo>
                      <a:pt x="688" y="512"/>
                    </a:lnTo>
                    <a:lnTo>
                      <a:pt x="664" y="448"/>
                    </a:lnTo>
                    <a:lnTo>
                      <a:pt x="688" y="408"/>
                    </a:lnTo>
                    <a:lnTo>
                      <a:pt x="696" y="376"/>
                    </a:lnTo>
                    <a:lnTo>
                      <a:pt x="656" y="360"/>
                    </a:lnTo>
                    <a:lnTo>
                      <a:pt x="656" y="312"/>
                    </a:lnTo>
                    <a:lnTo>
                      <a:pt x="688" y="288"/>
                    </a:lnTo>
                    <a:lnTo>
                      <a:pt x="696" y="264"/>
                    </a:lnTo>
                    <a:lnTo>
                      <a:pt x="720" y="232"/>
                    </a:lnTo>
                    <a:lnTo>
                      <a:pt x="752" y="192"/>
                    </a:lnTo>
                    <a:lnTo>
                      <a:pt x="768" y="144"/>
                    </a:lnTo>
                    <a:lnTo>
                      <a:pt x="792" y="112"/>
                    </a:lnTo>
                    <a:lnTo>
                      <a:pt x="768" y="128"/>
                    </a:lnTo>
                    <a:lnTo>
                      <a:pt x="736" y="168"/>
                    </a:lnTo>
                    <a:lnTo>
                      <a:pt x="712" y="208"/>
                    </a:lnTo>
                    <a:lnTo>
                      <a:pt x="712" y="152"/>
                    </a:lnTo>
                    <a:lnTo>
                      <a:pt x="696" y="144"/>
                    </a:lnTo>
                    <a:lnTo>
                      <a:pt x="720" y="128"/>
                    </a:lnTo>
                    <a:lnTo>
                      <a:pt x="704" y="96"/>
                    </a:lnTo>
                    <a:lnTo>
                      <a:pt x="720" y="96"/>
                    </a:lnTo>
                    <a:lnTo>
                      <a:pt x="728" y="80"/>
                    </a:lnTo>
                    <a:close/>
                  </a:path>
                </a:pathLst>
              </a:custGeom>
              <a:solidFill>
                <a:srgbClr val="C6CFEB"/>
              </a:solidFill>
              <a:ln w="9525">
                <a:solidFill>
                  <a:schemeClr val="bg1"/>
                </a:solidFill>
                <a:round/>
                <a:headEnd/>
                <a:tailEnd/>
              </a:ln>
            </p:spPr>
            <p:txBody>
              <a:bodyPr/>
              <a:lstStyle/>
              <a:p>
                <a:endParaRPr lang="en-US" sz="1050"/>
              </a:p>
            </p:txBody>
          </p:sp>
          <p:sp>
            <p:nvSpPr>
              <p:cNvPr id="127" name="Freeform 126"/>
              <p:cNvSpPr>
                <a:spLocks/>
              </p:cNvSpPr>
              <p:nvPr/>
            </p:nvSpPr>
            <p:spPr bwMode="auto">
              <a:xfrm>
                <a:off x="5589346" y="5020729"/>
                <a:ext cx="1055976" cy="364353"/>
              </a:xfrm>
              <a:custGeom>
                <a:avLst/>
                <a:gdLst>
                  <a:gd name="T0" fmla="*/ 2147483646 w 896"/>
                  <a:gd name="T1" fmla="*/ 2147483646 h 336"/>
                  <a:gd name="T2" fmla="*/ 2147483646 w 896"/>
                  <a:gd name="T3" fmla="*/ 2147483646 h 336"/>
                  <a:gd name="T4" fmla="*/ 2147483646 w 896"/>
                  <a:gd name="T5" fmla="*/ 2147483646 h 336"/>
                  <a:gd name="T6" fmla="*/ 2147483646 w 896"/>
                  <a:gd name="T7" fmla="*/ 2147483646 h 336"/>
                  <a:gd name="T8" fmla="*/ 2147483646 w 896"/>
                  <a:gd name="T9" fmla="*/ 2147483646 h 336"/>
                  <a:gd name="T10" fmla="*/ 2147483646 w 896"/>
                  <a:gd name="T11" fmla="*/ 2147483646 h 336"/>
                  <a:gd name="T12" fmla="*/ 2147483646 w 896"/>
                  <a:gd name="T13" fmla="*/ 2147483646 h 336"/>
                  <a:gd name="T14" fmla="*/ 2147483646 w 896"/>
                  <a:gd name="T15" fmla="*/ 2147483646 h 336"/>
                  <a:gd name="T16" fmla="*/ 2147483646 w 896"/>
                  <a:gd name="T17" fmla="*/ 2147483646 h 336"/>
                  <a:gd name="T18" fmla="*/ 2147483646 w 896"/>
                  <a:gd name="T19" fmla="*/ 2147483646 h 336"/>
                  <a:gd name="T20" fmla="*/ 2147483646 w 896"/>
                  <a:gd name="T21" fmla="*/ 2147483646 h 336"/>
                  <a:gd name="T22" fmla="*/ 2147483646 w 896"/>
                  <a:gd name="T23" fmla="*/ 2147483646 h 336"/>
                  <a:gd name="T24" fmla="*/ 2147483646 w 896"/>
                  <a:gd name="T25" fmla="*/ 2147483646 h 336"/>
                  <a:gd name="T26" fmla="*/ 2147483646 w 896"/>
                  <a:gd name="T27" fmla="*/ 2147483646 h 336"/>
                  <a:gd name="T28" fmla="*/ 2147483646 w 896"/>
                  <a:gd name="T29" fmla="*/ 2147483646 h 336"/>
                  <a:gd name="T30" fmla="*/ 2147483646 w 896"/>
                  <a:gd name="T31" fmla="*/ 2147483646 h 336"/>
                  <a:gd name="T32" fmla="*/ 2147483646 w 896"/>
                  <a:gd name="T33" fmla="*/ 2147483646 h 336"/>
                  <a:gd name="T34" fmla="*/ 2147483646 w 896"/>
                  <a:gd name="T35" fmla="*/ 2147483646 h 336"/>
                  <a:gd name="T36" fmla="*/ 2147483646 w 896"/>
                  <a:gd name="T37" fmla="*/ 2147483646 h 336"/>
                  <a:gd name="T38" fmla="*/ 2147483646 w 896"/>
                  <a:gd name="T39" fmla="*/ 2147483646 h 336"/>
                  <a:gd name="T40" fmla="*/ 2147483646 w 896"/>
                  <a:gd name="T41" fmla="*/ 2147483646 h 336"/>
                  <a:gd name="T42" fmla="*/ 2147483646 w 896"/>
                  <a:gd name="T43" fmla="*/ 2147483646 h 336"/>
                  <a:gd name="T44" fmla="*/ 2147483646 w 896"/>
                  <a:gd name="T45" fmla="*/ 0 h 336"/>
                  <a:gd name="T46" fmla="*/ 2147483646 w 896"/>
                  <a:gd name="T47" fmla="*/ 2147483646 h 336"/>
                  <a:gd name="T48" fmla="*/ 2147483646 w 896"/>
                  <a:gd name="T49" fmla="*/ 2147483646 h 336"/>
                  <a:gd name="T50" fmla="*/ 2147483646 w 896"/>
                  <a:gd name="T51" fmla="*/ 2147483646 h 336"/>
                  <a:gd name="T52" fmla="*/ 0 w 896"/>
                  <a:gd name="T53" fmla="*/ 2147483646 h 336"/>
                  <a:gd name="T54" fmla="*/ 2147483646 w 896"/>
                  <a:gd name="T55" fmla="*/ 2147483646 h 336"/>
                  <a:gd name="T56" fmla="*/ 2147483646 w 896"/>
                  <a:gd name="T57" fmla="*/ 2147483646 h 336"/>
                  <a:gd name="T58" fmla="*/ 2147483646 w 896"/>
                  <a:gd name="T59" fmla="*/ 2147483646 h 336"/>
                  <a:gd name="T60" fmla="*/ 2147483646 w 896"/>
                  <a:gd name="T61" fmla="*/ 2147483646 h 336"/>
                  <a:gd name="T62" fmla="*/ 2147483646 w 896"/>
                  <a:gd name="T63" fmla="*/ 2147483646 h 336"/>
                  <a:gd name="T64" fmla="*/ 2147483646 w 896"/>
                  <a:gd name="T65" fmla="*/ 2147483646 h 336"/>
                  <a:gd name="T66" fmla="*/ 2147483646 w 896"/>
                  <a:gd name="T67" fmla="*/ 2147483646 h 336"/>
                  <a:gd name="T68" fmla="*/ 2147483646 w 896"/>
                  <a:gd name="T69" fmla="*/ 2147483646 h 336"/>
                  <a:gd name="T70" fmla="*/ 2147483646 w 896"/>
                  <a:gd name="T71" fmla="*/ 2147483646 h 336"/>
                  <a:gd name="T72" fmla="*/ 2147483646 w 896"/>
                  <a:gd name="T73" fmla="*/ 2147483646 h 336"/>
                  <a:gd name="T74" fmla="*/ 2147483646 w 896"/>
                  <a:gd name="T75" fmla="*/ 2147483646 h 336"/>
                  <a:gd name="T76" fmla="*/ 2147483646 w 896"/>
                  <a:gd name="T77" fmla="*/ 2147483646 h 336"/>
                  <a:gd name="T78" fmla="*/ 2147483646 w 896"/>
                  <a:gd name="T79" fmla="*/ 2147483646 h 336"/>
                  <a:gd name="T80" fmla="*/ 2147483646 w 896"/>
                  <a:gd name="T81" fmla="*/ 2147483646 h 336"/>
                  <a:gd name="T82" fmla="*/ 2147483646 w 896"/>
                  <a:gd name="T83" fmla="*/ 2147483646 h 336"/>
                  <a:gd name="T84" fmla="*/ 2147483646 w 896"/>
                  <a:gd name="T85" fmla="*/ 2147483646 h 336"/>
                  <a:gd name="T86" fmla="*/ 2147483646 w 896"/>
                  <a:gd name="T87" fmla="*/ 2147483646 h 336"/>
                  <a:gd name="T88" fmla="*/ 2147483646 w 896"/>
                  <a:gd name="T89" fmla="*/ 2147483646 h 336"/>
                  <a:gd name="T90" fmla="*/ 2147483646 w 896"/>
                  <a:gd name="T91" fmla="*/ 2147483646 h 336"/>
                  <a:gd name="T92" fmla="*/ 2147483646 w 896"/>
                  <a:gd name="T93" fmla="*/ 2147483646 h 336"/>
                  <a:gd name="T94" fmla="*/ 2147483646 w 896"/>
                  <a:gd name="T95" fmla="*/ 2147483646 h 336"/>
                  <a:gd name="T96" fmla="*/ 2147483646 w 896"/>
                  <a:gd name="T97" fmla="*/ 2147483646 h 3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6"/>
                  <a:gd name="T148" fmla="*/ 0 h 336"/>
                  <a:gd name="T149" fmla="*/ 896 w 896"/>
                  <a:gd name="T150" fmla="*/ 336 h 3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6" h="336">
                    <a:moveTo>
                      <a:pt x="840" y="336"/>
                    </a:moveTo>
                    <a:lnTo>
                      <a:pt x="896" y="272"/>
                    </a:lnTo>
                    <a:lnTo>
                      <a:pt x="880" y="224"/>
                    </a:lnTo>
                    <a:lnTo>
                      <a:pt x="840" y="216"/>
                    </a:lnTo>
                    <a:lnTo>
                      <a:pt x="848" y="128"/>
                    </a:lnTo>
                    <a:lnTo>
                      <a:pt x="800" y="120"/>
                    </a:lnTo>
                    <a:lnTo>
                      <a:pt x="760" y="56"/>
                    </a:lnTo>
                    <a:lnTo>
                      <a:pt x="744" y="16"/>
                    </a:lnTo>
                    <a:lnTo>
                      <a:pt x="696" y="56"/>
                    </a:lnTo>
                    <a:lnTo>
                      <a:pt x="624" y="40"/>
                    </a:lnTo>
                    <a:lnTo>
                      <a:pt x="584" y="8"/>
                    </a:lnTo>
                    <a:lnTo>
                      <a:pt x="568" y="48"/>
                    </a:lnTo>
                    <a:lnTo>
                      <a:pt x="536" y="8"/>
                    </a:lnTo>
                    <a:lnTo>
                      <a:pt x="504" y="16"/>
                    </a:lnTo>
                    <a:lnTo>
                      <a:pt x="496" y="48"/>
                    </a:lnTo>
                    <a:lnTo>
                      <a:pt x="456" y="56"/>
                    </a:lnTo>
                    <a:lnTo>
                      <a:pt x="424" y="80"/>
                    </a:lnTo>
                    <a:lnTo>
                      <a:pt x="424" y="32"/>
                    </a:lnTo>
                    <a:lnTo>
                      <a:pt x="392" y="24"/>
                    </a:lnTo>
                    <a:lnTo>
                      <a:pt x="360" y="56"/>
                    </a:lnTo>
                    <a:lnTo>
                      <a:pt x="280" y="24"/>
                    </a:lnTo>
                    <a:lnTo>
                      <a:pt x="208" y="48"/>
                    </a:lnTo>
                    <a:lnTo>
                      <a:pt x="176" y="0"/>
                    </a:lnTo>
                    <a:lnTo>
                      <a:pt x="136" y="8"/>
                    </a:lnTo>
                    <a:lnTo>
                      <a:pt x="120" y="40"/>
                    </a:lnTo>
                    <a:lnTo>
                      <a:pt x="32" y="48"/>
                    </a:lnTo>
                    <a:lnTo>
                      <a:pt x="0" y="88"/>
                    </a:lnTo>
                    <a:lnTo>
                      <a:pt x="24" y="136"/>
                    </a:lnTo>
                    <a:lnTo>
                      <a:pt x="24" y="192"/>
                    </a:lnTo>
                    <a:lnTo>
                      <a:pt x="64" y="208"/>
                    </a:lnTo>
                    <a:lnTo>
                      <a:pt x="128" y="200"/>
                    </a:lnTo>
                    <a:lnTo>
                      <a:pt x="160" y="216"/>
                    </a:lnTo>
                    <a:lnTo>
                      <a:pt x="176" y="272"/>
                    </a:lnTo>
                    <a:lnTo>
                      <a:pt x="256" y="248"/>
                    </a:lnTo>
                    <a:lnTo>
                      <a:pt x="296" y="192"/>
                    </a:lnTo>
                    <a:lnTo>
                      <a:pt x="312" y="224"/>
                    </a:lnTo>
                    <a:lnTo>
                      <a:pt x="392" y="208"/>
                    </a:lnTo>
                    <a:lnTo>
                      <a:pt x="400" y="248"/>
                    </a:lnTo>
                    <a:lnTo>
                      <a:pt x="480" y="240"/>
                    </a:lnTo>
                    <a:lnTo>
                      <a:pt x="512" y="256"/>
                    </a:lnTo>
                    <a:lnTo>
                      <a:pt x="536" y="224"/>
                    </a:lnTo>
                    <a:lnTo>
                      <a:pt x="576" y="264"/>
                    </a:lnTo>
                    <a:lnTo>
                      <a:pt x="616" y="224"/>
                    </a:lnTo>
                    <a:lnTo>
                      <a:pt x="624" y="272"/>
                    </a:lnTo>
                    <a:lnTo>
                      <a:pt x="656" y="256"/>
                    </a:lnTo>
                    <a:lnTo>
                      <a:pt x="704" y="288"/>
                    </a:lnTo>
                    <a:lnTo>
                      <a:pt x="760" y="328"/>
                    </a:lnTo>
                    <a:lnTo>
                      <a:pt x="776" y="312"/>
                    </a:lnTo>
                    <a:lnTo>
                      <a:pt x="840" y="336"/>
                    </a:lnTo>
                    <a:close/>
                  </a:path>
                </a:pathLst>
              </a:custGeom>
              <a:solidFill>
                <a:srgbClr val="9950A8"/>
              </a:solidFill>
              <a:ln w="9525">
                <a:solidFill>
                  <a:schemeClr val="bg1"/>
                </a:solidFill>
                <a:round/>
                <a:headEnd/>
                <a:tailEnd/>
              </a:ln>
            </p:spPr>
            <p:txBody>
              <a:bodyPr/>
              <a:lstStyle/>
              <a:p>
                <a:endParaRPr lang="en-US" sz="1050"/>
              </a:p>
            </p:txBody>
          </p:sp>
          <p:sp>
            <p:nvSpPr>
              <p:cNvPr id="128" name="Freeform 127"/>
              <p:cNvSpPr>
                <a:spLocks/>
              </p:cNvSpPr>
              <p:nvPr/>
            </p:nvSpPr>
            <p:spPr bwMode="auto">
              <a:xfrm>
                <a:off x="5598775" y="5228931"/>
                <a:ext cx="980549" cy="390378"/>
              </a:xfrm>
              <a:custGeom>
                <a:avLst/>
                <a:gdLst>
                  <a:gd name="T0" fmla="*/ 2147483646 w 832"/>
                  <a:gd name="T1" fmla="*/ 2147483646 h 360"/>
                  <a:gd name="T2" fmla="*/ 2147483646 w 832"/>
                  <a:gd name="T3" fmla="*/ 2147483646 h 360"/>
                  <a:gd name="T4" fmla="*/ 2147483646 w 832"/>
                  <a:gd name="T5" fmla="*/ 2147483646 h 360"/>
                  <a:gd name="T6" fmla="*/ 2147483646 w 832"/>
                  <a:gd name="T7" fmla="*/ 2147483646 h 360"/>
                  <a:gd name="T8" fmla="*/ 2147483646 w 832"/>
                  <a:gd name="T9" fmla="*/ 2147483646 h 360"/>
                  <a:gd name="T10" fmla="*/ 2147483646 w 832"/>
                  <a:gd name="T11" fmla="*/ 2147483646 h 360"/>
                  <a:gd name="T12" fmla="*/ 2147483646 w 832"/>
                  <a:gd name="T13" fmla="*/ 2147483646 h 360"/>
                  <a:gd name="T14" fmla="*/ 2147483646 w 832"/>
                  <a:gd name="T15" fmla="*/ 2147483646 h 360"/>
                  <a:gd name="T16" fmla="*/ 2147483646 w 832"/>
                  <a:gd name="T17" fmla="*/ 2147483646 h 360"/>
                  <a:gd name="T18" fmla="*/ 2147483646 w 832"/>
                  <a:gd name="T19" fmla="*/ 2147483646 h 360"/>
                  <a:gd name="T20" fmla="*/ 2147483646 w 832"/>
                  <a:gd name="T21" fmla="*/ 2147483646 h 360"/>
                  <a:gd name="T22" fmla="*/ 2147483646 w 832"/>
                  <a:gd name="T23" fmla="*/ 2147483646 h 360"/>
                  <a:gd name="T24" fmla="*/ 2147483646 w 832"/>
                  <a:gd name="T25" fmla="*/ 2147483646 h 360"/>
                  <a:gd name="T26" fmla="*/ 2147483646 w 832"/>
                  <a:gd name="T27" fmla="*/ 2147483646 h 360"/>
                  <a:gd name="T28" fmla="*/ 2147483646 w 832"/>
                  <a:gd name="T29" fmla="*/ 2147483646 h 360"/>
                  <a:gd name="T30" fmla="*/ 2147483646 w 832"/>
                  <a:gd name="T31" fmla="*/ 2147483646 h 360"/>
                  <a:gd name="T32" fmla="*/ 2147483646 w 832"/>
                  <a:gd name="T33" fmla="*/ 2147483646 h 360"/>
                  <a:gd name="T34" fmla="*/ 2147483646 w 832"/>
                  <a:gd name="T35" fmla="*/ 2147483646 h 360"/>
                  <a:gd name="T36" fmla="*/ 2147483646 w 832"/>
                  <a:gd name="T37" fmla="*/ 2147483646 h 360"/>
                  <a:gd name="T38" fmla="*/ 2147483646 w 832"/>
                  <a:gd name="T39" fmla="*/ 2147483646 h 360"/>
                  <a:gd name="T40" fmla="*/ 2147483646 w 832"/>
                  <a:gd name="T41" fmla="*/ 0 h 360"/>
                  <a:gd name="T42" fmla="*/ 2147483646 w 832"/>
                  <a:gd name="T43" fmla="*/ 2147483646 h 360"/>
                  <a:gd name="T44" fmla="*/ 2147483646 w 832"/>
                  <a:gd name="T45" fmla="*/ 2147483646 h 360"/>
                  <a:gd name="T46" fmla="*/ 2147483646 w 832"/>
                  <a:gd name="T47" fmla="*/ 2147483646 h 360"/>
                  <a:gd name="T48" fmla="*/ 2147483646 w 832"/>
                  <a:gd name="T49" fmla="*/ 2147483646 h 360"/>
                  <a:gd name="T50" fmla="*/ 2147483646 w 832"/>
                  <a:gd name="T51" fmla="*/ 2147483646 h 360"/>
                  <a:gd name="T52" fmla="*/ 2147483646 w 832"/>
                  <a:gd name="T53" fmla="*/ 2147483646 h 360"/>
                  <a:gd name="T54" fmla="*/ 2147483646 w 832"/>
                  <a:gd name="T55" fmla="*/ 2147483646 h 360"/>
                  <a:gd name="T56" fmla="*/ 2147483646 w 832"/>
                  <a:gd name="T57" fmla="*/ 2147483646 h 360"/>
                  <a:gd name="T58" fmla="*/ 0 w 832"/>
                  <a:gd name="T59" fmla="*/ 2147483646 h 360"/>
                  <a:gd name="T60" fmla="*/ 2147483646 w 832"/>
                  <a:gd name="T61" fmla="*/ 2147483646 h 360"/>
                  <a:gd name="T62" fmla="*/ 2147483646 w 832"/>
                  <a:gd name="T63" fmla="*/ 2147483646 h 360"/>
                  <a:gd name="T64" fmla="*/ 2147483646 w 832"/>
                  <a:gd name="T65" fmla="*/ 2147483646 h 360"/>
                  <a:gd name="T66" fmla="*/ 2147483646 w 832"/>
                  <a:gd name="T67" fmla="*/ 2147483646 h 360"/>
                  <a:gd name="T68" fmla="*/ 2147483646 w 832"/>
                  <a:gd name="T69" fmla="*/ 2147483646 h 360"/>
                  <a:gd name="T70" fmla="*/ 2147483646 w 832"/>
                  <a:gd name="T71" fmla="*/ 2147483646 h 360"/>
                  <a:gd name="T72" fmla="*/ 2147483646 w 832"/>
                  <a:gd name="T73" fmla="*/ 2147483646 h 360"/>
                  <a:gd name="T74" fmla="*/ 2147483646 w 832"/>
                  <a:gd name="T75" fmla="*/ 2147483646 h 360"/>
                  <a:gd name="T76" fmla="*/ 2147483646 w 832"/>
                  <a:gd name="T77" fmla="*/ 2147483646 h 360"/>
                  <a:gd name="T78" fmla="*/ 2147483646 w 832"/>
                  <a:gd name="T79" fmla="*/ 2147483646 h 360"/>
                  <a:gd name="T80" fmla="*/ 2147483646 w 832"/>
                  <a:gd name="T81" fmla="*/ 2147483646 h 360"/>
                  <a:gd name="T82" fmla="*/ 2147483646 w 832"/>
                  <a:gd name="T83" fmla="*/ 2147483646 h 3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2"/>
                  <a:gd name="T127" fmla="*/ 0 h 360"/>
                  <a:gd name="T128" fmla="*/ 832 w 832"/>
                  <a:gd name="T129" fmla="*/ 360 h 3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2" h="360">
                    <a:moveTo>
                      <a:pt x="472" y="320"/>
                    </a:moveTo>
                    <a:lnTo>
                      <a:pt x="496" y="288"/>
                    </a:lnTo>
                    <a:lnTo>
                      <a:pt x="576" y="288"/>
                    </a:lnTo>
                    <a:lnTo>
                      <a:pt x="640" y="248"/>
                    </a:lnTo>
                    <a:lnTo>
                      <a:pt x="696" y="248"/>
                    </a:lnTo>
                    <a:lnTo>
                      <a:pt x="728" y="216"/>
                    </a:lnTo>
                    <a:lnTo>
                      <a:pt x="816" y="208"/>
                    </a:lnTo>
                    <a:lnTo>
                      <a:pt x="832" y="144"/>
                    </a:lnTo>
                    <a:lnTo>
                      <a:pt x="768" y="120"/>
                    </a:lnTo>
                    <a:lnTo>
                      <a:pt x="752" y="136"/>
                    </a:lnTo>
                    <a:lnTo>
                      <a:pt x="648" y="64"/>
                    </a:lnTo>
                    <a:lnTo>
                      <a:pt x="616" y="80"/>
                    </a:lnTo>
                    <a:lnTo>
                      <a:pt x="608" y="32"/>
                    </a:lnTo>
                    <a:lnTo>
                      <a:pt x="568" y="72"/>
                    </a:lnTo>
                    <a:lnTo>
                      <a:pt x="528" y="32"/>
                    </a:lnTo>
                    <a:lnTo>
                      <a:pt x="504" y="64"/>
                    </a:lnTo>
                    <a:lnTo>
                      <a:pt x="472" y="48"/>
                    </a:lnTo>
                    <a:lnTo>
                      <a:pt x="392" y="56"/>
                    </a:lnTo>
                    <a:lnTo>
                      <a:pt x="384" y="16"/>
                    </a:lnTo>
                    <a:lnTo>
                      <a:pt x="304" y="32"/>
                    </a:lnTo>
                    <a:lnTo>
                      <a:pt x="288" y="0"/>
                    </a:lnTo>
                    <a:lnTo>
                      <a:pt x="248" y="56"/>
                    </a:lnTo>
                    <a:lnTo>
                      <a:pt x="168" y="80"/>
                    </a:lnTo>
                    <a:lnTo>
                      <a:pt x="152" y="24"/>
                    </a:lnTo>
                    <a:lnTo>
                      <a:pt x="120" y="8"/>
                    </a:lnTo>
                    <a:lnTo>
                      <a:pt x="40" y="8"/>
                    </a:lnTo>
                    <a:lnTo>
                      <a:pt x="56" y="48"/>
                    </a:lnTo>
                    <a:lnTo>
                      <a:pt x="96" y="80"/>
                    </a:lnTo>
                    <a:lnTo>
                      <a:pt x="32" y="120"/>
                    </a:lnTo>
                    <a:lnTo>
                      <a:pt x="0" y="160"/>
                    </a:lnTo>
                    <a:lnTo>
                      <a:pt x="16" y="200"/>
                    </a:lnTo>
                    <a:lnTo>
                      <a:pt x="48" y="192"/>
                    </a:lnTo>
                    <a:lnTo>
                      <a:pt x="112" y="272"/>
                    </a:lnTo>
                    <a:lnTo>
                      <a:pt x="64" y="360"/>
                    </a:lnTo>
                    <a:lnTo>
                      <a:pt x="160" y="352"/>
                    </a:lnTo>
                    <a:lnTo>
                      <a:pt x="224" y="328"/>
                    </a:lnTo>
                    <a:lnTo>
                      <a:pt x="248" y="336"/>
                    </a:lnTo>
                    <a:lnTo>
                      <a:pt x="288" y="304"/>
                    </a:lnTo>
                    <a:lnTo>
                      <a:pt x="328" y="288"/>
                    </a:lnTo>
                    <a:lnTo>
                      <a:pt x="384" y="288"/>
                    </a:lnTo>
                    <a:lnTo>
                      <a:pt x="440" y="296"/>
                    </a:lnTo>
                    <a:lnTo>
                      <a:pt x="472" y="320"/>
                    </a:lnTo>
                    <a:close/>
                  </a:path>
                </a:pathLst>
              </a:custGeom>
              <a:solidFill>
                <a:srgbClr val="9950A8"/>
              </a:solidFill>
              <a:ln w="9525">
                <a:solidFill>
                  <a:schemeClr val="bg1"/>
                </a:solidFill>
                <a:round/>
                <a:headEnd/>
                <a:tailEnd/>
              </a:ln>
            </p:spPr>
            <p:txBody>
              <a:bodyPr/>
              <a:lstStyle/>
              <a:p>
                <a:endParaRPr lang="en-US" sz="1050"/>
              </a:p>
            </p:txBody>
          </p:sp>
          <p:sp>
            <p:nvSpPr>
              <p:cNvPr id="129" name="Freeform 128"/>
              <p:cNvSpPr>
                <a:spLocks/>
              </p:cNvSpPr>
              <p:nvPr/>
            </p:nvSpPr>
            <p:spPr bwMode="auto">
              <a:xfrm>
                <a:off x="5391351" y="5098804"/>
                <a:ext cx="320564" cy="338328"/>
              </a:xfrm>
              <a:custGeom>
                <a:avLst/>
                <a:gdLst>
                  <a:gd name="T0" fmla="*/ 2147483646 w 272"/>
                  <a:gd name="T1" fmla="*/ 2147483646 h 312"/>
                  <a:gd name="T2" fmla="*/ 2147483646 w 272"/>
                  <a:gd name="T3" fmla="*/ 2147483646 h 312"/>
                  <a:gd name="T4" fmla="*/ 2147483646 w 272"/>
                  <a:gd name="T5" fmla="*/ 2147483646 h 312"/>
                  <a:gd name="T6" fmla="*/ 2147483646 w 272"/>
                  <a:gd name="T7" fmla="*/ 2147483646 h 312"/>
                  <a:gd name="T8" fmla="*/ 2147483646 w 272"/>
                  <a:gd name="T9" fmla="*/ 2147483646 h 312"/>
                  <a:gd name="T10" fmla="*/ 2147483646 w 272"/>
                  <a:gd name="T11" fmla="*/ 2147483646 h 312"/>
                  <a:gd name="T12" fmla="*/ 2147483646 w 272"/>
                  <a:gd name="T13" fmla="*/ 2147483646 h 312"/>
                  <a:gd name="T14" fmla="*/ 2147483646 w 272"/>
                  <a:gd name="T15" fmla="*/ 2147483646 h 312"/>
                  <a:gd name="T16" fmla="*/ 2147483646 w 272"/>
                  <a:gd name="T17" fmla="*/ 0 h 312"/>
                  <a:gd name="T18" fmla="*/ 2147483646 w 272"/>
                  <a:gd name="T19" fmla="*/ 2147483646 h 312"/>
                  <a:gd name="T20" fmla="*/ 2147483646 w 272"/>
                  <a:gd name="T21" fmla="*/ 2147483646 h 312"/>
                  <a:gd name="T22" fmla="*/ 2147483646 w 272"/>
                  <a:gd name="T23" fmla="*/ 2147483646 h 312"/>
                  <a:gd name="T24" fmla="*/ 2147483646 w 272"/>
                  <a:gd name="T25" fmla="*/ 2147483646 h 312"/>
                  <a:gd name="T26" fmla="*/ 2147483646 w 272"/>
                  <a:gd name="T27" fmla="*/ 2147483646 h 312"/>
                  <a:gd name="T28" fmla="*/ 0 w 272"/>
                  <a:gd name="T29" fmla="*/ 2147483646 h 312"/>
                  <a:gd name="T30" fmla="*/ 2147483646 w 272"/>
                  <a:gd name="T31" fmla="*/ 2147483646 h 312"/>
                  <a:gd name="T32" fmla="*/ 2147483646 w 272"/>
                  <a:gd name="T33" fmla="*/ 2147483646 h 312"/>
                  <a:gd name="T34" fmla="*/ 2147483646 w 272"/>
                  <a:gd name="T35" fmla="*/ 2147483646 h 312"/>
                  <a:gd name="T36" fmla="*/ 2147483646 w 272"/>
                  <a:gd name="T37" fmla="*/ 2147483646 h 312"/>
                  <a:gd name="T38" fmla="*/ 2147483646 w 272"/>
                  <a:gd name="T39" fmla="*/ 2147483646 h 312"/>
                  <a:gd name="T40" fmla="*/ 2147483646 w 272"/>
                  <a:gd name="T41" fmla="*/ 2147483646 h 312"/>
                  <a:gd name="T42" fmla="*/ 2147483646 w 272"/>
                  <a:gd name="T43" fmla="*/ 2147483646 h 312"/>
                  <a:gd name="T44" fmla="*/ 2147483646 w 272"/>
                  <a:gd name="T45" fmla="*/ 2147483646 h 312"/>
                  <a:gd name="T46" fmla="*/ 2147483646 w 272"/>
                  <a:gd name="T47" fmla="*/ 2147483646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2"/>
                  <a:gd name="T73" fmla="*/ 0 h 312"/>
                  <a:gd name="T74" fmla="*/ 272 w 272"/>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2" h="312">
                    <a:moveTo>
                      <a:pt x="184" y="288"/>
                    </a:moveTo>
                    <a:lnTo>
                      <a:pt x="216" y="240"/>
                    </a:lnTo>
                    <a:lnTo>
                      <a:pt x="272" y="200"/>
                    </a:lnTo>
                    <a:lnTo>
                      <a:pt x="232" y="176"/>
                    </a:lnTo>
                    <a:lnTo>
                      <a:pt x="216" y="136"/>
                    </a:lnTo>
                    <a:lnTo>
                      <a:pt x="200" y="120"/>
                    </a:lnTo>
                    <a:lnTo>
                      <a:pt x="192" y="72"/>
                    </a:lnTo>
                    <a:lnTo>
                      <a:pt x="168" y="16"/>
                    </a:lnTo>
                    <a:lnTo>
                      <a:pt x="136" y="0"/>
                    </a:lnTo>
                    <a:lnTo>
                      <a:pt x="112" y="16"/>
                    </a:lnTo>
                    <a:lnTo>
                      <a:pt x="24" y="24"/>
                    </a:lnTo>
                    <a:lnTo>
                      <a:pt x="32" y="56"/>
                    </a:lnTo>
                    <a:lnTo>
                      <a:pt x="8" y="64"/>
                    </a:lnTo>
                    <a:lnTo>
                      <a:pt x="32" y="104"/>
                    </a:lnTo>
                    <a:lnTo>
                      <a:pt x="0" y="144"/>
                    </a:lnTo>
                    <a:lnTo>
                      <a:pt x="40" y="184"/>
                    </a:lnTo>
                    <a:lnTo>
                      <a:pt x="64" y="200"/>
                    </a:lnTo>
                    <a:lnTo>
                      <a:pt x="40" y="216"/>
                    </a:lnTo>
                    <a:lnTo>
                      <a:pt x="32" y="280"/>
                    </a:lnTo>
                    <a:lnTo>
                      <a:pt x="80" y="280"/>
                    </a:lnTo>
                    <a:lnTo>
                      <a:pt x="96" y="312"/>
                    </a:lnTo>
                    <a:lnTo>
                      <a:pt x="128" y="280"/>
                    </a:lnTo>
                    <a:lnTo>
                      <a:pt x="152" y="304"/>
                    </a:lnTo>
                    <a:lnTo>
                      <a:pt x="184" y="288"/>
                    </a:lnTo>
                    <a:close/>
                  </a:path>
                </a:pathLst>
              </a:custGeom>
              <a:solidFill>
                <a:srgbClr val="FFC000"/>
              </a:solidFill>
              <a:ln w="9525">
                <a:solidFill>
                  <a:schemeClr val="bg1"/>
                </a:solidFill>
                <a:round/>
                <a:headEnd/>
                <a:tailEnd/>
              </a:ln>
            </p:spPr>
            <p:txBody>
              <a:bodyPr/>
              <a:lstStyle/>
              <a:p>
                <a:endParaRPr lang="en-US" sz="1050"/>
              </a:p>
            </p:txBody>
          </p:sp>
          <p:sp>
            <p:nvSpPr>
              <p:cNvPr id="130" name="Freeform 129"/>
              <p:cNvSpPr>
                <a:spLocks/>
              </p:cNvSpPr>
              <p:nvPr/>
            </p:nvSpPr>
            <p:spPr bwMode="auto">
              <a:xfrm>
                <a:off x="4948218" y="4569625"/>
                <a:ext cx="480846" cy="720031"/>
              </a:xfrm>
              <a:custGeom>
                <a:avLst/>
                <a:gdLst>
                  <a:gd name="T0" fmla="*/ 2147483646 w 408"/>
                  <a:gd name="T1" fmla="*/ 2147483646 h 664"/>
                  <a:gd name="T2" fmla="*/ 2147483646 w 408"/>
                  <a:gd name="T3" fmla="*/ 2147483646 h 664"/>
                  <a:gd name="T4" fmla="*/ 2147483646 w 408"/>
                  <a:gd name="T5" fmla="*/ 2147483646 h 664"/>
                  <a:gd name="T6" fmla="*/ 2147483646 w 408"/>
                  <a:gd name="T7" fmla="*/ 2147483646 h 664"/>
                  <a:gd name="T8" fmla="*/ 2147483646 w 408"/>
                  <a:gd name="T9" fmla="*/ 2147483646 h 664"/>
                  <a:gd name="T10" fmla="*/ 2147483646 w 408"/>
                  <a:gd name="T11" fmla="*/ 2147483646 h 664"/>
                  <a:gd name="T12" fmla="*/ 2147483646 w 408"/>
                  <a:gd name="T13" fmla="*/ 2147483646 h 664"/>
                  <a:gd name="T14" fmla="*/ 2147483646 w 408"/>
                  <a:gd name="T15" fmla="*/ 2147483646 h 664"/>
                  <a:gd name="T16" fmla="*/ 2147483646 w 408"/>
                  <a:gd name="T17" fmla="*/ 2147483646 h 664"/>
                  <a:gd name="T18" fmla="*/ 2147483646 w 408"/>
                  <a:gd name="T19" fmla="*/ 2147483646 h 664"/>
                  <a:gd name="T20" fmla="*/ 2147483646 w 408"/>
                  <a:gd name="T21" fmla="*/ 2147483646 h 664"/>
                  <a:gd name="T22" fmla="*/ 2147483646 w 408"/>
                  <a:gd name="T23" fmla="*/ 2147483646 h 664"/>
                  <a:gd name="T24" fmla="*/ 2147483646 w 408"/>
                  <a:gd name="T25" fmla="*/ 2147483646 h 664"/>
                  <a:gd name="T26" fmla="*/ 2147483646 w 408"/>
                  <a:gd name="T27" fmla="*/ 2147483646 h 664"/>
                  <a:gd name="T28" fmla="*/ 2147483646 w 408"/>
                  <a:gd name="T29" fmla="*/ 2147483646 h 664"/>
                  <a:gd name="T30" fmla="*/ 2147483646 w 408"/>
                  <a:gd name="T31" fmla="*/ 0 h 664"/>
                  <a:gd name="T32" fmla="*/ 2147483646 w 408"/>
                  <a:gd name="T33" fmla="*/ 2147483646 h 664"/>
                  <a:gd name="T34" fmla="*/ 2147483646 w 408"/>
                  <a:gd name="T35" fmla="*/ 2147483646 h 664"/>
                  <a:gd name="T36" fmla="*/ 2147483646 w 408"/>
                  <a:gd name="T37" fmla="*/ 2147483646 h 664"/>
                  <a:gd name="T38" fmla="*/ 2147483646 w 408"/>
                  <a:gd name="T39" fmla="*/ 2147483646 h 664"/>
                  <a:gd name="T40" fmla="*/ 2147483646 w 408"/>
                  <a:gd name="T41" fmla="*/ 2147483646 h 664"/>
                  <a:gd name="T42" fmla="*/ 2147483646 w 408"/>
                  <a:gd name="T43" fmla="*/ 2147483646 h 664"/>
                  <a:gd name="T44" fmla="*/ 0 w 408"/>
                  <a:gd name="T45" fmla="*/ 2147483646 h 664"/>
                  <a:gd name="T46" fmla="*/ 2147483646 w 408"/>
                  <a:gd name="T47" fmla="*/ 2147483646 h 664"/>
                  <a:gd name="T48" fmla="*/ 2147483646 w 408"/>
                  <a:gd name="T49" fmla="*/ 2147483646 h 664"/>
                  <a:gd name="T50" fmla="*/ 2147483646 w 408"/>
                  <a:gd name="T51" fmla="*/ 2147483646 h 664"/>
                  <a:gd name="T52" fmla="*/ 2147483646 w 408"/>
                  <a:gd name="T53" fmla="*/ 2147483646 h 664"/>
                  <a:gd name="T54" fmla="*/ 2147483646 w 408"/>
                  <a:gd name="T55" fmla="*/ 2147483646 h 664"/>
                  <a:gd name="T56" fmla="*/ 2147483646 w 408"/>
                  <a:gd name="T57" fmla="*/ 2147483646 h 664"/>
                  <a:gd name="T58" fmla="*/ 2147483646 w 408"/>
                  <a:gd name="T59" fmla="*/ 2147483646 h 664"/>
                  <a:gd name="T60" fmla="*/ 2147483646 w 408"/>
                  <a:gd name="T61" fmla="*/ 2147483646 h 664"/>
                  <a:gd name="T62" fmla="*/ 2147483646 w 408"/>
                  <a:gd name="T63" fmla="*/ 2147483646 h 664"/>
                  <a:gd name="T64" fmla="*/ 2147483646 w 408"/>
                  <a:gd name="T65" fmla="*/ 2147483646 h 664"/>
                  <a:gd name="T66" fmla="*/ 2147483646 w 408"/>
                  <a:gd name="T67" fmla="*/ 2147483646 h 664"/>
                  <a:gd name="T68" fmla="*/ 2147483646 w 408"/>
                  <a:gd name="T69" fmla="*/ 2147483646 h 664"/>
                  <a:gd name="T70" fmla="*/ 2147483646 w 408"/>
                  <a:gd name="T71" fmla="*/ 2147483646 h 664"/>
                  <a:gd name="T72" fmla="*/ 2147483646 w 408"/>
                  <a:gd name="T73" fmla="*/ 2147483646 h 664"/>
                  <a:gd name="T74" fmla="*/ 2147483646 w 408"/>
                  <a:gd name="T75" fmla="*/ 2147483646 h 664"/>
                  <a:gd name="T76" fmla="*/ 2147483646 w 408"/>
                  <a:gd name="T77" fmla="*/ 2147483646 h 664"/>
                  <a:gd name="T78" fmla="*/ 2147483646 w 408"/>
                  <a:gd name="T79" fmla="*/ 2147483646 h 664"/>
                  <a:gd name="T80" fmla="*/ 2147483646 w 408"/>
                  <a:gd name="T81" fmla="*/ 2147483646 h 6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664"/>
                  <a:gd name="T125" fmla="*/ 408 w 408"/>
                  <a:gd name="T126" fmla="*/ 664 h 66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664">
                    <a:moveTo>
                      <a:pt x="376" y="632"/>
                    </a:moveTo>
                    <a:lnTo>
                      <a:pt x="408" y="592"/>
                    </a:lnTo>
                    <a:lnTo>
                      <a:pt x="384" y="552"/>
                    </a:lnTo>
                    <a:lnTo>
                      <a:pt x="408" y="544"/>
                    </a:lnTo>
                    <a:lnTo>
                      <a:pt x="400" y="504"/>
                    </a:lnTo>
                    <a:lnTo>
                      <a:pt x="400" y="480"/>
                    </a:lnTo>
                    <a:lnTo>
                      <a:pt x="368" y="440"/>
                    </a:lnTo>
                    <a:lnTo>
                      <a:pt x="336" y="440"/>
                    </a:lnTo>
                    <a:lnTo>
                      <a:pt x="336" y="344"/>
                    </a:lnTo>
                    <a:lnTo>
                      <a:pt x="280" y="328"/>
                    </a:lnTo>
                    <a:lnTo>
                      <a:pt x="288" y="264"/>
                    </a:lnTo>
                    <a:lnTo>
                      <a:pt x="208" y="184"/>
                    </a:lnTo>
                    <a:lnTo>
                      <a:pt x="240" y="136"/>
                    </a:lnTo>
                    <a:lnTo>
                      <a:pt x="176" y="80"/>
                    </a:lnTo>
                    <a:lnTo>
                      <a:pt x="184" y="24"/>
                    </a:lnTo>
                    <a:lnTo>
                      <a:pt x="144" y="0"/>
                    </a:lnTo>
                    <a:lnTo>
                      <a:pt x="104" y="48"/>
                    </a:lnTo>
                    <a:lnTo>
                      <a:pt x="96" y="128"/>
                    </a:lnTo>
                    <a:lnTo>
                      <a:pt x="64" y="160"/>
                    </a:lnTo>
                    <a:lnTo>
                      <a:pt x="72" y="200"/>
                    </a:lnTo>
                    <a:lnTo>
                      <a:pt x="32" y="224"/>
                    </a:lnTo>
                    <a:lnTo>
                      <a:pt x="16" y="200"/>
                    </a:lnTo>
                    <a:lnTo>
                      <a:pt x="0" y="264"/>
                    </a:lnTo>
                    <a:lnTo>
                      <a:pt x="64" y="368"/>
                    </a:lnTo>
                    <a:lnTo>
                      <a:pt x="48" y="448"/>
                    </a:lnTo>
                    <a:lnTo>
                      <a:pt x="72" y="472"/>
                    </a:lnTo>
                    <a:lnTo>
                      <a:pt x="56" y="512"/>
                    </a:lnTo>
                    <a:lnTo>
                      <a:pt x="80" y="560"/>
                    </a:lnTo>
                    <a:lnTo>
                      <a:pt x="112" y="568"/>
                    </a:lnTo>
                    <a:lnTo>
                      <a:pt x="88" y="600"/>
                    </a:lnTo>
                    <a:lnTo>
                      <a:pt x="96" y="640"/>
                    </a:lnTo>
                    <a:lnTo>
                      <a:pt x="64" y="664"/>
                    </a:lnTo>
                    <a:lnTo>
                      <a:pt x="104" y="664"/>
                    </a:lnTo>
                    <a:lnTo>
                      <a:pt x="168" y="632"/>
                    </a:lnTo>
                    <a:lnTo>
                      <a:pt x="200" y="656"/>
                    </a:lnTo>
                    <a:lnTo>
                      <a:pt x="200" y="624"/>
                    </a:lnTo>
                    <a:lnTo>
                      <a:pt x="240" y="632"/>
                    </a:lnTo>
                    <a:lnTo>
                      <a:pt x="280" y="600"/>
                    </a:lnTo>
                    <a:lnTo>
                      <a:pt x="320" y="600"/>
                    </a:lnTo>
                    <a:lnTo>
                      <a:pt x="344" y="632"/>
                    </a:lnTo>
                    <a:lnTo>
                      <a:pt x="376" y="632"/>
                    </a:lnTo>
                    <a:close/>
                  </a:path>
                </a:pathLst>
              </a:custGeom>
              <a:solidFill>
                <a:srgbClr val="C6CFEB"/>
              </a:solidFill>
              <a:ln w="9525">
                <a:solidFill>
                  <a:schemeClr val="bg1"/>
                </a:solidFill>
                <a:round/>
                <a:headEnd/>
                <a:tailEnd/>
              </a:ln>
            </p:spPr>
            <p:txBody>
              <a:bodyPr/>
              <a:lstStyle/>
              <a:p>
                <a:endParaRPr lang="en-US" sz="1050"/>
              </a:p>
            </p:txBody>
          </p:sp>
          <p:sp>
            <p:nvSpPr>
              <p:cNvPr id="131" name="Freeform 130"/>
              <p:cNvSpPr>
                <a:spLocks/>
              </p:cNvSpPr>
              <p:nvPr/>
            </p:nvSpPr>
            <p:spPr bwMode="auto">
              <a:xfrm>
                <a:off x="4589941" y="4456849"/>
                <a:ext cx="490275" cy="893533"/>
              </a:xfrm>
              <a:custGeom>
                <a:avLst/>
                <a:gdLst>
                  <a:gd name="T0" fmla="*/ 2147483646 w 416"/>
                  <a:gd name="T1" fmla="*/ 2147483646 h 824"/>
                  <a:gd name="T2" fmla="*/ 2147483646 w 416"/>
                  <a:gd name="T3" fmla="*/ 2147483646 h 824"/>
                  <a:gd name="T4" fmla="*/ 2147483646 w 416"/>
                  <a:gd name="T5" fmla="*/ 2147483646 h 824"/>
                  <a:gd name="T6" fmla="*/ 2147483646 w 416"/>
                  <a:gd name="T7" fmla="*/ 2147483646 h 824"/>
                  <a:gd name="T8" fmla="*/ 2147483646 w 416"/>
                  <a:gd name="T9" fmla="*/ 2147483646 h 824"/>
                  <a:gd name="T10" fmla="*/ 2147483646 w 416"/>
                  <a:gd name="T11" fmla="*/ 2147483646 h 824"/>
                  <a:gd name="T12" fmla="*/ 2147483646 w 416"/>
                  <a:gd name="T13" fmla="*/ 2147483646 h 824"/>
                  <a:gd name="T14" fmla="*/ 2147483646 w 416"/>
                  <a:gd name="T15" fmla="*/ 2147483646 h 824"/>
                  <a:gd name="T16" fmla="*/ 2147483646 w 416"/>
                  <a:gd name="T17" fmla="*/ 2147483646 h 824"/>
                  <a:gd name="T18" fmla="*/ 2147483646 w 416"/>
                  <a:gd name="T19" fmla="*/ 2147483646 h 824"/>
                  <a:gd name="T20" fmla="*/ 2147483646 w 416"/>
                  <a:gd name="T21" fmla="*/ 2147483646 h 824"/>
                  <a:gd name="T22" fmla="*/ 2147483646 w 416"/>
                  <a:gd name="T23" fmla="*/ 2147483646 h 824"/>
                  <a:gd name="T24" fmla="*/ 2147483646 w 416"/>
                  <a:gd name="T25" fmla="*/ 2147483646 h 824"/>
                  <a:gd name="T26" fmla="*/ 2147483646 w 416"/>
                  <a:gd name="T27" fmla="*/ 2147483646 h 824"/>
                  <a:gd name="T28" fmla="*/ 2147483646 w 416"/>
                  <a:gd name="T29" fmla="*/ 2147483646 h 824"/>
                  <a:gd name="T30" fmla="*/ 2147483646 w 416"/>
                  <a:gd name="T31" fmla="*/ 2147483646 h 824"/>
                  <a:gd name="T32" fmla="*/ 2147483646 w 416"/>
                  <a:gd name="T33" fmla="*/ 2147483646 h 824"/>
                  <a:gd name="T34" fmla="*/ 2147483646 w 416"/>
                  <a:gd name="T35" fmla="*/ 2147483646 h 824"/>
                  <a:gd name="T36" fmla="*/ 2147483646 w 416"/>
                  <a:gd name="T37" fmla="*/ 2147483646 h 824"/>
                  <a:gd name="T38" fmla="*/ 2147483646 w 416"/>
                  <a:gd name="T39" fmla="*/ 0 h 824"/>
                  <a:gd name="T40" fmla="*/ 2147483646 w 416"/>
                  <a:gd name="T41" fmla="*/ 2147483646 h 824"/>
                  <a:gd name="T42" fmla="*/ 2147483646 w 416"/>
                  <a:gd name="T43" fmla="*/ 2147483646 h 824"/>
                  <a:gd name="T44" fmla="*/ 2147483646 w 416"/>
                  <a:gd name="T45" fmla="*/ 2147483646 h 824"/>
                  <a:gd name="T46" fmla="*/ 2147483646 w 416"/>
                  <a:gd name="T47" fmla="*/ 2147483646 h 824"/>
                  <a:gd name="T48" fmla="*/ 2147483646 w 416"/>
                  <a:gd name="T49" fmla="*/ 2147483646 h 824"/>
                  <a:gd name="T50" fmla="*/ 2147483646 w 416"/>
                  <a:gd name="T51" fmla="*/ 2147483646 h 824"/>
                  <a:gd name="T52" fmla="*/ 2147483646 w 416"/>
                  <a:gd name="T53" fmla="*/ 2147483646 h 824"/>
                  <a:gd name="T54" fmla="*/ 0 w 416"/>
                  <a:gd name="T55" fmla="*/ 2147483646 h 824"/>
                  <a:gd name="T56" fmla="*/ 2147483646 w 416"/>
                  <a:gd name="T57" fmla="*/ 2147483646 h 824"/>
                  <a:gd name="T58" fmla="*/ 2147483646 w 416"/>
                  <a:gd name="T59" fmla="*/ 2147483646 h 824"/>
                  <a:gd name="T60" fmla="*/ 2147483646 w 416"/>
                  <a:gd name="T61" fmla="*/ 2147483646 h 824"/>
                  <a:gd name="T62" fmla="*/ 2147483646 w 416"/>
                  <a:gd name="T63" fmla="*/ 2147483646 h 824"/>
                  <a:gd name="T64" fmla="*/ 2147483646 w 416"/>
                  <a:gd name="T65" fmla="*/ 2147483646 h 824"/>
                  <a:gd name="T66" fmla="*/ 2147483646 w 416"/>
                  <a:gd name="T67" fmla="*/ 2147483646 h 824"/>
                  <a:gd name="T68" fmla="*/ 2147483646 w 416"/>
                  <a:gd name="T69" fmla="*/ 2147483646 h 824"/>
                  <a:gd name="T70" fmla="*/ 2147483646 w 416"/>
                  <a:gd name="T71" fmla="*/ 2147483646 h 824"/>
                  <a:gd name="T72" fmla="*/ 2147483646 w 416"/>
                  <a:gd name="T73" fmla="*/ 2147483646 h 824"/>
                  <a:gd name="T74" fmla="*/ 2147483646 w 416"/>
                  <a:gd name="T75" fmla="*/ 2147483646 h 824"/>
                  <a:gd name="T76" fmla="*/ 2147483646 w 416"/>
                  <a:gd name="T77" fmla="*/ 2147483646 h 824"/>
                  <a:gd name="T78" fmla="*/ 2147483646 w 416"/>
                  <a:gd name="T79" fmla="*/ 2147483646 h 824"/>
                  <a:gd name="T80" fmla="*/ 2147483646 w 416"/>
                  <a:gd name="T81" fmla="*/ 2147483646 h 8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6"/>
                  <a:gd name="T124" fmla="*/ 0 h 824"/>
                  <a:gd name="T125" fmla="*/ 416 w 416"/>
                  <a:gd name="T126" fmla="*/ 824 h 8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6" h="824">
                    <a:moveTo>
                      <a:pt x="368" y="768"/>
                    </a:moveTo>
                    <a:lnTo>
                      <a:pt x="400" y="744"/>
                    </a:lnTo>
                    <a:lnTo>
                      <a:pt x="392" y="704"/>
                    </a:lnTo>
                    <a:lnTo>
                      <a:pt x="416" y="672"/>
                    </a:lnTo>
                    <a:lnTo>
                      <a:pt x="384" y="664"/>
                    </a:lnTo>
                    <a:lnTo>
                      <a:pt x="360" y="616"/>
                    </a:lnTo>
                    <a:lnTo>
                      <a:pt x="376" y="576"/>
                    </a:lnTo>
                    <a:lnTo>
                      <a:pt x="352" y="552"/>
                    </a:lnTo>
                    <a:lnTo>
                      <a:pt x="368" y="472"/>
                    </a:lnTo>
                    <a:lnTo>
                      <a:pt x="304" y="368"/>
                    </a:lnTo>
                    <a:lnTo>
                      <a:pt x="320" y="304"/>
                    </a:lnTo>
                    <a:lnTo>
                      <a:pt x="336" y="328"/>
                    </a:lnTo>
                    <a:lnTo>
                      <a:pt x="376" y="304"/>
                    </a:lnTo>
                    <a:lnTo>
                      <a:pt x="368" y="264"/>
                    </a:lnTo>
                    <a:lnTo>
                      <a:pt x="400" y="232"/>
                    </a:lnTo>
                    <a:lnTo>
                      <a:pt x="408" y="152"/>
                    </a:lnTo>
                    <a:lnTo>
                      <a:pt x="360" y="112"/>
                    </a:lnTo>
                    <a:lnTo>
                      <a:pt x="368" y="72"/>
                    </a:lnTo>
                    <a:lnTo>
                      <a:pt x="272" y="16"/>
                    </a:lnTo>
                    <a:lnTo>
                      <a:pt x="176" y="0"/>
                    </a:lnTo>
                    <a:lnTo>
                      <a:pt x="128" y="8"/>
                    </a:lnTo>
                    <a:lnTo>
                      <a:pt x="48" y="32"/>
                    </a:lnTo>
                    <a:lnTo>
                      <a:pt x="40" y="176"/>
                    </a:lnTo>
                    <a:lnTo>
                      <a:pt x="16" y="240"/>
                    </a:lnTo>
                    <a:lnTo>
                      <a:pt x="48" y="320"/>
                    </a:lnTo>
                    <a:lnTo>
                      <a:pt x="16" y="376"/>
                    </a:lnTo>
                    <a:lnTo>
                      <a:pt x="16" y="480"/>
                    </a:lnTo>
                    <a:lnTo>
                      <a:pt x="0" y="512"/>
                    </a:lnTo>
                    <a:lnTo>
                      <a:pt x="8" y="536"/>
                    </a:lnTo>
                    <a:lnTo>
                      <a:pt x="48" y="480"/>
                    </a:lnTo>
                    <a:lnTo>
                      <a:pt x="72" y="504"/>
                    </a:lnTo>
                    <a:lnTo>
                      <a:pt x="64" y="576"/>
                    </a:lnTo>
                    <a:lnTo>
                      <a:pt x="88" y="608"/>
                    </a:lnTo>
                    <a:lnTo>
                      <a:pt x="136" y="600"/>
                    </a:lnTo>
                    <a:lnTo>
                      <a:pt x="120" y="632"/>
                    </a:lnTo>
                    <a:lnTo>
                      <a:pt x="152" y="744"/>
                    </a:lnTo>
                    <a:lnTo>
                      <a:pt x="128" y="784"/>
                    </a:lnTo>
                    <a:lnTo>
                      <a:pt x="144" y="824"/>
                    </a:lnTo>
                    <a:lnTo>
                      <a:pt x="208" y="816"/>
                    </a:lnTo>
                    <a:lnTo>
                      <a:pt x="320" y="800"/>
                    </a:lnTo>
                    <a:lnTo>
                      <a:pt x="368" y="768"/>
                    </a:lnTo>
                    <a:close/>
                  </a:path>
                </a:pathLst>
              </a:custGeom>
              <a:solidFill>
                <a:srgbClr val="C6CFEB"/>
              </a:solidFill>
              <a:ln w="9525">
                <a:solidFill>
                  <a:schemeClr val="bg1"/>
                </a:solidFill>
                <a:round/>
                <a:headEnd/>
                <a:tailEnd/>
              </a:ln>
            </p:spPr>
            <p:txBody>
              <a:bodyPr/>
              <a:lstStyle/>
              <a:p>
                <a:endParaRPr lang="en-US" sz="1050"/>
              </a:p>
            </p:txBody>
          </p:sp>
          <p:sp>
            <p:nvSpPr>
              <p:cNvPr id="132" name="Freeform 131"/>
              <p:cNvSpPr>
                <a:spLocks/>
              </p:cNvSpPr>
              <p:nvPr/>
            </p:nvSpPr>
            <p:spPr bwMode="auto">
              <a:xfrm>
                <a:off x="5136785" y="5220256"/>
                <a:ext cx="593987" cy="659306"/>
              </a:xfrm>
              <a:custGeom>
                <a:avLst/>
                <a:gdLst>
                  <a:gd name="T0" fmla="*/ 2147483646 w 504"/>
                  <a:gd name="T1" fmla="*/ 2147483646 h 608"/>
                  <a:gd name="T2" fmla="*/ 2147483646 w 504"/>
                  <a:gd name="T3" fmla="*/ 2147483646 h 608"/>
                  <a:gd name="T4" fmla="*/ 2147483646 w 504"/>
                  <a:gd name="T5" fmla="*/ 2147483646 h 608"/>
                  <a:gd name="T6" fmla="*/ 2147483646 w 504"/>
                  <a:gd name="T7" fmla="*/ 2147483646 h 608"/>
                  <a:gd name="T8" fmla="*/ 2147483646 w 504"/>
                  <a:gd name="T9" fmla="*/ 2147483646 h 608"/>
                  <a:gd name="T10" fmla="*/ 2147483646 w 504"/>
                  <a:gd name="T11" fmla="*/ 2147483646 h 608"/>
                  <a:gd name="T12" fmla="*/ 2147483646 w 504"/>
                  <a:gd name="T13" fmla="*/ 2147483646 h 608"/>
                  <a:gd name="T14" fmla="*/ 2147483646 w 504"/>
                  <a:gd name="T15" fmla="*/ 2147483646 h 608"/>
                  <a:gd name="T16" fmla="*/ 2147483646 w 504"/>
                  <a:gd name="T17" fmla="*/ 2147483646 h 608"/>
                  <a:gd name="T18" fmla="*/ 2147483646 w 504"/>
                  <a:gd name="T19" fmla="*/ 2147483646 h 608"/>
                  <a:gd name="T20" fmla="*/ 2147483646 w 504"/>
                  <a:gd name="T21" fmla="*/ 2147483646 h 608"/>
                  <a:gd name="T22" fmla="*/ 2147483646 w 504"/>
                  <a:gd name="T23" fmla="*/ 2147483646 h 608"/>
                  <a:gd name="T24" fmla="*/ 2147483646 w 504"/>
                  <a:gd name="T25" fmla="*/ 2147483646 h 608"/>
                  <a:gd name="T26" fmla="*/ 2147483646 w 504"/>
                  <a:gd name="T27" fmla="*/ 2147483646 h 608"/>
                  <a:gd name="T28" fmla="*/ 2147483646 w 504"/>
                  <a:gd name="T29" fmla="*/ 2147483646 h 608"/>
                  <a:gd name="T30" fmla="*/ 2147483646 w 504"/>
                  <a:gd name="T31" fmla="*/ 0 h 608"/>
                  <a:gd name="T32" fmla="*/ 2147483646 w 504"/>
                  <a:gd name="T33" fmla="*/ 0 h 608"/>
                  <a:gd name="T34" fmla="*/ 2147483646 w 504"/>
                  <a:gd name="T35" fmla="*/ 2147483646 h 608"/>
                  <a:gd name="T36" fmla="*/ 2147483646 w 504"/>
                  <a:gd name="T37" fmla="*/ 2147483646 h 608"/>
                  <a:gd name="T38" fmla="*/ 2147483646 w 504"/>
                  <a:gd name="T39" fmla="*/ 2147483646 h 608"/>
                  <a:gd name="T40" fmla="*/ 2147483646 w 504"/>
                  <a:gd name="T41" fmla="*/ 2147483646 h 608"/>
                  <a:gd name="T42" fmla="*/ 0 w 504"/>
                  <a:gd name="T43" fmla="*/ 2147483646 h 608"/>
                  <a:gd name="T44" fmla="*/ 2147483646 w 504"/>
                  <a:gd name="T45" fmla="*/ 2147483646 h 608"/>
                  <a:gd name="T46" fmla="*/ 2147483646 w 504"/>
                  <a:gd name="T47" fmla="*/ 2147483646 h 608"/>
                  <a:gd name="T48" fmla="*/ 2147483646 w 504"/>
                  <a:gd name="T49" fmla="*/ 2147483646 h 608"/>
                  <a:gd name="T50" fmla="*/ 2147483646 w 504"/>
                  <a:gd name="T51" fmla="*/ 2147483646 h 608"/>
                  <a:gd name="T52" fmla="*/ 2147483646 w 504"/>
                  <a:gd name="T53" fmla="*/ 2147483646 h 608"/>
                  <a:gd name="T54" fmla="*/ 2147483646 w 504"/>
                  <a:gd name="T55" fmla="*/ 2147483646 h 608"/>
                  <a:gd name="T56" fmla="*/ 2147483646 w 504"/>
                  <a:gd name="T57" fmla="*/ 2147483646 h 608"/>
                  <a:gd name="T58" fmla="*/ 2147483646 w 504"/>
                  <a:gd name="T59" fmla="*/ 2147483646 h 608"/>
                  <a:gd name="T60" fmla="*/ 2147483646 w 504"/>
                  <a:gd name="T61" fmla="*/ 2147483646 h 608"/>
                  <a:gd name="T62" fmla="*/ 2147483646 w 504"/>
                  <a:gd name="T63" fmla="*/ 2147483646 h 608"/>
                  <a:gd name="T64" fmla="*/ 2147483646 w 504"/>
                  <a:gd name="T65" fmla="*/ 2147483646 h 608"/>
                  <a:gd name="T66" fmla="*/ 2147483646 w 504"/>
                  <a:gd name="T67" fmla="*/ 2147483646 h 608"/>
                  <a:gd name="T68" fmla="*/ 2147483646 w 504"/>
                  <a:gd name="T69" fmla="*/ 2147483646 h 608"/>
                  <a:gd name="T70" fmla="*/ 2147483646 w 504"/>
                  <a:gd name="T71" fmla="*/ 2147483646 h 608"/>
                  <a:gd name="T72" fmla="*/ 2147483646 w 504"/>
                  <a:gd name="T73" fmla="*/ 2147483646 h 608"/>
                  <a:gd name="T74" fmla="*/ 2147483646 w 504"/>
                  <a:gd name="T75" fmla="*/ 2147483646 h 608"/>
                  <a:gd name="T76" fmla="*/ 2147483646 w 504"/>
                  <a:gd name="T77" fmla="*/ 2147483646 h 608"/>
                  <a:gd name="T78" fmla="*/ 2147483646 w 504"/>
                  <a:gd name="T79" fmla="*/ 2147483646 h 608"/>
                  <a:gd name="T80" fmla="*/ 2147483646 w 504"/>
                  <a:gd name="T81" fmla="*/ 2147483646 h 6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4"/>
                  <a:gd name="T124" fmla="*/ 0 h 608"/>
                  <a:gd name="T125" fmla="*/ 504 w 504"/>
                  <a:gd name="T126" fmla="*/ 608 h 6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4" h="608">
                    <a:moveTo>
                      <a:pt x="456" y="368"/>
                    </a:moveTo>
                    <a:lnTo>
                      <a:pt x="504" y="280"/>
                    </a:lnTo>
                    <a:lnTo>
                      <a:pt x="440" y="200"/>
                    </a:lnTo>
                    <a:lnTo>
                      <a:pt x="408" y="208"/>
                    </a:lnTo>
                    <a:lnTo>
                      <a:pt x="392" y="168"/>
                    </a:lnTo>
                    <a:lnTo>
                      <a:pt x="368" y="184"/>
                    </a:lnTo>
                    <a:lnTo>
                      <a:pt x="344" y="168"/>
                    </a:lnTo>
                    <a:lnTo>
                      <a:pt x="312" y="192"/>
                    </a:lnTo>
                    <a:lnTo>
                      <a:pt x="296" y="160"/>
                    </a:lnTo>
                    <a:lnTo>
                      <a:pt x="248" y="168"/>
                    </a:lnTo>
                    <a:lnTo>
                      <a:pt x="248" y="96"/>
                    </a:lnTo>
                    <a:lnTo>
                      <a:pt x="280" y="80"/>
                    </a:lnTo>
                    <a:lnTo>
                      <a:pt x="240" y="48"/>
                    </a:lnTo>
                    <a:lnTo>
                      <a:pt x="216" y="32"/>
                    </a:lnTo>
                    <a:lnTo>
                      <a:pt x="184" y="32"/>
                    </a:lnTo>
                    <a:lnTo>
                      <a:pt x="160" y="0"/>
                    </a:lnTo>
                    <a:lnTo>
                      <a:pt x="120" y="0"/>
                    </a:lnTo>
                    <a:lnTo>
                      <a:pt x="80" y="32"/>
                    </a:lnTo>
                    <a:lnTo>
                      <a:pt x="40" y="24"/>
                    </a:lnTo>
                    <a:lnTo>
                      <a:pt x="40" y="56"/>
                    </a:lnTo>
                    <a:lnTo>
                      <a:pt x="32" y="88"/>
                    </a:lnTo>
                    <a:lnTo>
                      <a:pt x="0" y="120"/>
                    </a:lnTo>
                    <a:lnTo>
                      <a:pt x="40" y="160"/>
                    </a:lnTo>
                    <a:lnTo>
                      <a:pt x="96" y="160"/>
                    </a:lnTo>
                    <a:lnTo>
                      <a:pt x="136" y="272"/>
                    </a:lnTo>
                    <a:lnTo>
                      <a:pt x="104" y="288"/>
                    </a:lnTo>
                    <a:lnTo>
                      <a:pt x="104" y="312"/>
                    </a:lnTo>
                    <a:lnTo>
                      <a:pt x="72" y="328"/>
                    </a:lnTo>
                    <a:lnTo>
                      <a:pt x="80" y="400"/>
                    </a:lnTo>
                    <a:lnTo>
                      <a:pt x="104" y="448"/>
                    </a:lnTo>
                    <a:lnTo>
                      <a:pt x="96" y="488"/>
                    </a:lnTo>
                    <a:lnTo>
                      <a:pt x="120" y="520"/>
                    </a:lnTo>
                    <a:lnTo>
                      <a:pt x="120" y="608"/>
                    </a:lnTo>
                    <a:lnTo>
                      <a:pt x="160" y="600"/>
                    </a:lnTo>
                    <a:lnTo>
                      <a:pt x="184" y="560"/>
                    </a:lnTo>
                    <a:lnTo>
                      <a:pt x="208" y="560"/>
                    </a:lnTo>
                    <a:lnTo>
                      <a:pt x="272" y="480"/>
                    </a:lnTo>
                    <a:lnTo>
                      <a:pt x="336" y="408"/>
                    </a:lnTo>
                    <a:lnTo>
                      <a:pt x="384" y="400"/>
                    </a:lnTo>
                    <a:lnTo>
                      <a:pt x="416" y="368"/>
                    </a:lnTo>
                    <a:lnTo>
                      <a:pt x="456" y="368"/>
                    </a:lnTo>
                    <a:close/>
                  </a:path>
                </a:pathLst>
              </a:custGeom>
              <a:solidFill>
                <a:srgbClr val="C6CFEB"/>
              </a:solidFill>
              <a:ln w="9525">
                <a:solidFill>
                  <a:schemeClr val="bg1"/>
                </a:solidFill>
                <a:round/>
                <a:headEnd/>
                <a:tailEnd/>
              </a:ln>
            </p:spPr>
            <p:txBody>
              <a:bodyPr/>
              <a:lstStyle/>
              <a:p>
                <a:endParaRPr lang="en-US" sz="1050"/>
              </a:p>
            </p:txBody>
          </p:sp>
          <p:sp>
            <p:nvSpPr>
              <p:cNvPr id="133" name="Freeform 132"/>
              <p:cNvSpPr>
                <a:spLocks/>
              </p:cNvSpPr>
              <p:nvPr/>
            </p:nvSpPr>
            <p:spPr bwMode="auto">
              <a:xfrm>
                <a:off x="4646511" y="5254956"/>
                <a:ext cx="650557" cy="685331"/>
              </a:xfrm>
              <a:custGeom>
                <a:avLst/>
                <a:gdLst>
                  <a:gd name="T0" fmla="*/ 2147483646 w 552"/>
                  <a:gd name="T1" fmla="*/ 2147483646 h 632"/>
                  <a:gd name="T2" fmla="*/ 2147483646 w 552"/>
                  <a:gd name="T3" fmla="*/ 2147483646 h 632"/>
                  <a:gd name="T4" fmla="*/ 2147483646 w 552"/>
                  <a:gd name="T5" fmla="*/ 2147483646 h 632"/>
                  <a:gd name="T6" fmla="*/ 2147483646 w 552"/>
                  <a:gd name="T7" fmla="*/ 2147483646 h 632"/>
                  <a:gd name="T8" fmla="*/ 2147483646 w 552"/>
                  <a:gd name="T9" fmla="*/ 2147483646 h 632"/>
                  <a:gd name="T10" fmla="*/ 2147483646 w 552"/>
                  <a:gd name="T11" fmla="*/ 2147483646 h 632"/>
                  <a:gd name="T12" fmla="*/ 2147483646 w 552"/>
                  <a:gd name="T13" fmla="*/ 2147483646 h 632"/>
                  <a:gd name="T14" fmla="*/ 2147483646 w 552"/>
                  <a:gd name="T15" fmla="*/ 2147483646 h 632"/>
                  <a:gd name="T16" fmla="*/ 2147483646 w 552"/>
                  <a:gd name="T17" fmla="*/ 2147483646 h 632"/>
                  <a:gd name="T18" fmla="*/ 2147483646 w 552"/>
                  <a:gd name="T19" fmla="*/ 2147483646 h 632"/>
                  <a:gd name="T20" fmla="*/ 2147483646 w 552"/>
                  <a:gd name="T21" fmla="*/ 2147483646 h 632"/>
                  <a:gd name="T22" fmla="*/ 2147483646 w 552"/>
                  <a:gd name="T23" fmla="*/ 2147483646 h 632"/>
                  <a:gd name="T24" fmla="*/ 2147483646 w 552"/>
                  <a:gd name="T25" fmla="*/ 2147483646 h 632"/>
                  <a:gd name="T26" fmla="*/ 2147483646 w 552"/>
                  <a:gd name="T27" fmla="*/ 2147483646 h 632"/>
                  <a:gd name="T28" fmla="*/ 2147483646 w 552"/>
                  <a:gd name="T29" fmla="*/ 0 h 632"/>
                  <a:gd name="T30" fmla="*/ 2147483646 w 552"/>
                  <a:gd name="T31" fmla="*/ 2147483646 h 632"/>
                  <a:gd name="T32" fmla="*/ 2147483646 w 552"/>
                  <a:gd name="T33" fmla="*/ 2147483646 h 632"/>
                  <a:gd name="T34" fmla="*/ 2147483646 w 552"/>
                  <a:gd name="T35" fmla="*/ 2147483646 h 632"/>
                  <a:gd name="T36" fmla="*/ 2147483646 w 552"/>
                  <a:gd name="T37" fmla="*/ 2147483646 h 632"/>
                  <a:gd name="T38" fmla="*/ 2147483646 w 552"/>
                  <a:gd name="T39" fmla="*/ 2147483646 h 632"/>
                  <a:gd name="T40" fmla="*/ 2147483646 w 552"/>
                  <a:gd name="T41" fmla="*/ 2147483646 h 632"/>
                  <a:gd name="T42" fmla="*/ 2147483646 w 552"/>
                  <a:gd name="T43" fmla="*/ 2147483646 h 632"/>
                  <a:gd name="T44" fmla="*/ 2147483646 w 552"/>
                  <a:gd name="T45" fmla="*/ 2147483646 h 632"/>
                  <a:gd name="T46" fmla="*/ 2147483646 w 552"/>
                  <a:gd name="T47" fmla="*/ 2147483646 h 632"/>
                  <a:gd name="T48" fmla="*/ 0 w 552"/>
                  <a:gd name="T49" fmla="*/ 2147483646 h 632"/>
                  <a:gd name="T50" fmla="*/ 2147483646 w 552"/>
                  <a:gd name="T51" fmla="*/ 2147483646 h 632"/>
                  <a:gd name="T52" fmla="*/ 2147483646 w 552"/>
                  <a:gd name="T53" fmla="*/ 2147483646 h 632"/>
                  <a:gd name="T54" fmla="*/ 2147483646 w 552"/>
                  <a:gd name="T55" fmla="*/ 2147483646 h 632"/>
                  <a:gd name="T56" fmla="*/ 2147483646 w 552"/>
                  <a:gd name="T57" fmla="*/ 2147483646 h 632"/>
                  <a:gd name="T58" fmla="*/ 2147483646 w 552"/>
                  <a:gd name="T59" fmla="*/ 2147483646 h 632"/>
                  <a:gd name="T60" fmla="*/ 2147483646 w 552"/>
                  <a:gd name="T61" fmla="*/ 2147483646 h 632"/>
                  <a:gd name="T62" fmla="*/ 2147483646 w 552"/>
                  <a:gd name="T63" fmla="*/ 2147483646 h 632"/>
                  <a:gd name="T64" fmla="*/ 2147483646 w 552"/>
                  <a:gd name="T65" fmla="*/ 2147483646 h 632"/>
                  <a:gd name="T66" fmla="*/ 2147483646 w 552"/>
                  <a:gd name="T67" fmla="*/ 2147483646 h 632"/>
                  <a:gd name="T68" fmla="*/ 2147483646 w 552"/>
                  <a:gd name="T69" fmla="*/ 2147483646 h 632"/>
                  <a:gd name="T70" fmla="*/ 2147483646 w 552"/>
                  <a:gd name="T71" fmla="*/ 2147483646 h 632"/>
                  <a:gd name="T72" fmla="*/ 2147483646 w 552"/>
                  <a:gd name="T73" fmla="*/ 2147483646 h 632"/>
                  <a:gd name="T74" fmla="*/ 2147483646 w 552"/>
                  <a:gd name="T75" fmla="*/ 2147483646 h 632"/>
                  <a:gd name="T76" fmla="*/ 2147483646 w 552"/>
                  <a:gd name="T77" fmla="*/ 2147483646 h 632"/>
                  <a:gd name="T78" fmla="*/ 2147483646 w 552"/>
                  <a:gd name="T79" fmla="*/ 2147483646 h 6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2"/>
                  <a:gd name="T121" fmla="*/ 0 h 632"/>
                  <a:gd name="T122" fmla="*/ 552 w 552"/>
                  <a:gd name="T123" fmla="*/ 632 h 6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2" h="632">
                    <a:moveTo>
                      <a:pt x="536" y="576"/>
                    </a:moveTo>
                    <a:lnTo>
                      <a:pt x="536" y="488"/>
                    </a:lnTo>
                    <a:lnTo>
                      <a:pt x="512" y="456"/>
                    </a:lnTo>
                    <a:lnTo>
                      <a:pt x="520" y="416"/>
                    </a:lnTo>
                    <a:lnTo>
                      <a:pt x="488" y="328"/>
                    </a:lnTo>
                    <a:lnTo>
                      <a:pt x="488" y="296"/>
                    </a:lnTo>
                    <a:lnTo>
                      <a:pt x="520" y="272"/>
                    </a:lnTo>
                    <a:lnTo>
                      <a:pt x="520" y="256"/>
                    </a:lnTo>
                    <a:lnTo>
                      <a:pt x="552" y="240"/>
                    </a:lnTo>
                    <a:lnTo>
                      <a:pt x="512" y="128"/>
                    </a:lnTo>
                    <a:lnTo>
                      <a:pt x="456" y="128"/>
                    </a:lnTo>
                    <a:lnTo>
                      <a:pt x="416" y="88"/>
                    </a:lnTo>
                    <a:lnTo>
                      <a:pt x="448" y="56"/>
                    </a:lnTo>
                    <a:lnTo>
                      <a:pt x="456" y="24"/>
                    </a:lnTo>
                    <a:lnTo>
                      <a:pt x="424" y="0"/>
                    </a:lnTo>
                    <a:lnTo>
                      <a:pt x="360" y="32"/>
                    </a:lnTo>
                    <a:lnTo>
                      <a:pt x="320" y="32"/>
                    </a:lnTo>
                    <a:lnTo>
                      <a:pt x="272" y="64"/>
                    </a:lnTo>
                    <a:lnTo>
                      <a:pt x="160" y="80"/>
                    </a:lnTo>
                    <a:lnTo>
                      <a:pt x="128" y="120"/>
                    </a:lnTo>
                    <a:lnTo>
                      <a:pt x="136" y="184"/>
                    </a:lnTo>
                    <a:lnTo>
                      <a:pt x="104" y="248"/>
                    </a:lnTo>
                    <a:lnTo>
                      <a:pt x="144" y="296"/>
                    </a:lnTo>
                    <a:lnTo>
                      <a:pt x="88" y="304"/>
                    </a:lnTo>
                    <a:lnTo>
                      <a:pt x="0" y="368"/>
                    </a:lnTo>
                    <a:lnTo>
                      <a:pt x="56" y="392"/>
                    </a:lnTo>
                    <a:lnTo>
                      <a:pt x="56" y="448"/>
                    </a:lnTo>
                    <a:lnTo>
                      <a:pt x="104" y="496"/>
                    </a:lnTo>
                    <a:lnTo>
                      <a:pt x="48" y="520"/>
                    </a:lnTo>
                    <a:lnTo>
                      <a:pt x="48" y="560"/>
                    </a:lnTo>
                    <a:lnTo>
                      <a:pt x="144" y="560"/>
                    </a:lnTo>
                    <a:lnTo>
                      <a:pt x="192" y="552"/>
                    </a:lnTo>
                    <a:lnTo>
                      <a:pt x="232" y="576"/>
                    </a:lnTo>
                    <a:lnTo>
                      <a:pt x="280" y="584"/>
                    </a:lnTo>
                    <a:lnTo>
                      <a:pt x="320" y="584"/>
                    </a:lnTo>
                    <a:lnTo>
                      <a:pt x="360" y="616"/>
                    </a:lnTo>
                    <a:lnTo>
                      <a:pt x="384" y="632"/>
                    </a:lnTo>
                    <a:lnTo>
                      <a:pt x="424" y="608"/>
                    </a:lnTo>
                    <a:lnTo>
                      <a:pt x="472" y="616"/>
                    </a:lnTo>
                    <a:lnTo>
                      <a:pt x="536" y="576"/>
                    </a:lnTo>
                    <a:close/>
                  </a:path>
                </a:pathLst>
              </a:custGeom>
              <a:solidFill>
                <a:srgbClr val="9950A8"/>
              </a:solidFill>
              <a:ln w="6350">
                <a:solidFill>
                  <a:schemeClr val="bg1"/>
                </a:solidFill>
                <a:round/>
                <a:headEnd/>
                <a:tailEnd/>
              </a:ln>
            </p:spPr>
            <p:txBody>
              <a:bodyPr/>
              <a:lstStyle/>
              <a:p>
                <a:endParaRPr lang="en-US" sz="1050"/>
              </a:p>
            </p:txBody>
          </p:sp>
          <p:sp>
            <p:nvSpPr>
              <p:cNvPr id="134" name="Freeform 133"/>
              <p:cNvSpPr>
                <a:spLocks/>
              </p:cNvSpPr>
              <p:nvPr/>
            </p:nvSpPr>
            <p:spPr bwMode="auto">
              <a:xfrm>
                <a:off x="4250519" y="4960003"/>
                <a:ext cx="584558" cy="919558"/>
              </a:xfrm>
              <a:custGeom>
                <a:avLst/>
                <a:gdLst>
                  <a:gd name="T0" fmla="*/ 2147483646 w 496"/>
                  <a:gd name="T1" fmla="*/ 2147483646 h 848"/>
                  <a:gd name="T2" fmla="*/ 2147483646 w 496"/>
                  <a:gd name="T3" fmla="*/ 2147483646 h 848"/>
                  <a:gd name="T4" fmla="*/ 2147483646 w 496"/>
                  <a:gd name="T5" fmla="*/ 2147483646 h 848"/>
                  <a:gd name="T6" fmla="*/ 2147483646 w 496"/>
                  <a:gd name="T7" fmla="*/ 2147483646 h 848"/>
                  <a:gd name="T8" fmla="*/ 2147483646 w 496"/>
                  <a:gd name="T9" fmla="*/ 2147483646 h 848"/>
                  <a:gd name="T10" fmla="*/ 2147483646 w 496"/>
                  <a:gd name="T11" fmla="*/ 2147483646 h 848"/>
                  <a:gd name="T12" fmla="*/ 2147483646 w 496"/>
                  <a:gd name="T13" fmla="*/ 2147483646 h 848"/>
                  <a:gd name="T14" fmla="*/ 2147483646 w 496"/>
                  <a:gd name="T15" fmla="*/ 2147483646 h 848"/>
                  <a:gd name="T16" fmla="*/ 2147483646 w 496"/>
                  <a:gd name="T17" fmla="*/ 2147483646 h 848"/>
                  <a:gd name="T18" fmla="*/ 2147483646 w 496"/>
                  <a:gd name="T19" fmla="*/ 2147483646 h 848"/>
                  <a:gd name="T20" fmla="*/ 2147483646 w 496"/>
                  <a:gd name="T21" fmla="*/ 2147483646 h 848"/>
                  <a:gd name="T22" fmla="*/ 2147483646 w 496"/>
                  <a:gd name="T23" fmla="*/ 2147483646 h 848"/>
                  <a:gd name="T24" fmla="*/ 2147483646 w 496"/>
                  <a:gd name="T25" fmla="*/ 2147483646 h 848"/>
                  <a:gd name="T26" fmla="*/ 2147483646 w 496"/>
                  <a:gd name="T27" fmla="*/ 2147483646 h 848"/>
                  <a:gd name="T28" fmla="*/ 2147483646 w 496"/>
                  <a:gd name="T29" fmla="*/ 2147483646 h 848"/>
                  <a:gd name="T30" fmla="*/ 2147483646 w 496"/>
                  <a:gd name="T31" fmla="*/ 2147483646 h 848"/>
                  <a:gd name="T32" fmla="*/ 2147483646 w 496"/>
                  <a:gd name="T33" fmla="*/ 2147483646 h 848"/>
                  <a:gd name="T34" fmla="*/ 2147483646 w 496"/>
                  <a:gd name="T35" fmla="*/ 2147483646 h 848"/>
                  <a:gd name="T36" fmla="*/ 2147483646 w 496"/>
                  <a:gd name="T37" fmla="*/ 2147483646 h 848"/>
                  <a:gd name="T38" fmla="*/ 2147483646 w 496"/>
                  <a:gd name="T39" fmla="*/ 2147483646 h 848"/>
                  <a:gd name="T40" fmla="*/ 2147483646 w 496"/>
                  <a:gd name="T41" fmla="*/ 2147483646 h 848"/>
                  <a:gd name="T42" fmla="*/ 2147483646 w 496"/>
                  <a:gd name="T43" fmla="*/ 2147483646 h 848"/>
                  <a:gd name="T44" fmla="*/ 2147483646 w 496"/>
                  <a:gd name="T45" fmla="*/ 2147483646 h 848"/>
                  <a:gd name="T46" fmla="*/ 2147483646 w 496"/>
                  <a:gd name="T47" fmla="*/ 0 h 848"/>
                  <a:gd name="T48" fmla="*/ 2147483646 w 496"/>
                  <a:gd name="T49" fmla="*/ 2147483646 h 848"/>
                  <a:gd name="T50" fmla="*/ 2147483646 w 496"/>
                  <a:gd name="T51" fmla="*/ 2147483646 h 848"/>
                  <a:gd name="T52" fmla="*/ 2147483646 w 496"/>
                  <a:gd name="T53" fmla="*/ 2147483646 h 848"/>
                  <a:gd name="T54" fmla="*/ 2147483646 w 496"/>
                  <a:gd name="T55" fmla="*/ 2147483646 h 848"/>
                  <a:gd name="T56" fmla="*/ 2147483646 w 496"/>
                  <a:gd name="T57" fmla="*/ 2147483646 h 848"/>
                  <a:gd name="T58" fmla="*/ 2147483646 w 496"/>
                  <a:gd name="T59" fmla="*/ 2147483646 h 848"/>
                  <a:gd name="T60" fmla="*/ 2147483646 w 496"/>
                  <a:gd name="T61" fmla="*/ 2147483646 h 848"/>
                  <a:gd name="T62" fmla="*/ 2147483646 w 496"/>
                  <a:gd name="T63" fmla="*/ 2147483646 h 848"/>
                  <a:gd name="T64" fmla="*/ 0 w 496"/>
                  <a:gd name="T65" fmla="*/ 2147483646 h 848"/>
                  <a:gd name="T66" fmla="*/ 2147483646 w 496"/>
                  <a:gd name="T67" fmla="*/ 2147483646 h 848"/>
                  <a:gd name="T68" fmla="*/ 2147483646 w 496"/>
                  <a:gd name="T69" fmla="*/ 2147483646 h 848"/>
                  <a:gd name="T70" fmla="*/ 2147483646 w 496"/>
                  <a:gd name="T71" fmla="*/ 2147483646 h 848"/>
                  <a:gd name="T72" fmla="*/ 2147483646 w 496"/>
                  <a:gd name="T73" fmla="*/ 2147483646 h 848"/>
                  <a:gd name="T74" fmla="*/ 2147483646 w 496"/>
                  <a:gd name="T75" fmla="*/ 2147483646 h 848"/>
                  <a:gd name="T76" fmla="*/ 2147483646 w 496"/>
                  <a:gd name="T77" fmla="*/ 2147483646 h 848"/>
                  <a:gd name="T78" fmla="*/ 2147483646 w 496"/>
                  <a:gd name="T79" fmla="*/ 2147483646 h 848"/>
                  <a:gd name="T80" fmla="*/ 2147483646 w 496"/>
                  <a:gd name="T81" fmla="*/ 2147483646 h 848"/>
                  <a:gd name="T82" fmla="*/ 2147483646 w 496"/>
                  <a:gd name="T83" fmla="*/ 2147483646 h 848"/>
                  <a:gd name="T84" fmla="*/ 2147483646 w 496"/>
                  <a:gd name="T85" fmla="*/ 2147483646 h 848"/>
                  <a:gd name="T86" fmla="*/ 2147483646 w 496"/>
                  <a:gd name="T87" fmla="*/ 2147483646 h 848"/>
                  <a:gd name="T88" fmla="*/ 2147483646 w 496"/>
                  <a:gd name="T89" fmla="*/ 2147483646 h 848"/>
                  <a:gd name="T90" fmla="*/ 2147483646 w 496"/>
                  <a:gd name="T91" fmla="*/ 2147483646 h 848"/>
                  <a:gd name="T92" fmla="*/ 2147483646 w 496"/>
                  <a:gd name="T93" fmla="*/ 2147483646 h 848"/>
                  <a:gd name="T94" fmla="*/ 2147483646 w 496"/>
                  <a:gd name="T95" fmla="*/ 2147483646 h 848"/>
                  <a:gd name="T96" fmla="*/ 2147483646 w 496"/>
                  <a:gd name="T97" fmla="*/ 2147483646 h 848"/>
                  <a:gd name="T98" fmla="*/ 2147483646 w 496"/>
                  <a:gd name="T99" fmla="*/ 2147483646 h 848"/>
                  <a:gd name="T100" fmla="*/ 2147483646 w 496"/>
                  <a:gd name="T101" fmla="*/ 2147483646 h 848"/>
                  <a:gd name="T102" fmla="*/ 2147483646 w 496"/>
                  <a:gd name="T103" fmla="*/ 2147483646 h 848"/>
                  <a:gd name="T104" fmla="*/ 2147483646 w 496"/>
                  <a:gd name="T105" fmla="*/ 2147483646 h 8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848"/>
                  <a:gd name="T161" fmla="*/ 496 w 496"/>
                  <a:gd name="T162" fmla="*/ 848 h 8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848">
                    <a:moveTo>
                      <a:pt x="384" y="832"/>
                    </a:moveTo>
                    <a:lnTo>
                      <a:pt x="384" y="792"/>
                    </a:lnTo>
                    <a:lnTo>
                      <a:pt x="440" y="768"/>
                    </a:lnTo>
                    <a:lnTo>
                      <a:pt x="392" y="720"/>
                    </a:lnTo>
                    <a:lnTo>
                      <a:pt x="392" y="664"/>
                    </a:lnTo>
                    <a:lnTo>
                      <a:pt x="336" y="640"/>
                    </a:lnTo>
                    <a:lnTo>
                      <a:pt x="424" y="576"/>
                    </a:lnTo>
                    <a:lnTo>
                      <a:pt x="480" y="568"/>
                    </a:lnTo>
                    <a:lnTo>
                      <a:pt x="440" y="520"/>
                    </a:lnTo>
                    <a:lnTo>
                      <a:pt x="472" y="456"/>
                    </a:lnTo>
                    <a:lnTo>
                      <a:pt x="464" y="392"/>
                    </a:lnTo>
                    <a:lnTo>
                      <a:pt x="496" y="352"/>
                    </a:lnTo>
                    <a:lnTo>
                      <a:pt x="432" y="360"/>
                    </a:lnTo>
                    <a:lnTo>
                      <a:pt x="416" y="320"/>
                    </a:lnTo>
                    <a:lnTo>
                      <a:pt x="440" y="280"/>
                    </a:lnTo>
                    <a:lnTo>
                      <a:pt x="408" y="168"/>
                    </a:lnTo>
                    <a:lnTo>
                      <a:pt x="424" y="136"/>
                    </a:lnTo>
                    <a:lnTo>
                      <a:pt x="376" y="144"/>
                    </a:lnTo>
                    <a:lnTo>
                      <a:pt x="352" y="112"/>
                    </a:lnTo>
                    <a:lnTo>
                      <a:pt x="360" y="40"/>
                    </a:lnTo>
                    <a:lnTo>
                      <a:pt x="336" y="16"/>
                    </a:lnTo>
                    <a:lnTo>
                      <a:pt x="288" y="64"/>
                    </a:lnTo>
                    <a:lnTo>
                      <a:pt x="288" y="48"/>
                    </a:lnTo>
                    <a:lnTo>
                      <a:pt x="288" y="0"/>
                    </a:lnTo>
                    <a:lnTo>
                      <a:pt x="208" y="64"/>
                    </a:lnTo>
                    <a:lnTo>
                      <a:pt x="200" y="160"/>
                    </a:lnTo>
                    <a:lnTo>
                      <a:pt x="224" y="248"/>
                    </a:lnTo>
                    <a:lnTo>
                      <a:pt x="184" y="232"/>
                    </a:lnTo>
                    <a:lnTo>
                      <a:pt x="160" y="264"/>
                    </a:lnTo>
                    <a:lnTo>
                      <a:pt x="128" y="264"/>
                    </a:lnTo>
                    <a:lnTo>
                      <a:pt x="104" y="280"/>
                    </a:lnTo>
                    <a:lnTo>
                      <a:pt x="48" y="264"/>
                    </a:lnTo>
                    <a:lnTo>
                      <a:pt x="0" y="312"/>
                    </a:lnTo>
                    <a:lnTo>
                      <a:pt x="64" y="344"/>
                    </a:lnTo>
                    <a:lnTo>
                      <a:pt x="80" y="400"/>
                    </a:lnTo>
                    <a:lnTo>
                      <a:pt x="136" y="416"/>
                    </a:lnTo>
                    <a:lnTo>
                      <a:pt x="176" y="472"/>
                    </a:lnTo>
                    <a:lnTo>
                      <a:pt x="168" y="536"/>
                    </a:lnTo>
                    <a:lnTo>
                      <a:pt x="200" y="560"/>
                    </a:lnTo>
                    <a:lnTo>
                      <a:pt x="160" y="576"/>
                    </a:lnTo>
                    <a:lnTo>
                      <a:pt x="152" y="616"/>
                    </a:lnTo>
                    <a:lnTo>
                      <a:pt x="184" y="648"/>
                    </a:lnTo>
                    <a:lnTo>
                      <a:pt x="160" y="672"/>
                    </a:lnTo>
                    <a:lnTo>
                      <a:pt x="176" y="704"/>
                    </a:lnTo>
                    <a:lnTo>
                      <a:pt x="144" y="712"/>
                    </a:lnTo>
                    <a:lnTo>
                      <a:pt x="152" y="752"/>
                    </a:lnTo>
                    <a:lnTo>
                      <a:pt x="120" y="760"/>
                    </a:lnTo>
                    <a:lnTo>
                      <a:pt x="112" y="840"/>
                    </a:lnTo>
                    <a:lnTo>
                      <a:pt x="160" y="848"/>
                    </a:lnTo>
                    <a:lnTo>
                      <a:pt x="224" y="840"/>
                    </a:lnTo>
                    <a:lnTo>
                      <a:pt x="304" y="800"/>
                    </a:lnTo>
                    <a:lnTo>
                      <a:pt x="352" y="800"/>
                    </a:lnTo>
                    <a:lnTo>
                      <a:pt x="384" y="832"/>
                    </a:lnTo>
                    <a:close/>
                  </a:path>
                </a:pathLst>
              </a:custGeom>
              <a:solidFill>
                <a:srgbClr val="9950A8"/>
              </a:solidFill>
              <a:ln w="9525">
                <a:solidFill>
                  <a:schemeClr val="bg1"/>
                </a:solidFill>
                <a:round/>
                <a:headEnd/>
                <a:tailEnd/>
              </a:ln>
            </p:spPr>
            <p:txBody>
              <a:bodyPr/>
              <a:lstStyle/>
              <a:p>
                <a:endParaRPr lang="en-US" sz="1050"/>
              </a:p>
            </p:txBody>
          </p:sp>
          <p:sp>
            <p:nvSpPr>
              <p:cNvPr id="135" name="Freeform 134"/>
              <p:cNvSpPr>
                <a:spLocks/>
              </p:cNvSpPr>
              <p:nvPr/>
            </p:nvSpPr>
            <p:spPr bwMode="auto">
              <a:xfrm>
                <a:off x="4156236" y="4482874"/>
                <a:ext cx="490275" cy="780757"/>
              </a:xfrm>
              <a:custGeom>
                <a:avLst/>
                <a:gdLst>
                  <a:gd name="T0" fmla="*/ 2147483646 w 416"/>
                  <a:gd name="T1" fmla="*/ 2147483646 h 720"/>
                  <a:gd name="T2" fmla="*/ 2147483646 w 416"/>
                  <a:gd name="T3" fmla="*/ 2147483646 h 720"/>
                  <a:gd name="T4" fmla="*/ 2147483646 w 416"/>
                  <a:gd name="T5" fmla="*/ 2147483646 h 720"/>
                  <a:gd name="T6" fmla="*/ 2147483646 w 416"/>
                  <a:gd name="T7" fmla="*/ 2147483646 h 720"/>
                  <a:gd name="T8" fmla="*/ 2147483646 w 416"/>
                  <a:gd name="T9" fmla="*/ 2147483646 h 720"/>
                  <a:gd name="T10" fmla="*/ 2147483646 w 416"/>
                  <a:gd name="T11" fmla="*/ 2147483646 h 720"/>
                  <a:gd name="T12" fmla="*/ 2147483646 w 416"/>
                  <a:gd name="T13" fmla="*/ 2147483646 h 720"/>
                  <a:gd name="T14" fmla="*/ 2147483646 w 416"/>
                  <a:gd name="T15" fmla="*/ 2147483646 h 720"/>
                  <a:gd name="T16" fmla="*/ 2147483646 w 416"/>
                  <a:gd name="T17" fmla="*/ 2147483646 h 720"/>
                  <a:gd name="T18" fmla="*/ 2147483646 w 416"/>
                  <a:gd name="T19" fmla="*/ 2147483646 h 720"/>
                  <a:gd name="T20" fmla="*/ 2147483646 w 416"/>
                  <a:gd name="T21" fmla="*/ 2147483646 h 720"/>
                  <a:gd name="T22" fmla="*/ 2147483646 w 416"/>
                  <a:gd name="T23" fmla="*/ 2147483646 h 720"/>
                  <a:gd name="T24" fmla="*/ 2147483646 w 416"/>
                  <a:gd name="T25" fmla="*/ 2147483646 h 720"/>
                  <a:gd name="T26" fmla="*/ 2147483646 w 416"/>
                  <a:gd name="T27" fmla="*/ 2147483646 h 720"/>
                  <a:gd name="T28" fmla="*/ 2147483646 w 416"/>
                  <a:gd name="T29" fmla="*/ 2147483646 h 720"/>
                  <a:gd name="T30" fmla="*/ 2147483646 w 416"/>
                  <a:gd name="T31" fmla="*/ 2147483646 h 720"/>
                  <a:gd name="T32" fmla="*/ 2147483646 w 416"/>
                  <a:gd name="T33" fmla="*/ 0 h 720"/>
                  <a:gd name="T34" fmla="*/ 2147483646 w 416"/>
                  <a:gd name="T35" fmla="*/ 2147483646 h 720"/>
                  <a:gd name="T36" fmla="*/ 2147483646 w 416"/>
                  <a:gd name="T37" fmla="*/ 2147483646 h 720"/>
                  <a:gd name="T38" fmla="*/ 0 w 416"/>
                  <a:gd name="T39" fmla="*/ 2147483646 h 720"/>
                  <a:gd name="T40" fmla="*/ 2147483646 w 416"/>
                  <a:gd name="T41" fmla="*/ 2147483646 h 720"/>
                  <a:gd name="T42" fmla="*/ 2147483646 w 416"/>
                  <a:gd name="T43" fmla="*/ 2147483646 h 720"/>
                  <a:gd name="T44" fmla="*/ 2147483646 w 416"/>
                  <a:gd name="T45" fmla="*/ 2147483646 h 720"/>
                  <a:gd name="T46" fmla="*/ 2147483646 w 416"/>
                  <a:gd name="T47" fmla="*/ 2147483646 h 720"/>
                  <a:gd name="T48" fmla="*/ 2147483646 w 416"/>
                  <a:gd name="T49" fmla="*/ 2147483646 h 720"/>
                  <a:gd name="T50" fmla="*/ 2147483646 w 416"/>
                  <a:gd name="T51" fmla="*/ 2147483646 h 720"/>
                  <a:gd name="T52" fmla="*/ 2147483646 w 416"/>
                  <a:gd name="T53" fmla="*/ 2147483646 h 720"/>
                  <a:gd name="T54" fmla="*/ 2147483646 w 416"/>
                  <a:gd name="T55" fmla="*/ 2147483646 h 720"/>
                  <a:gd name="T56" fmla="*/ 2147483646 w 416"/>
                  <a:gd name="T57" fmla="*/ 2147483646 h 720"/>
                  <a:gd name="T58" fmla="*/ 2147483646 w 416"/>
                  <a:gd name="T59" fmla="*/ 2147483646 h 720"/>
                  <a:gd name="T60" fmla="*/ 2147483646 w 416"/>
                  <a:gd name="T61" fmla="*/ 2147483646 h 720"/>
                  <a:gd name="T62" fmla="*/ 2147483646 w 416"/>
                  <a:gd name="T63" fmla="*/ 2147483646 h 720"/>
                  <a:gd name="T64" fmla="*/ 2147483646 w 416"/>
                  <a:gd name="T65" fmla="*/ 2147483646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720"/>
                  <a:gd name="T101" fmla="*/ 416 w 416"/>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720">
                    <a:moveTo>
                      <a:pt x="128" y="704"/>
                    </a:moveTo>
                    <a:lnTo>
                      <a:pt x="184" y="720"/>
                    </a:lnTo>
                    <a:lnTo>
                      <a:pt x="208" y="704"/>
                    </a:lnTo>
                    <a:lnTo>
                      <a:pt x="240" y="704"/>
                    </a:lnTo>
                    <a:lnTo>
                      <a:pt x="264" y="672"/>
                    </a:lnTo>
                    <a:lnTo>
                      <a:pt x="304" y="688"/>
                    </a:lnTo>
                    <a:lnTo>
                      <a:pt x="280" y="600"/>
                    </a:lnTo>
                    <a:lnTo>
                      <a:pt x="288" y="504"/>
                    </a:lnTo>
                    <a:lnTo>
                      <a:pt x="368" y="440"/>
                    </a:lnTo>
                    <a:lnTo>
                      <a:pt x="368" y="480"/>
                    </a:lnTo>
                    <a:lnTo>
                      <a:pt x="384" y="456"/>
                    </a:lnTo>
                    <a:lnTo>
                      <a:pt x="384" y="352"/>
                    </a:lnTo>
                    <a:lnTo>
                      <a:pt x="416" y="296"/>
                    </a:lnTo>
                    <a:lnTo>
                      <a:pt x="384" y="216"/>
                    </a:lnTo>
                    <a:lnTo>
                      <a:pt x="408" y="152"/>
                    </a:lnTo>
                    <a:lnTo>
                      <a:pt x="416" y="8"/>
                    </a:lnTo>
                    <a:lnTo>
                      <a:pt x="280" y="0"/>
                    </a:lnTo>
                    <a:lnTo>
                      <a:pt x="152" y="24"/>
                    </a:lnTo>
                    <a:lnTo>
                      <a:pt x="16" y="72"/>
                    </a:lnTo>
                    <a:lnTo>
                      <a:pt x="0" y="64"/>
                    </a:lnTo>
                    <a:lnTo>
                      <a:pt x="8" y="136"/>
                    </a:lnTo>
                    <a:lnTo>
                      <a:pt x="120" y="168"/>
                    </a:lnTo>
                    <a:lnTo>
                      <a:pt x="112" y="272"/>
                    </a:lnTo>
                    <a:lnTo>
                      <a:pt x="64" y="344"/>
                    </a:lnTo>
                    <a:lnTo>
                      <a:pt x="72" y="400"/>
                    </a:lnTo>
                    <a:lnTo>
                      <a:pt x="40" y="424"/>
                    </a:lnTo>
                    <a:lnTo>
                      <a:pt x="64" y="456"/>
                    </a:lnTo>
                    <a:lnTo>
                      <a:pt x="56" y="496"/>
                    </a:lnTo>
                    <a:lnTo>
                      <a:pt x="72" y="520"/>
                    </a:lnTo>
                    <a:lnTo>
                      <a:pt x="64" y="568"/>
                    </a:lnTo>
                    <a:lnTo>
                      <a:pt x="72" y="624"/>
                    </a:lnTo>
                    <a:lnTo>
                      <a:pt x="112" y="640"/>
                    </a:lnTo>
                    <a:lnTo>
                      <a:pt x="128" y="704"/>
                    </a:lnTo>
                    <a:close/>
                  </a:path>
                </a:pathLst>
              </a:custGeom>
              <a:solidFill>
                <a:srgbClr val="9950A8"/>
              </a:solidFill>
              <a:ln w="9525">
                <a:solidFill>
                  <a:schemeClr val="bg1"/>
                </a:solidFill>
                <a:round/>
                <a:headEnd/>
                <a:tailEnd/>
              </a:ln>
            </p:spPr>
            <p:txBody>
              <a:bodyPr/>
              <a:lstStyle/>
              <a:p>
                <a:endParaRPr lang="en-US" sz="1050"/>
              </a:p>
            </p:txBody>
          </p:sp>
          <p:sp>
            <p:nvSpPr>
              <p:cNvPr id="136" name="Freeform 135"/>
              <p:cNvSpPr>
                <a:spLocks/>
              </p:cNvSpPr>
              <p:nvPr/>
            </p:nvSpPr>
            <p:spPr bwMode="auto">
              <a:xfrm>
                <a:off x="3581106" y="4630350"/>
                <a:ext cx="716555" cy="589905"/>
              </a:xfrm>
              <a:custGeom>
                <a:avLst/>
                <a:gdLst>
                  <a:gd name="T0" fmla="*/ 2147483646 w 608"/>
                  <a:gd name="T1" fmla="*/ 2147483646 h 544"/>
                  <a:gd name="T2" fmla="*/ 2147483646 w 608"/>
                  <a:gd name="T3" fmla="*/ 2147483646 h 544"/>
                  <a:gd name="T4" fmla="*/ 2147483646 w 608"/>
                  <a:gd name="T5" fmla="*/ 2147483646 h 544"/>
                  <a:gd name="T6" fmla="*/ 2147483646 w 608"/>
                  <a:gd name="T7" fmla="*/ 2147483646 h 544"/>
                  <a:gd name="T8" fmla="*/ 2147483646 w 608"/>
                  <a:gd name="T9" fmla="*/ 2147483646 h 544"/>
                  <a:gd name="T10" fmla="*/ 2147483646 w 608"/>
                  <a:gd name="T11" fmla="*/ 0 h 544"/>
                  <a:gd name="T12" fmla="*/ 2147483646 w 608"/>
                  <a:gd name="T13" fmla="*/ 2147483646 h 544"/>
                  <a:gd name="T14" fmla="*/ 2147483646 w 608"/>
                  <a:gd name="T15" fmla="*/ 2147483646 h 544"/>
                  <a:gd name="T16" fmla="*/ 2147483646 w 608"/>
                  <a:gd name="T17" fmla="*/ 2147483646 h 544"/>
                  <a:gd name="T18" fmla="*/ 2147483646 w 608"/>
                  <a:gd name="T19" fmla="*/ 2147483646 h 544"/>
                  <a:gd name="T20" fmla="*/ 2147483646 w 608"/>
                  <a:gd name="T21" fmla="*/ 2147483646 h 544"/>
                  <a:gd name="T22" fmla="*/ 2147483646 w 608"/>
                  <a:gd name="T23" fmla="*/ 2147483646 h 544"/>
                  <a:gd name="T24" fmla="*/ 2147483646 w 608"/>
                  <a:gd name="T25" fmla="*/ 2147483646 h 544"/>
                  <a:gd name="T26" fmla="*/ 2147483646 w 608"/>
                  <a:gd name="T27" fmla="*/ 2147483646 h 544"/>
                  <a:gd name="T28" fmla="*/ 2147483646 w 608"/>
                  <a:gd name="T29" fmla="*/ 2147483646 h 544"/>
                  <a:gd name="T30" fmla="*/ 2147483646 w 608"/>
                  <a:gd name="T31" fmla="*/ 2147483646 h 544"/>
                  <a:gd name="T32" fmla="*/ 2147483646 w 608"/>
                  <a:gd name="T33" fmla="*/ 2147483646 h 544"/>
                  <a:gd name="T34" fmla="*/ 2147483646 w 608"/>
                  <a:gd name="T35" fmla="*/ 2147483646 h 544"/>
                  <a:gd name="T36" fmla="*/ 2147483646 w 608"/>
                  <a:gd name="T37" fmla="*/ 2147483646 h 544"/>
                  <a:gd name="T38" fmla="*/ 2147483646 w 608"/>
                  <a:gd name="T39" fmla="*/ 2147483646 h 544"/>
                  <a:gd name="T40" fmla="*/ 2147483646 w 608"/>
                  <a:gd name="T41" fmla="*/ 2147483646 h 544"/>
                  <a:gd name="T42" fmla="*/ 2147483646 w 608"/>
                  <a:gd name="T43" fmla="*/ 2147483646 h 544"/>
                  <a:gd name="T44" fmla="*/ 2147483646 w 608"/>
                  <a:gd name="T45" fmla="*/ 2147483646 h 544"/>
                  <a:gd name="T46" fmla="*/ 2147483646 w 608"/>
                  <a:gd name="T47" fmla="*/ 2147483646 h 544"/>
                  <a:gd name="T48" fmla="*/ 2147483646 w 608"/>
                  <a:gd name="T49" fmla="*/ 2147483646 h 544"/>
                  <a:gd name="T50" fmla="*/ 2147483646 w 608"/>
                  <a:gd name="T51" fmla="*/ 2147483646 h 544"/>
                  <a:gd name="T52" fmla="*/ 2147483646 w 608"/>
                  <a:gd name="T53" fmla="*/ 2147483646 h 544"/>
                  <a:gd name="T54" fmla="*/ 2147483646 w 608"/>
                  <a:gd name="T55" fmla="*/ 2147483646 h 544"/>
                  <a:gd name="T56" fmla="*/ 0 w 608"/>
                  <a:gd name="T57" fmla="*/ 2147483646 h 544"/>
                  <a:gd name="T58" fmla="*/ 0 w 608"/>
                  <a:gd name="T59" fmla="*/ 2147483646 h 544"/>
                  <a:gd name="T60" fmla="*/ 2147483646 w 608"/>
                  <a:gd name="T61" fmla="*/ 2147483646 h 5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8"/>
                  <a:gd name="T94" fmla="*/ 0 h 544"/>
                  <a:gd name="T95" fmla="*/ 608 w 608"/>
                  <a:gd name="T96" fmla="*/ 544 h 5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8" h="544">
                    <a:moveTo>
                      <a:pt x="40" y="48"/>
                    </a:moveTo>
                    <a:lnTo>
                      <a:pt x="88" y="40"/>
                    </a:lnTo>
                    <a:lnTo>
                      <a:pt x="200" y="72"/>
                    </a:lnTo>
                    <a:lnTo>
                      <a:pt x="312" y="32"/>
                    </a:lnTo>
                    <a:lnTo>
                      <a:pt x="440" y="32"/>
                    </a:lnTo>
                    <a:lnTo>
                      <a:pt x="496" y="0"/>
                    </a:lnTo>
                    <a:lnTo>
                      <a:pt x="608" y="32"/>
                    </a:lnTo>
                    <a:lnTo>
                      <a:pt x="600" y="136"/>
                    </a:lnTo>
                    <a:lnTo>
                      <a:pt x="552" y="208"/>
                    </a:lnTo>
                    <a:lnTo>
                      <a:pt x="560" y="264"/>
                    </a:lnTo>
                    <a:lnTo>
                      <a:pt x="528" y="288"/>
                    </a:lnTo>
                    <a:lnTo>
                      <a:pt x="544" y="304"/>
                    </a:lnTo>
                    <a:lnTo>
                      <a:pt x="544" y="360"/>
                    </a:lnTo>
                    <a:lnTo>
                      <a:pt x="560" y="384"/>
                    </a:lnTo>
                    <a:lnTo>
                      <a:pt x="552" y="432"/>
                    </a:lnTo>
                    <a:lnTo>
                      <a:pt x="520" y="440"/>
                    </a:lnTo>
                    <a:lnTo>
                      <a:pt x="496" y="528"/>
                    </a:lnTo>
                    <a:lnTo>
                      <a:pt x="424" y="520"/>
                    </a:lnTo>
                    <a:lnTo>
                      <a:pt x="384" y="544"/>
                    </a:lnTo>
                    <a:lnTo>
                      <a:pt x="304" y="488"/>
                    </a:lnTo>
                    <a:lnTo>
                      <a:pt x="216" y="456"/>
                    </a:lnTo>
                    <a:lnTo>
                      <a:pt x="192" y="408"/>
                    </a:lnTo>
                    <a:lnTo>
                      <a:pt x="136" y="392"/>
                    </a:lnTo>
                    <a:lnTo>
                      <a:pt x="144" y="320"/>
                    </a:lnTo>
                    <a:lnTo>
                      <a:pt x="120" y="280"/>
                    </a:lnTo>
                    <a:lnTo>
                      <a:pt x="152" y="264"/>
                    </a:lnTo>
                    <a:lnTo>
                      <a:pt x="120" y="192"/>
                    </a:lnTo>
                    <a:lnTo>
                      <a:pt x="56" y="152"/>
                    </a:lnTo>
                    <a:lnTo>
                      <a:pt x="0" y="112"/>
                    </a:lnTo>
                    <a:lnTo>
                      <a:pt x="0" y="80"/>
                    </a:lnTo>
                    <a:lnTo>
                      <a:pt x="40" y="48"/>
                    </a:lnTo>
                    <a:close/>
                  </a:path>
                </a:pathLst>
              </a:custGeom>
              <a:solidFill>
                <a:srgbClr val="002060"/>
              </a:solidFill>
              <a:ln w="9525">
                <a:solidFill>
                  <a:schemeClr val="bg1"/>
                </a:solidFill>
                <a:round/>
                <a:headEnd/>
                <a:tailEnd/>
              </a:ln>
            </p:spPr>
            <p:txBody>
              <a:bodyPr/>
              <a:lstStyle/>
              <a:p>
                <a:endParaRPr lang="en-US" sz="1050"/>
              </a:p>
            </p:txBody>
          </p:sp>
          <p:sp>
            <p:nvSpPr>
              <p:cNvPr id="137" name="Freeform 136"/>
              <p:cNvSpPr>
                <a:spLocks/>
              </p:cNvSpPr>
              <p:nvPr/>
            </p:nvSpPr>
            <p:spPr bwMode="auto">
              <a:xfrm>
                <a:off x="3203972" y="4795177"/>
                <a:ext cx="829695" cy="772082"/>
              </a:xfrm>
              <a:custGeom>
                <a:avLst/>
                <a:gdLst>
                  <a:gd name="T0" fmla="*/ 2147483646 w 704"/>
                  <a:gd name="T1" fmla="*/ 0 h 712"/>
                  <a:gd name="T2" fmla="*/ 2147483646 w 704"/>
                  <a:gd name="T3" fmla="*/ 2147483646 h 712"/>
                  <a:gd name="T4" fmla="*/ 2147483646 w 704"/>
                  <a:gd name="T5" fmla="*/ 2147483646 h 712"/>
                  <a:gd name="T6" fmla="*/ 2147483646 w 704"/>
                  <a:gd name="T7" fmla="*/ 2147483646 h 712"/>
                  <a:gd name="T8" fmla="*/ 2147483646 w 704"/>
                  <a:gd name="T9" fmla="*/ 2147483646 h 712"/>
                  <a:gd name="T10" fmla="*/ 2147483646 w 704"/>
                  <a:gd name="T11" fmla="*/ 2147483646 h 712"/>
                  <a:gd name="T12" fmla="*/ 2147483646 w 704"/>
                  <a:gd name="T13" fmla="*/ 2147483646 h 712"/>
                  <a:gd name="T14" fmla="*/ 2147483646 w 704"/>
                  <a:gd name="T15" fmla="*/ 2147483646 h 712"/>
                  <a:gd name="T16" fmla="*/ 2147483646 w 704"/>
                  <a:gd name="T17" fmla="*/ 2147483646 h 712"/>
                  <a:gd name="T18" fmla="*/ 2147483646 w 704"/>
                  <a:gd name="T19" fmla="*/ 2147483646 h 712"/>
                  <a:gd name="T20" fmla="*/ 2147483646 w 704"/>
                  <a:gd name="T21" fmla="*/ 2147483646 h 712"/>
                  <a:gd name="T22" fmla="*/ 2147483646 w 704"/>
                  <a:gd name="T23" fmla="*/ 2147483646 h 712"/>
                  <a:gd name="T24" fmla="*/ 2147483646 w 704"/>
                  <a:gd name="T25" fmla="*/ 2147483646 h 712"/>
                  <a:gd name="T26" fmla="*/ 2147483646 w 704"/>
                  <a:gd name="T27" fmla="*/ 2147483646 h 712"/>
                  <a:gd name="T28" fmla="*/ 2147483646 w 704"/>
                  <a:gd name="T29" fmla="*/ 2147483646 h 712"/>
                  <a:gd name="T30" fmla="*/ 2147483646 w 704"/>
                  <a:gd name="T31" fmla="*/ 2147483646 h 712"/>
                  <a:gd name="T32" fmla="*/ 2147483646 w 704"/>
                  <a:gd name="T33" fmla="*/ 2147483646 h 712"/>
                  <a:gd name="T34" fmla="*/ 2147483646 w 704"/>
                  <a:gd name="T35" fmla="*/ 2147483646 h 712"/>
                  <a:gd name="T36" fmla="*/ 2147483646 w 704"/>
                  <a:gd name="T37" fmla="*/ 2147483646 h 712"/>
                  <a:gd name="T38" fmla="*/ 2147483646 w 704"/>
                  <a:gd name="T39" fmla="*/ 2147483646 h 712"/>
                  <a:gd name="T40" fmla="*/ 2147483646 w 704"/>
                  <a:gd name="T41" fmla="*/ 2147483646 h 712"/>
                  <a:gd name="T42" fmla="*/ 2147483646 w 704"/>
                  <a:gd name="T43" fmla="*/ 2147483646 h 712"/>
                  <a:gd name="T44" fmla="*/ 2147483646 w 704"/>
                  <a:gd name="T45" fmla="*/ 2147483646 h 712"/>
                  <a:gd name="T46" fmla="*/ 2147483646 w 704"/>
                  <a:gd name="T47" fmla="*/ 2147483646 h 712"/>
                  <a:gd name="T48" fmla="*/ 2147483646 w 704"/>
                  <a:gd name="T49" fmla="*/ 2147483646 h 712"/>
                  <a:gd name="T50" fmla="*/ 2147483646 w 704"/>
                  <a:gd name="T51" fmla="*/ 2147483646 h 712"/>
                  <a:gd name="T52" fmla="*/ 2147483646 w 704"/>
                  <a:gd name="T53" fmla="*/ 2147483646 h 712"/>
                  <a:gd name="T54" fmla="*/ 2147483646 w 704"/>
                  <a:gd name="T55" fmla="*/ 2147483646 h 712"/>
                  <a:gd name="T56" fmla="*/ 2147483646 w 704"/>
                  <a:gd name="T57" fmla="*/ 2147483646 h 712"/>
                  <a:gd name="T58" fmla="*/ 2147483646 w 704"/>
                  <a:gd name="T59" fmla="*/ 2147483646 h 712"/>
                  <a:gd name="T60" fmla="*/ 2147483646 w 704"/>
                  <a:gd name="T61" fmla="*/ 2147483646 h 712"/>
                  <a:gd name="T62" fmla="*/ 2147483646 w 704"/>
                  <a:gd name="T63" fmla="*/ 2147483646 h 712"/>
                  <a:gd name="T64" fmla="*/ 2147483646 w 704"/>
                  <a:gd name="T65" fmla="*/ 2147483646 h 712"/>
                  <a:gd name="T66" fmla="*/ 2147483646 w 704"/>
                  <a:gd name="T67" fmla="*/ 2147483646 h 712"/>
                  <a:gd name="T68" fmla="*/ 2147483646 w 704"/>
                  <a:gd name="T69" fmla="*/ 2147483646 h 712"/>
                  <a:gd name="T70" fmla="*/ 2147483646 w 704"/>
                  <a:gd name="T71" fmla="*/ 2147483646 h 712"/>
                  <a:gd name="T72" fmla="*/ 2147483646 w 704"/>
                  <a:gd name="T73" fmla="*/ 2147483646 h 712"/>
                  <a:gd name="T74" fmla="*/ 2147483646 w 704"/>
                  <a:gd name="T75" fmla="*/ 2147483646 h 712"/>
                  <a:gd name="T76" fmla="*/ 2147483646 w 704"/>
                  <a:gd name="T77" fmla="*/ 2147483646 h 712"/>
                  <a:gd name="T78" fmla="*/ 2147483646 w 704"/>
                  <a:gd name="T79" fmla="*/ 2147483646 h 712"/>
                  <a:gd name="T80" fmla="*/ 2147483646 w 704"/>
                  <a:gd name="T81" fmla="*/ 2147483646 h 712"/>
                  <a:gd name="T82" fmla="*/ 2147483646 w 704"/>
                  <a:gd name="T83" fmla="*/ 2147483646 h 712"/>
                  <a:gd name="T84" fmla="*/ 2147483646 w 704"/>
                  <a:gd name="T85" fmla="*/ 2147483646 h 712"/>
                  <a:gd name="T86" fmla="*/ 2147483646 w 704"/>
                  <a:gd name="T87" fmla="*/ 2147483646 h 712"/>
                  <a:gd name="T88" fmla="*/ 2147483646 w 704"/>
                  <a:gd name="T89" fmla="*/ 2147483646 h 712"/>
                  <a:gd name="T90" fmla="*/ 2147483646 w 704"/>
                  <a:gd name="T91" fmla="*/ 2147483646 h 712"/>
                  <a:gd name="T92" fmla="*/ 2147483646 w 704"/>
                  <a:gd name="T93" fmla="*/ 2147483646 h 712"/>
                  <a:gd name="T94" fmla="*/ 2147483646 w 704"/>
                  <a:gd name="T95" fmla="*/ 2147483646 h 712"/>
                  <a:gd name="T96" fmla="*/ 0 w 704"/>
                  <a:gd name="T97" fmla="*/ 2147483646 h 712"/>
                  <a:gd name="T98" fmla="*/ 2147483646 w 704"/>
                  <a:gd name="T99" fmla="*/ 2147483646 h 712"/>
                  <a:gd name="T100" fmla="*/ 2147483646 w 704"/>
                  <a:gd name="T101" fmla="*/ 2147483646 h 712"/>
                  <a:gd name="T102" fmla="*/ 2147483646 w 704"/>
                  <a:gd name="T103" fmla="*/ 2147483646 h 712"/>
                  <a:gd name="T104" fmla="*/ 2147483646 w 704"/>
                  <a:gd name="T105" fmla="*/ 2147483646 h 712"/>
                  <a:gd name="T106" fmla="*/ 2147483646 w 704"/>
                  <a:gd name="T107" fmla="*/ 2147483646 h 712"/>
                  <a:gd name="T108" fmla="*/ 2147483646 w 704"/>
                  <a:gd name="T109" fmla="*/ 2147483646 h 712"/>
                  <a:gd name="T110" fmla="*/ 2147483646 w 704"/>
                  <a:gd name="T111" fmla="*/ 2147483646 h 712"/>
                  <a:gd name="T112" fmla="*/ 2147483646 w 704"/>
                  <a:gd name="T113" fmla="*/ 2147483646 h 712"/>
                  <a:gd name="T114" fmla="*/ 2147483646 w 704"/>
                  <a:gd name="T115" fmla="*/ 2147483646 h 712"/>
                  <a:gd name="T116" fmla="*/ 2147483646 w 704"/>
                  <a:gd name="T117" fmla="*/ 2147483646 h 712"/>
                  <a:gd name="T118" fmla="*/ 2147483646 w 704"/>
                  <a:gd name="T119" fmla="*/ 2147483646 h 712"/>
                  <a:gd name="T120" fmla="*/ 2147483646 w 704"/>
                  <a:gd name="T121" fmla="*/ 2147483646 h 712"/>
                  <a:gd name="T122" fmla="*/ 2147483646 w 704"/>
                  <a:gd name="T123" fmla="*/ 0 h 7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
                  <a:gd name="T187" fmla="*/ 0 h 712"/>
                  <a:gd name="T188" fmla="*/ 704 w 704"/>
                  <a:gd name="T189" fmla="*/ 712 h 7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 h="712">
                    <a:moveTo>
                      <a:pt x="376" y="0"/>
                    </a:moveTo>
                    <a:lnTo>
                      <a:pt x="440" y="40"/>
                    </a:lnTo>
                    <a:lnTo>
                      <a:pt x="472" y="112"/>
                    </a:lnTo>
                    <a:lnTo>
                      <a:pt x="440" y="128"/>
                    </a:lnTo>
                    <a:lnTo>
                      <a:pt x="464" y="168"/>
                    </a:lnTo>
                    <a:lnTo>
                      <a:pt x="456" y="240"/>
                    </a:lnTo>
                    <a:lnTo>
                      <a:pt x="512" y="256"/>
                    </a:lnTo>
                    <a:lnTo>
                      <a:pt x="536" y="304"/>
                    </a:lnTo>
                    <a:lnTo>
                      <a:pt x="624" y="336"/>
                    </a:lnTo>
                    <a:lnTo>
                      <a:pt x="704" y="392"/>
                    </a:lnTo>
                    <a:lnTo>
                      <a:pt x="616" y="424"/>
                    </a:lnTo>
                    <a:lnTo>
                      <a:pt x="552" y="472"/>
                    </a:lnTo>
                    <a:lnTo>
                      <a:pt x="552" y="504"/>
                    </a:lnTo>
                    <a:lnTo>
                      <a:pt x="584" y="512"/>
                    </a:lnTo>
                    <a:lnTo>
                      <a:pt x="552" y="544"/>
                    </a:lnTo>
                    <a:lnTo>
                      <a:pt x="520" y="600"/>
                    </a:lnTo>
                    <a:lnTo>
                      <a:pt x="528" y="680"/>
                    </a:lnTo>
                    <a:lnTo>
                      <a:pt x="488" y="672"/>
                    </a:lnTo>
                    <a:lnTo>
                      <a:pt x="464" y="712"/>
                    </a:lnTo>
                    <a:lnTo>
                      <a:pt x="416" y="704"/>
                    </a:lnTo>
                    <a:lnTo>
                      <a:pt x="392" y="680"/>
                    </a:lnTo>
                    <a:lnTo>
                      <a:pt x="368" y="664"/>
                    </a:lnTo>
                    <a:lnTo>
                      <a:pt x="352" y="640"/>
                    </a:lnTo>
                    <a:lnTo>
                      <a:pt x="304" y="632"/>
                    </a:lnTo>
                    <a:lnTo>
                      <a:pt x="304" y="576"/>
                    </a:lnTo>
                    <a:lnTo>
                      <a:pt x="264" y="568"/>
                    </a:lnTo>
                    <a:lnTo>
                      <a:pt x="240" y="520"/>
                    </a:lnTo>
                    <a:lnTo>
                      <a:pt x="232" y="480"/>
                    </a:lnTo>
                    <a:lnTo>
                      <a:pt x="200" y="456"/>
                    </a:lnTo>
                    <a:lnTo>
                      <a:pt x="224" y="432"/>
                    </a:lnTo>
                    <a:lnTo>
                      <a:pt x="248" y="432"/>
                    </a:lnTo>
                    <a:lnTo>
                      <a:pt x="264" y="392"/>
                    </a:lnTo>
                    <a:lnTo>
                      <a:pt x="304" y="392"/>
                    </a:lnTo>
                    <a:lnTo>
                      <a:pt x="344" y="416"/>
                    </a:lnTo>
                    <a:lnTo>
                      <a:pt x="360" y="392"/>
                    </a:lnTo>
                    <a:lnTo>
                      <a:pt x="344" y="360"/>
                    </a:lnTo>
                    <a:lnTo>
                      <a:pt x="320" y="352"/>
                    </a:lnTo>
                    <a:lnTo>
                      <a:pt x="288" y="344"/>
                    </a:lnTo>
                    <a:lnTo>
                      <a:pt x="240" y="312"/>
                    </a:lnTo>
                    <a:lnTo>
                      <a:pt x="216" y="280"/>
                    </a:lnTo>
                    <a:lnTo>
                      <a:pt x="192" y="296"/>
                    </a:lnTo>
                    <a:lnTo>
                      <a:pt x="168" y="312"/>
                    </a:lnTo>
                    <a:lnTo>
                      <a:pt x="144" y="312"/>
                    </a:lnTo>
                    <a:lnTo>
                      <a:pt x="112" y="368"/>
                    </a:lnTo>
                    <a:lnTo>
                      <a:pt x="80" y="440"/>
                    </a:lnTo>
                    <a:lnTo>
                      <a:pt x="48" y="448"/>
                    </a:lnTo>
                    <a:lnTo>
                      <a:pt x="16" y="416"/>
                    </a:lnTo>
                    <a:lnTo>
                      <a:pt x="32" y="392"/>
                    </a:lnTo>
                    <a:lnTo>
                      <a:pt x="0" y="384"/>
                    </a:lnTo>
                    <a:lnTo>
                      <a:pt x="8" y="360"/>
                    </a:lnTo>
                    <a:lnTo>
                      <a:pt x="40" y="352"/>
                    </a:lnTo>
                    <a:lnTo>
                      <a:pt x="56" y="384"/>
                    </a:lnTo>
                    <a:lnTo>
                      <a:pt x="80" y="360"/>
                    </a:lnTo>
                    <a:lnTo>
                      <a:pt x="64" y="296"/>
                    </a:lnTo>
                    <a:lnTo>
                      <a:pt x="104" y="256"/>
                    </a:lnTo>
                    <a:lnTo>
                      <a:pt x="104" y="208"/>
                    </a:lnTo>
                    <a:lnTo>
                      <a:pt x="136" y="208"/>
                    </a:lnTo>
                    <a:lnTo>
                      <a:pt x="168" y="256"/>
                    </a:lnTo>
                    <a:lnTo>
                      <a:pt x="208" y="248"/>
                    </a:lnTo>
                    <a:lnTo>
                      <a:pt x="240" y="168"/>
                    </a:lnTo>
                    <a:lnTo>
                      <a:pt x="304" y="56"/>
                    </a:lnTo>
                    <a:lnTo>
                      <a:pt x="376" y="0"/>
                    </a:lnTo>
                    <a:close/>
                  </a:path>
                </a:pathLst>
              </a:custGeom>
              <a:solidFill>
                <a:srgbClr val="9950A8"/>
              </a:solidFill>
              <a:ln w="9525">
                <a:solidFill>
                  <a:schemeClr val="bg1"/>
                </a:solidFill>
                <a:round/>
                <a:headEnd/>
                <a:tailEnd/>
              </a:ln>
            </p:spPr>
            <p:txBody>
              <a:bodyPr/>
              <a:lstStyle/>
              <a:p>
                <a:endParaRPr lang="en-US" sz="1050"/>
              </a:p>
            </p:txBody>
          </p:sp>
          <p:sp>
            <p:nvSpPr>
              <p:cNvPr id="138" name="Freeform 137"/>
              <p:cNvSpPr>
                <a:spLocks/>
              </p:cNvSpPr>
              <p:nvPr/>
            </p:nvSpPr>
            <p:spPr bwMode="auto">
              <a:xfrm>
                <a:off x="3628248" y="5098804"/>
                <a:ext cx="857981" cy="772082"/>
              </a:xfrm>
              <a:custGeom>
                <a:avLst/>
                <a:gdLst>
                  <a:gd name="T0" fmla="*/ 2147483646 w 728"/>
                  <a:gd name="T1" fmla="*/ 2147483646 h 712"/>
                  <a:gd name="T2" fmla="*/ 2147483646 w 728"/>
                  <a:gd name="T3" fmla="*/ 2147483646 h 712"/>
                  <a:gd name="T4" fmla="*/ 2147483646 w 728"/>
                  <a:gd name="T5" fmla="*/ 2147483646 h 712"/>
                  <a:gd name="T6" fmla="*/ 2147483646 w 728"/>
                  <a:gd name="T7" fmla="*/ 2147483646 h 712"/>
                  <a:gd name="T8" fmla="*/ 2147483646 w 728"/>
                  <a:gd name="T9" fmla="*/ 2147483646 h 712"/>
                  <a:gd name="T10" fmla="*/ 2147483646 w 728"/>
                  <a:gd name="T11" fmla="*/ 2147483646 h 712"/>
                  <a:gd name="T12" fmla="*/ 2147483646 w 728"/>
                  <a:gd name="T13" fmla="*/ 2147483646 h 712"/>
                  <a:gd name="T14" fmla="*/ 2147483646 w 728"/>
                  <a:gd name="T15" fmla="*/ 2147483646 h 712"/>
                  <a:gd name="T16" fmla="*/ 2147483646 w 728"/>
                  <a:gd name="T17" fmla="*/ 2147483646 h 712"/>
                  <a:gd name="T18" fmla="*/ 2147483646 w 728"/>
                  <a:gd name="T19" fmla="*/ 2147483646 h 712"/>
                  <a:gd name="T20" fmla="*/ 2147483646 w 728"/>
                  <a:gd name="T21" fmla="*/ 2147483646 h 712"/>
                  <a:gd name="T22" fmla="*/ 2147483646 w 728"/>
                  <a:gd name="T23" fmla="*/ 2147483646 h 712"/>
                  <a:gd name="T24" fmla="*/ 2147483646 w 728"/>
                  <a:gd name="T25" fmla="*/ 2147483646 h 712"/>
                  <a:gd name="T26" fmla="*/ 2147483646 w 728"/>
                  <a:gd name="T27" fmla="*/ 0 h 712"/>
                  <a:gd name="T28" fmla="*/ 2147483646 w 728"/>
                  <a:gd name="T29" fmla="*/ 2147483646 h 712"/>
                  <a:gd name="T30" fmla="*/ 2147483646 w 728"/>
                  <a:gd name="T31" fmla="*/ 2147483646 h 712"/>
                  <a:gd name="T32" fmla="*/ 2147483646 w 728"/>
                  <a:gd name="T33" fmla="*/ 2147483646 h 712"/>
                  <a:gd name="T34" fmla="*/ 2147483646 w 728"/>
                  <a:gd name="T35" fmla="*/ 2147483646 h 712"/>
                  <a:gd name="T36" fmla="*/ 2147483646 w 728"/>
                  <a:gd name="T37" fmla="*/ 2147483646 h 712"/>
                  <a:gd name="T38" fmla="*/ 2147483646 w 728"/>
                  <a:gd name="T39" fmla="*/ 2147483646 h 712"/>
                  <a:gd name="T40" fmla="*/ 2147483646 w 728"/>
                  <a:gd name="T41" fmla="*/ 2147483646 h 712"/>
                  <a:gd name="T42" fmla="*/ 2147483646 w 728"/>
                  <a:gd name="T43" fmla="*/ 2147483646 h 712"/>
                  <a:gd name="T44" fmla="*/ 2147483646 w 728"/>
                  <a:gd name="T45" fmla="*/ 2147483646 h 712"/>
                  <a:gd name="T46" fmla="*/ 2147483646 w 728"/>
                  <a:gd name="T47" fmla="*/ 2147483646 h 712"/>
                  <a:gd name="T48" fmla="*/ 2147483646 w 728"/>
                  <a:gd name="T49" fmla="*/ 2147483646 h 712"/>
                  <a:gd name="T50" fmla="*/ 2147483646 w 728"/>
                  <a:gd name="T51" fmla="*/ 2147483646 h 712"/>
                  <a:gd name="T52" fmla="*/ 2147483646 w 728"/>
                  <a:gd name="T53" fmla="*/ 2147483646 h 712"/>
                  <a:gd name="T54" fmla="*/ 2147483646 w 728"/>
                  <a:gd name="T55" fmla="*/ 2147483646 h 712"/>
                  <a:gd name="T56" fmla="*/ 2147483646 w 728"/>
                  <a:gd name="T57" fmla="*/ 2147483646 h 712"/>
                  <a:gd name="T58" fmla="*/ 2147483646 w 728"/>
                  <a:gd name="T59" fmla="*/ 2147483646 h 712"/>
                  <a:gd name="T60" fmla="*/ 2147483646 w 728"/>
                  <a:gd name="T61" fmla="*/ 2147483646 h 712"/>
                  <a:gd name="T62" fmla="*/ 2147483646 w 728"/>
                  <a:gd name="T63" fmla="*/ 2147483646 h 712"/>
                  <a:gd name="T64" fmla="*/ 2147483646 w 728"/>
                  <a:gd name="T65" fmla="*/ 2147483646 h 712"/>
                  <a:gd name="T66" fmla="*/ 2147483646 w 728"/>
                  <a:gd name="T67" fmla="*/ 2147483646 h 712"/>
                  <a:gd name="T68" fmla="*/ 2147483646 w 728"/>
                  <a:gd name="T69" fmla="*/ 2147483646 h 712"/>
                  <a:gd name="T70" fmla="*/ 2147483646 w 728"/>
                  <a:gd name="T71" fmla="*/ 2147483646 h 712"/>
                  <a:gd name="T72" fmla="*/ 2147483646 w 728"/>
                  <a:gd name="T73" fmla="*/ 2147483646 h 712"/>
                  <a:gd name="T74" fmla="*/ 2147483646 w 728"/>
                  <a:gd name="T75" fmla="*/ 2147483646 h 712"/>
                  <a:gd name="T76" fmla="*/ 2147483646 w 728"/>
                  <a:gd name="T77" fmla="*/ 2147483646 h 712"/>
                  <a:gd name="T78" fmla="*/ 2147483646 w 728"/>
                  <a:gd name="T79" fmla="*/ 2147483646 h 712"/>
                  <a:gd name="T80" fmla="*/ 2147483646 w 728"/>
                  <a:gd name="T81" fmla="*/ 2147483646 h 712"/>
                  <a:gd name="T82" fmla="*/ 2147483646 w 728"/>
                  <a:gd name="T83" fmla="*/ 2147483646 h 712"/>
                  <a:gd name="T84" fmla="*/ 2147483646 w 728"/>
                  <a:gd name="T85" fmla="*/ 2147483646 h 712"/>
                  <a:gd name="T86" fmla="*/ 2147483646 w 728"/>
                  <a:gd name="T87" fmla="*/ 2147483646 h 712"/>
                  <a:gd name="T88" fmla="*/ 2147483646 w 728"/>
                  <a:gd name="T89" fmla="*/ 2147483646 h 712"/>
                  <a:gd name="T90" fmla="*/ 2147483646 w 728"/>
                  <a:gd name="T91" fmla="*/ 2147483646 h 712"/>
                  <a:gd name="T92" fmla="*/ 2147483646 w 728"/>
                  <a:gd name="T93" fmla="*/ 2147483646 h 712"/>
                  <a:gd name="T94" fmla="*/ 2147483646 w 728"/>
                  <a:gd name="T95" fmla="*/ 2147483646 h 712"/>
                  <a:gd name="T96" fmla="*/ 0 w 728"/>
                  <a:gd name="T97" fmla="*/ 2147483646 h 712"/>
                  <a:gd name="T98" fmla="*/ 2147483646 w 728"/>
                  <a:gd name="T99" fmla="*/ 2147483646 h 712"/>
                  <a:gd name="T100" fmla="*/ 2147483646 w 728"/>
                  <a:gd name="T101" fmla="*/ 2147483646 h 712"/>
                  <a:gd name="T102" fmla="*/ 2147483646 w 728"/>
                  <a:gd name="T103" fmla="*/ 2147483646 h 712"/>
                  <a:gd name="T104" fmla="*/ 2147483646 w 728"/>
                  <a:gd name="T105" fmla="*/ 2147483646 h 712"/>
                  <a:gd name="T106" fmla="*/ 2147483646 w 728"/>
                  <a:gd name="T107" fmla="*/ 2147483646 h 712"/>
                  <a:gd name="T108" fmla="*/ 2147483646 w 728"/>
                  <a:gd name="T109" fmla="*/ 2147483646 h 712"/>
                  <a:gd name="T110" fmla="*/ 2147483646 w 728"/>
                  <a:gd name="T111" fmla="*/ 2147483646 h 7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12"/>
                  <a:gd name="T170" fmla="*/ 728 w 728"/>
                  <a:gd name="T171" fmla="*/ 712 h 7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12">
                    <a:moveTo>
                      <a:pt x="104" y="432"/>
                    </a:moveTo>
                    <a:lnTo>
                      <a:pt x="128" y="392"/>
                    </a:lnTo>
                    <a:lnTo>
                      <a:pt x="168" y="400"/>
                    </a:lnTo>
                    <a:lnTo>
                      <a:pt x="160" y="320"/>
                    </a:lnTo>
                    <a:lnTo>
                      <a:pt x="192" y="264"/>
                    </a:lnTo>
                    <a:lnTo>
                      <a:pt x="224" y="232"/>
                    </a:lnTo>
                    <a:lnTo>
                      <a:pt x="192" y="224"/>
                    </a:lnTo>
                    <a:lnTo>
                      <a:pt x="192" y="192"/>
                    </a:lnTo>
                    <a:lnTo>
                      <a:pt x="256" y="144"/>
                    </a:lnTo>
                    <a:lnTo>
                      <a:pt x="344" y="112"/>
                    </a:lnTo>
                    <a:lnTo>
                      <a:pt x="384" y="88"/>
                    </a:lnTo>
                    <a:lnTo>
                      <a:pt x="456" y="96"/>
                    </a:lnTo>
                    <a:lnTo>
                      <a:pt x="480" y="8"/>
                    </a:lnTo>
                    <a:lnTo>
                      <a:pt x="512" y="0"/>
                    </a:lnTo>
                    <a:lnTo>
                      <a:pt x="520" y="56"/>
                    </a:lnTo>
                    <a:lnTo>
                      <a:pt x="560" y="72"/>
                    </a:lnTo>
                    <a:lnTo>
                      <a:pt x="576" y="136"/>
                    </a:lnTo>
                    <a:lnTo>
                      <a:pt x="528" y="184"/>
                    </a:lnTo>
                    <a:lnTo>
                      <a:pt x="592" y="216"/>
                    </a:lnTo>
                    <a:lnTo>
                      <a:pt x="608" y="272"/>
                    </a:lnTo>
                    <a:lnTo>
                      <a:pt x="664" y="288"/>
                    </a:lnTo>
                    <a:lnTo>
                      <a:pt x="704" y="344"/>
                    </a:lnTo>
                    <a:lnTo>
                      <a:pt x="696" y="408"/>
                    </a:lnTo>
                    <a:lnTo>
                      <a:pt x="728" y="432"/>
                    </a:lnTo>
                    <a:lnTo>
                      <a:pt x="688" y="448"/>
                    </a:lnTo>
                    <a:lnTo>
                      <a:pt x="680" y="488"/>
                    </a:lnTo>
                    <a:lnTo>
                      <a:pt x="712" y="520"/>
                    </a:lnTo>
                    <a:lnTo>
                      <a:pt x="688" y="544"/>
                    </a:lnTo>
                    <a:lnTo>
                      <a:pt x="704" y="576"/>
                    </a:lnTo>
                    <a:lnTo>
                      <a:pt x="672" y="584"/>
                    </a:lnTo>
                    <a:lnTo>
                      <a:pt x="680" y="624"/>
                    </a:lnTo>
                    <a:lnTo>
                      <a:pt x="648" y="632"/>
                    </a:lnTo>
                    <a:lnTo>
                      <a:pt x="640" y="712"/>
                    </a:lnTo>
                    <a:lnTo>
                      <a:pt x="592" y="688"/>
                    </a:lnTo>
                    <a:lnTo>
                      <a:pt x="560" y="672"/>
                    </a:lnTo>
                    <a:lnTo>
                      <a:pt x="528" y="672"/>
                    </a:lnTo>
                    <a:lnTo>
                      <a:pt x="504" y="656"/>
                    </a:lnTo>
                    <a:lnTo>
                      <a:pt x="456" y="648"/>
                    </a:lnTo>
                    <a:lnTo>
                      <a:pt x="424" y="624"/>
                    </a:lnTo>
                    <a:lnTo>
                      <a:pt x="384" y="640"/>
                    </a:lnTo>
                    <a:lnTo>
                      <a:pt x="360" y="624"/>
                    </a:lnTo>
                    <a:lnTo>
                      <a:pt x="320" y="608"/>
                    </a:lnTo>
                    <a:lnTo>
                      <a:pt x="288" y="600"/>
                    </a:lnTo>
                    <a:lnTo>
                      <a:pt x="240" y="600"/>
                    </a:lnTo>
                    <a:lnTo>
                      <a:pt x="200" y="616"/>
                    </a:lnTo>
                    <a:lnTo>
                      <a:pt x="144" y="624"/>
                    </a:lnTo>
                    <a:lnTo>
                      <a:pt x="88" y="616"/>
                    </a:lnTo>
                    <a:lnTo>
                      <a:pt x="40" y="608"/>
                    </a:lnTo>
                    <a:lnTo>
                      <a:pt x="0" y="576"/>
                    </a:lnTo>
                    <a:lnTo>
                      <a:pt x="16" y="536"/>
                    </a:lnTo>
                    <a:lnTo>
                      <a:pt x="24" y="512"/>
                    </a:lnTo>
                    <a:lnTo>
                      <a:pt x="32" y="488"/>
                    </a:lnTo>
                    <a:lnTo>
                      <a:pt x="80" y="480"/>
                    </a:lnTo>
                    <a:lnTo>
                      <a:pt x="120" y="464"/>
                    </a:lnTo>
                    <a:lnTo>
                      <a:pt x="120" y="440"/>
                    </a:lnTo>
                    <a:lnTo>
                      <a:pt x="104" y="432"/>
                    </a:lnTo>
                    <a:close/>
                  </a:path>
                </a:pathLst>
              </a:custGeom>
              <a:solidFill>
                <a:srgbClr val="002060"/>
              </a:solidFill>
              <a:ln w="9525">
                <a:solidFill>
                  <a:schemeClr val="bg1"/>
                </a:solidFill>
                <a:round/>
                <a:headEnd/>
                <a:tailEnd/>
              </a:ln>
            </p:spPr>
            <p:txBody>
              <a:bodyPr/>
              <a:lstStyle/>
              <a:p>
                <a:endParaRPr lang="en-US" sz="1050"/>
              </a:p>
            </p:txBody>
          </p:sp>
          <p:sp>
            <p:nvSpPr>
              <p:cNvPr id="139" name="Freeform 138"/>
              <p:cNvSpPr>
                <a:spLocks/>
              </p:cNvSpPr>
              <p:nvPr/>
            </p:nvSpPr>
            <p:spPr bwMode="auto">
              <a:xfrm>
                <a:off x="2855123" y="4378773"/>
                <a:ext cx="810839" cy="832807"/>
              </a:xfrm>
              <a:custGeom>
                <a:avLst/>
                <a:gdLst>
                  <a:gd name="T0" fmla="*/ 2147483646 w 688"/>
                  <a:gd name="T1" fmla="*/ 2147483646 h 768"/>
                  <a:gd name="T2" fmla="*/ 2147483646 w 688"/>
                  <a:gd name="T3" fmla="*/ 2147483646 h 768"/>
                  <a:gd name="T4" fmla="*/ 2147483646 w 688"/>
                  <a:gd name="T5" fmla="*/ 2147483646 h 768"/>
                  <a:gd name="T6" fmla="*/ 2147483646 w 688"/>
                  <a:gd name="T7" fmla="*/ 2147483646 h 768"/>
                  <a:gd name="T8" fmla="*/ 2147483646 w 688"/>
                  <a:gd name="T9" fmla="*/ 2147483646 h 768"/>
                  <a:gd name="T10" fmla="*/ 2147483646 w 688"/>
                  <a:gd name="T11" fmla="*/ 2147483646 h 768"/>
                  <a:gd name="T12" fmla="*/ 2147483646 w 688"/>
                  <a:gd name="T13" fmla="*/ 2147483646 h 768"/>
                  <a:gd name="T14" fmla="*/ 2147483646 w 688"/>
                  <a:gd name="T15" fmla="*/ 2147483646 h 768"/>
                  <a:gd name="T16" fmla="*/ 2147483646 w 688"/>
                  <a:gd name="T17" fmla="*/ 2147483646 h 768"/>
                  <a:gd name="T18" fmla="*/ 2147483646 w 688"/>
                  <a:gd name="T19" fmla="*/ 2147483646 h 768"/>
                  <a:gd name="T20" fmla="*/ 2147483646 w 688"/>
                  <a:gd name="T21" fmla="*/ 2147483646 h 768"/>
                  <a:gd name="T22" fmla="*/ 2147483646 w 688"/>
                  <a:gd name="T23" fmla="*/ 2147483646 h 768"/>
                  <a:gd name="T24" fmla="*/ 2147483646 w 688"/>
                  <a:gd name="T25" fmla="*/ 2147483646 h 768"/>
                  <a:gd name="T26" fmla="*/ 2147483646 w 688"/>
                  <a:gd name="T27" fmla="*/ 2147483646 h 768"/>
                  <a:gd name="T28" fmla="*/ 2147483646 w 688"/>
                  <a:gd name="T29" fmla="*/ 2147483646 h 768"/>
                  <a:gd name="T30" fmla="*/ 2147483646 w 688"/>
                  <a:gd name="T31" fmla="*/ 2147483646 h 768"/>
                  <a:gd name="T32" fmla="*/ 2147483646 w 688"/>
                  <a:gd name="T33" fmla="*/ 2147483646 h 768"/>
                  <a:gd name="T34" fmla="*/ 2147483646 w 688"/>
                  <a:gd name="T35" fmla="*/ 2147483646 h 768"/>
                  <a:gd name="T36" fmla="*/ 2147483646 w 688"/>
                  <a:gd name="T37" fmla="*/ 2147483646 h 768"/>
                  <a:gd name="T38" fmla="*/ 2147483646 w 688"/>
                  <a:gd name="T39" fmla="*/ 2147483646 h 768"/>
                  <a:gd name="T40" fmla="*/ 2147483646 w 688"/>
                  <a:gd name="T41" fmla="*/ 2147483646 h 768"/>
                  <a:gd name="T42" fmla="*/ 2147483646 w 688"/>
                  <a:gd name="T43" fmla="*/ 2147483646 h 768"/>
                  <a:gd name="T44" fmla="*/ 2147483646 w 688"/>
                  <a:gd name="T45" fmla="*/ 0 h 768"/>
                  <a:gd name="T46" fmla="*/ 2147483646 w 688"/>
                  <a:gd name="T47" fmla="*/ 2147483646 h 768"/>
                  <a:gd name="T48" fmla="*/ 2147483646 w 688"/>
                  <a:gd name="T49" fmla="*/ 2147483646 h 768"/>
                  <a:gd name="T50" fmla="*/ 2147483646 w 688"/>
                  <a:gd name="T51" fmla="*/ 2147483646 h 768"/>
                  <a:gd name="T52" fmla="*/ 2147483646 w 688"/>
                  <a:gd name="T53" fmla="*/ 2147483646 h 768"/>
                  <a:gd name="T54" fmla="*/ 2147483646 w 688"/>
                  <a:gd name="T55" fmla="*/ 2147483646 h 768"/>
                  <a:gd name="T56" fmla="*/ 2147483646 w 688"/>
                  <a:gd name="T57" fmla="*/ 2147483646 h 768"/>
                  <a:gd name="T58" fmla="*/ 2147483646 w 688"/>
                  <a:gd name="T59" fmla="*/ 2147483646 h 768"/>
                  <a:gd name="T60" fmla="*/ 2147483646 w 688"/>
                  <a:gd name="T61" fmla="*/ 2147483646 h 768"/>
                  <a:gd name="T62" fmla="*/ 2147483646 w 688"/>
                  <a:gd name="T63" fmla="*/ 2147483646 h 768"/>
                  <a:gd name="T64" fmla="*/ 2147483646 w 688"/>
                  <a:gd name="T65" fmla="*/ 2147483646 h 768"/>
                  <a:gd name="T66" fmla="*/ 2147483646 w 688"/>
                  <a:gd name="T67" fmla="*/ 2147483646 h 768"/>
                  <a:gd name="T68" fmla="*/ 2147483646 w 688"/>
                  <a:gd name="T69" fmla="*/ 2147483646 h 768"/>
                  <a:gd name="T70" fmla="*/ 2147483646 w 688"/>
                  <a:gd name="T71" fmla="*/ 2147483646 h 768"/>
                  <a:gd name="T72" fmla="*/ 2147483646 w 688"/>
                  <a:gd name="T73" fmla="*/ 2147483646 h 768"/>
                  <a:gd name="T74" fmla="*/ 2147483646 w 688"/>
                  <a:gd name="T75" fmla="*/ 2147483646 h 768"/>
                  <a:gd name="T76" fmla="*/ 2147483646 w 688"/>
                  <a:gd name="T77" fmla="*/ 2147483646 h 768"/>
                  <a:gd name="T78" fmla="*/ 2147483646 w 688"/>
                  <a:gd name="T79" fmla="*/ 2147483646 h 768"/>
                  <a:gd name="T80" fmla="*/ 2147483646 w 688"/>
                  <a:gd name="T81" fmla="*/ 2147483646 h 768"/>
                  <a:gd name="T82" fmla="*/ 2147483646 w 688"/>
                  <a:gd name="T83" fmla="*/ 2147483646 h 768"/>
                  <a:gd name="T84" fmla="*/ 2147483646 w 688"/>
                  <a:gd name="T85" fmla="*/ 2147483646 h 768"/>
                  <a:gd name="T86" fmla="*/ 2147483646 w 688"/>
                  <a:gd name="T87" fmla="*/ 2147483646 h 768"/>
                  <a:gd name="T88" fmla="*/ 2147483646 w 688"/>
                  <a:gd name="T89" fmla="*/ 2147483646 h 768"/>
                  <a:gd name="T90" fmla="*/ 2147483646 w 688"/>
                  <a:gd name="T91" fmla="*/ 2147483646 h 768"/>
                  <a:gd name="T92" fmla="*/ 2147483646 w 688"/>
                  <a:gd name="T93" fmla="*/ 2147483646 h 768"/>
                  <a:gd name="T94" fmla="*/ 2147483646 w 688"/>
                  <a:gd name="T95" fmla="*/ 2147483646 h 768"/>
                  <a:gd name="T96" fmla="*/ 0 w 688"/>
                  <a:gd name="T97" fmla="*/ 2147483646 h 768"/>
                  <a:gd name="T98" fmla="*/ 0 w 688"/>
                  <a:gd name="T99" fmla="*/ 2147483646 h 768"/>
                  <a:gd name="T100" fmla="*/ 2147483646 w 688"/>
                  <a:gd name="T101" fmla="*/ 2147483646 h 768"/>
                  <a:gd name="T102" fmla="*/ 2147483646 w 688"/>
                  <a:gd name="T103" fmla="*/ 2147483646 h 768"/>
                  <a:gd name="T104" fmla="*/ 2147483646 w 688"/>
                  <a:gd name="T105" fmla="*/ 2147483646 h 768"/>
                  <a:gd name="T106" fmla="*/ 2147483646 w 688"/>
                  <a:gd name="T107" fmla="*/ 2147483646 h 768"/>
                  <a:gd name="T108" fmla="*/ 2147483646 w 688"/>
                  <a:gd name="T109" fmla="*/ 2147483646 h 768"/>
                  <a:gd name="T110" fmla="*/ 2147483646 w 688"/>
                  <a:gd name="T111" fmla="*/ 2147483646 h 768"/>
                  <a:gd name="T112" fmla="*/ 2147483646 w 688"/>
                  <a:gd name="T113" fmla="*/ 2147483646 h 768"/>
                  <a:gd name="T114" fmla="*/ 2147483646 w 688"/>
                  <a:gd name="T115" fmla="*/ 2147483646 h 768"/>
                  <a:gd name="T116" fmla="*/ 2147483646 w 688"/>
                  <a:gd name="T117" fmla="*/ 2147483646 h 7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8"/>
                  <a:gd name="T178" fmla="*/ 0 h 768"/>
                  <a:gd name="T179" fmla="*/ 688 w 688"/>
                  <a:gd name="T180" fmla="*/ 768 h 7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8" h="768">
                    <a:moveTo>
                      <a:pt x="304" y="744"/>
                    </a:moveTo>
                    <a:lnTo>
                      <a:pt x="336" y="736"/>
                    </a:lnTo>
                    <a:lnTo>
                      <a:pt x="352" y="768"/>
                    </a:lnTo>
                    <a:lnTo>
                      <a:pt x="376" y="744"/>
                    </a:lnTo>
                    <a:lnTo>
                      <a:pt x="360" y="680"/>
                    </a:lnTo>
                    <a:lnTo>
                      <a:pt x="400" y="640"/>
                    </a:lnTo>
                    <a:lnTo>
                      <a:pt x="400" y="592"/>
                    </a:lnTo>
                    <a:lnTo>
                      <a:pt x="432" y="592"/>
                    </a:lnTo>
                    <a:lnTo>
                      <a:pt x="464" y="640"/>
                    </a:lnTo>
                    <a:lnTo>
                      <a:pt x="504" y="632"/>
                    </a:lnTo>
                    <a:lnTo>
                      <a:pt x="536" y="552"/>
                    </a:lnTo>
                    <a:lnTo>
                      <a:pt x="600" y="440"/>
                    </a:lnTo>
                    <a:lnTo>
                      <a:pt x="672" y="384"/>
                    </a:lnTo>
                    <a:lnTo>
                      <a:pt x="616" y="344"/>
                    </a:lnTo>
                    <a:lnTo>
                      <a:pt x="616" y="312"/>
                    </a:lnTo>
                    <a:lnTo>
                      <a:pt x="656" y="280"/>
                    </a:lnTo>
                    <a:lnTo>
                      <a:pt x="648" y="200"/>
                    </a:lnTo>
                    <a:lnTo>
                      <a:pt x="688" y="168"/>
                    </a:lnTo>
                    <a:lnTo>
                      <a:pt x="600" y="32"/>
                    </a:lnTo>
                    <a:lnTo>
                      <a:pt x="560" y="16"/>
                    </a:lnTo>
                    <a:lnTo>
                      <a:pt x="512" y="16"/>
                    </a:lnTo>
                    <a:lnTo>
                      <a:pt x="464" y="56"/>
                    </a:lnTo>
                    <a:lnTo>
                      <a:pt x="432" y="0"/>
                    </a:lnTo>
                    <a:lnTo>
                      <a:pt x="392" y="64"/>
                    </a:lnTo>
                    <a:lnTo>
                      <a:pt x="360" y="72"/>
                    </a:lnTo>
                    <a:lnTo>
                      <a:pt x="360" y="120"/>
                    </a:lnTo>
                    <a:lnTo>
                      <a:pt x="320" y="128"/>
                    </a:lnTo>
                    <a:lnTo>
                      <a:pt x="192" y="64"/>
                    </a:lnTo>
                    <a:lnTo>
                      <a:pt x="144" y="80"/>
                    </a:lnTo>
                    <a:lnTo>
                      <a:pt x="128" y="136"/>
                    </a:lnTo>
                    <a:lnTo>
                      <a:pt x="80" y="152"/>
                    </a:lnTo>
                    <a:lnTo>
                      <a:pt x="112" y="184"/>
                    </a:lnTo>
                    <a:lnTo>
                      <a:pt x="72" y="208"/>
                    </a:lnTo>
                    <a:lnTo>
                      <a:pt x="112" y="264"/>
                    </a:lnTo>
                    <a:lnTo>
                      <a:pt x="96" y="304"/>
                    </a:lnTo>
                    <a:lnTo>
                      <a:pt x="64" y="336"/>
                    </a:lnTo>
                    <a:lnTo>
                      <a:pt x="72" y="360"/>
                    </a:lnTo>
                    <a:lnTo>
                      <a:pt x="64" y="376"/>
                    </a:lnTo>
                    <a:lnTo>
                      <a:pt x="48" y="384"/>
                    </a:lnTo>
                    <a:lnTo>
                      <a:pt x="48" y="408"/>
                    </a:lnTo>
                    <a:lnTo>
                      <a:pt x="40" y="440"/>
                    </a:lnTo>
                    <a:lnTo>
                      <a:pt x="8" y="440"/>
                    </a:lnTo>
                    <a:lnTo>
                      <a:pt x="8" y="472"/>
                    </a:lnTo>
                    <a:lnTo>
                      <a:pt x="24" y="472"/>
                    </a:lnTo>
                    <a:lnTo>
                      <a:pt x="64" y="496"/>
                    </a:lnTo>
                    <a:lnTo>
                      <a:pt x="80" y="512"/>
                    </a:lnTo>
                    <a:lnTo>
                      <a:pt x="80" y="536"/>
                    </a:lnTo>
                    <a:lnTo>
                      <a:pt x="48" y="544"/>
                    </a:lnTo>
                    <a:lnTo>
                      <a:pt x="0" y="544"/>
                    </a:lnTo>
                    <a:lnTo>
                      <a:pt x="0" y="568"/>
                    </a:lnTo>
                    <a:lnTo>
                      <a:pt x="16" y="600"/>
                    </a:lnTo>
                    <a:lnTo>
                      <a:pt x="64" y="608"/>
                    </a:lnTo>
                    <a:lnTo>
                      <a:pt x="96" y="616"/>
                    </a:lnTo>
                    <a:lnTo>
                      <a:pt x="112" y="672"/>
                    </a:lnTo>
                    <a:lnTo>
                      <a:pt x="144" y="696"/>
                    </a:lnTo>
                    <a:lnTo>
                      <a:pt x="192" y="688"/>
                    </a:lnTo>
                    <a:lnTo>
                      <a:pt x="240" y="712"/>
                    </a:lnTo>
                    <a:lnTo>
                      <a:pt x="288" y="720"/>
                    </a:lnTo>
                    <a:lnTo>
                      <a:pt x="304" y="744"/>
                    </a:lnTo>
                    <a:close/>
                  </a:path>
                </a:pathLst>
              </a:custGeom>
              <a:solidFill>
                <a:srgbClr val="4670F8"/>
              </a:solidFill>
              <a:ln w="9525">
                <a:solidFill>
                  <a:schemeClr val="bg1"/>
                </a:solidFill>
                <a:round/>
                <a:headEnd/>
                <a:tailEnd/>
              </a:ln>
            </p:spPr>
            <p:txBody>
              <a:bodyPr/>
              <a:lstStyle/>
              <a:p>
                <a:endParaRPr lang="en-US" sz="1050"/>
              </a:p>
            </p:txBody>
          </p:sp>
          <p:sp>
            <p:nvSpPr>
              <p:cNvPr id="140" name="Freeform 139"/>
              <p:cNvSpPr>
                <a:spLocks/>
              </p:cNvSpPr>
              <p:nvPr/>
            </p:nvSpPr>
            <p:spPr bwMode="auto">
              <a:xfrm>
                <a:off x="2298850" y="3988395"/>
                <a:ext cx="1272829" cy="754732"/>
              </a:xfrm>
              <a:custGeom>
                <a:avLst/>
                <a:gdLst>
                  <a:gd name="T0" fmla="*/ 2147483646 w 1080"/>
                  <a:gd name="T1" fmla="*/ 2147483646 h 696"/>
                  <a:gd name="T2" fmla="*/ 2147483646 w 1080"/>
                  <a:gd name="T3" fmla="*/ 2147483646 h 696"/>
                  <a:gd name="T4" fmla="*/ 2147483646 w 1080"/>
                  <a:gd name="T5" fmla="*/ 2147483646 h 696"/>
                  <a:gd name="T6" fmla="*/ 2147483646 w 1080"/>
                  <a:gd name="T7" fmla="*/ 2147483646 h 696"/>
                  <a:gd name="T8" fmla="*/ 2147483646 w 1080"/>
                  <a:gd name="T9" fmla="*/ 2147483646 h 696"/>
                  <a:gd name="T10" fmla="*/ 2147483646 w 1080"/>
                  <a:gd name="T11" fmla="*/ 2147483646 h 696"/>
                  <a:gd name="T12" fmla="*/ 2147483646 w 1080"/>
                  <a:gd name="T13" fmla="*/ 2147483646 h 696"/>
                  <a:gd name="T14" fmla="*/ 2147483646 w 1080"/>
                  <a:gd name="T15" fmla="*/ 2147483646 h 696"/>
                  <a:gd name="T16" fmla="*/ 2147483646 w 1080"/>
                  <a:gd name="T17" fmla="*/ 2147483646 h 696"/>
                  <a:gd name="T18" fmla="*/ 2147483646 w 1080"/>
                  <a:gd name="T19" fmla="*/ 2147483646 h 696"/>
                  <a:gd name="T20" fmla="*/ 2147483646 w 1080"/>
                  <a:gd name="T21" fmla="*/ 2147483646 h 696"/>
                  <a:gd name="T22" fmla="*/ 2147483646 w 1080"/>
                  <a:gd name="T23" fmla="*/ 2147483646 h 696"/>
                  <a:gd name="T24" fmla="*/ 2147483646 w 1080"/>
                  <a:gd name="T25" fmla="*/ 2147483646 h 696"/>
                  <a:gd name="T26" fmla="*/ 2147483646 w 1080"/>
                  <a:gd name="T27" fmla="*/ 2147483646 h 696"/>
                  <a:gd name="T28" fmla="*/ 2147483646 w 1080"/>
                  <a:gd name="T29" fmla="*/ 2147483646 h 696"/>
                  <a:gd name="T30" fmla="*/ 2147483646 w 1080"/>
                  <a:gd name="T31" fmla="*/ 2147483646 h 696"/>
                  <a:gd name="T32" fmla="*/ 2147483646 w 1080"/>
                  <a:gd name="T33" fmla="*/ 2147483646 h 696"/>
                  <a:gd name="T34" fmla="*/ 2147483646 w 1080"/>
                  <a:gd name="T35" fmla="*/ 2147483646 h 696"/>
                  <a:gd name="T36" fmla="*/ 2147483646 w 1080"/>
                  <a:gd name="T37" fmla="*/ 2147483646 h 696"/>
                  <a:gd name="T38" fmla="*/ 2147483646 w 1080"/>
                  <a:gd name="T39" fmla="*/ 2147483646 h 696"/>
                  <a:gd name="T40" fmla="*/ 2147483646 w 1080"/>
                  <a:gd name="T41" fmla="*/ 2147483646 h 696"/>
                  <a:gd name="T42" fmla="*/ 2147483646 w 1080"/>
                  <a:gd name="T43" fmla="*/ 0 h 696"/>
                  <a:gd name="T44" fmla="*/ 2147483646 w 1080"/>
                  <a:gd name="T45" fmla="*/ 2147483646 h 696"/>
                  <a:gd name="T46" fmla="*/ 2147483646 w 1080"/>
                  <a:gd name="T47" fmla="*/ 2147483646 h 696"/>
                  <a:gd name="T48" fmla="*/ 2147483646 w 1080"/>
                  <a:gd name="T49" fmla="*/ 2147483646 h 696"/>
                  <a:gd name="T50" fmla="*/ 2147483646 w 1080"/>
                  <a:gd name="T51" fmla="*/ 2147483646 h 696"/>
                  <a:gd name="T52" fmla="*/ 2147483646 w 1080"/>
                  <a:gd name="T53" fmla="*/ 2147483646 h 696"/>
                  <a:gd name="T54" fmla="*/ 2147483646 w 1080"/>
                  <a:gd name="T55" fmla="*/ 2147483646 h 696"/>
                  <a:gd name="T56" fmla="*/ 2147483646 w 1080"/>
                  <a:gd name="T57" fmla="*/ 2147483646 h 696"/>
                  <a:gd name="T58" fmla="*/ 2147483646 w 1080"/>
                  <a:gd name="T59" fmla="*/ 2147483646 h 696"/>
                  <a:gd name="T60" fmla="*/ 2147483646 w 1080"/>
                  <a:gd name="T61" fmla="*/ 2147483646 h 696"/>
                  <a:gd name="T62" fmla="*/ 2147483646 w 1080"/>
                  <a:gd name="T63" fmla="*/ 2147483646 h 696"/>
                  <a:gd name="T64" fmla="*/ 2147483646 w 1080"/>
                  <a:gd name="T65" fmla="*/ 2147483646 h 696"/>
                  <a:gd name="T66" fmla="*/ 2147483646 w 1080"/>
                  <a:gd name="T67" fmla="*/ 2147483646 h 696"/>
                  <a:gd name="T68" fmla="*/ 2147483646 w 1080"/>
                  <a:gd name="T69" fmla="*/ 2147483646 h 696"/>
                  <a:gd name="T70" fmla="*/ 2147483646 w 1080"/>
                  <a:gd name="T71" fmla="*/ 2147483646 h 696"/>
                  <a:gd name="T72" fmla="*/ 2147483646 w 1080"/>
                  <a:gd name="T73" fmla="*/ 2147483646 h 6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0"/>
                  <a:gd name="T112" fmla="*/ 0 h 696"/>
                  <a:gd name="T113" fmla="*/ 1080 w 1080"/>
                  <a:gd name="T114" fmla="*/ 696 h 6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0" h="696">
                    <a:moveTo>
                      <a:pt x="536" y="696"/>
                    </a:moveTo>
                    <a:lnTo>
                      <a:pt x="584" y="624"/>
                    </a:lnTo>
                    <a:lnTo>
                      <a:pt x="544" y="568"/>
                    </a:lnTo>
                    <a:lnTo>
                      <a:pt x="584" y="544"/>
                    </a:lnTo>
                    <a:lnTo>
                      <a:pt x="552" y="512"/>
                    </a:lnTo>
                    <a:lnTo>
                      <a:pt x="600" y="496"/>
                    </a:lnTo>
                    <a:lnTo>
                      <a:pt x="616" y="440"/>
                    </a:lnTo>
                    <a:lnTo>
                      <a:pt x="664" y="424"/>
                    </a:lnTo>
                    <a:lnTo>
                      <a:pt x="792" y="488"/>
                    </a:lnTo>
                    <a:lnTo>
                      <a:pt x="832" y="480"/>
                    </a:lnTo>
                    <a:lnTo>
                      <a:pt x="832" y="432"/>
                    </a:lnTo>
                    <a:lnTo>
                      <a:pt x="864" y="424"/>
                    </a:lnTo>
                    <a:lnTo>
                      <a:pt x="904" y="360"/>
                    </a:lnTo>
                    <a:lnTo>
                      <a:pt x="936" y="416"/>
                    </a:lnTo>
                    <a:lnTo>
                      <a:pt x="984" y="376"/>
                    </a:lnTo>
                    <a:lnTo>
                      <a:pt x="1032" y="376"/>
                    </a:lnTo>
                    <a:lnTo>
                      <a:pt x="1080" y="312"/>
                    </a:lnTo>
                    <a:lnTo>
                      <a:pt x="1048" y="256"/>
                    </a:lnTo>
                    <a:lnTo>
                      <a:pt x="1008" y="248"/>
                    </a:lnTo>
                    <a:lnTo>
                      <a:pt x="1008" y="200"/>
                    </a:lnTo>
                    <a:lnTo>
                      <a:pt x="976" y="192"/>
                    </a:lnTo>
                    <a:lnTo>
                      <a:pt x="912" y="232"/>
                    </a:lnTo>
                    <a:lnTo>
                      <a:pt x="840" y="176"/>
                    </a:lnTo>
                    <a:lnTo>
                      <a:pt x="784" y="192"/>
                    </a:lnTo>
                    <a:lnTo>
                      <a:pt x="752" y="160"/>
                    </a:lnTo>
                    <a:lnTo>
                      <a:pt x="720" y="208"/>
                    </a:lnTo>
                    <a:lnTo>
                      <a:pt x="688" y="208"/>
                    </a:lnTo>
                    <a:lnTo>
                      <a:pt x="672" y="168"/>
                    </a:lnTo>
                    <a:lnTo>
                      <a:pt x="624" y="184"/>
                    </a:lnTo>
                    <a:lnTo>
                      <a:pt x="592" y="120"/>
                    </a:lnTo>
                    <a:lnTo>
                      <a:pt x="568" y="120"/>
                    </a:lnTo>
                    <a:lnTo>
                      <a:pt x="552" y="160"/>
                    </a:lnTo>
                    <a:lnTo>
                      <a:pt x="488" y="168"/>
                    </a:lnTo>
                    <a:lnTo>
                      <a:pt x="464" y="152"/>
                    </a:lnTo>
                    <a:lnTo>
                      <a:pt x="432" y="152"/>
                    </a:lnTo>
                    <a:lnTo>
                      <a:pt x="408" y="104"/>
                    </a:lnTo>
                    <a:lnTo>
                      <a:pt x="352" y="120"/>
                    </a:lnTo>
                    <a:lnTo>
                      <a:pt x="280" y="24"/>
                    </a:lnTo>
                    <a:lnTo>
                      <a:pt x="216" y="8"/>
                    </a:lnTo>
                    <a:lnTo>
                      <a:pt x="192" y="32"/>
                    </a:lnTo>
                    <a:lnTo>
                      <a:pt x="176" y="40"/>
                    </a:lnTo>
                    <a:lnTo>
                      <a:pt x="160" y="32"/>
                    </a:lnTo>
                    <a:lnTo>
                      <a:pt x="144" y="8"/>
                    </a:lnTo>
                    <a:lnTo>
                      <a:pt x="112" y="0"/>
                    </a:lnTo>
                    <a:lnTo>
                      <a:pt x="104" y="24"/>
                    </a:lnTo>
                    <a:lnTo>
                      <a:pt x="72" y="24"/>
                    </a:lnTo>
                    <a:lnTo>
                      <a:pt x="48" y="8"/>
                    </a:lnTo>
                    <a:lnTo>
                      <a:pt x="16" y="24"/>
                    </a:lnTo>
                    <a:lnTo>
                      <a:pt x="0" y="32"/>
                    </a:lnTo>
                    <a:lnTo>
                      <a:pt x="24" y="80"/>
                    </a:lnTo>
                    <a:lnTo>
                      <a:pt x="40" y="128"/>
                    </a:lnTo>
                    <a:lnTo>
                      <a:pt x="72" y="152"/>
                    </a:lnTo>
                    <a:lnTo>
                      <a:pt x="96" y="176"/>
                    </a:lnTo>
                    <a:lnTo>
                      <a:pt x="128" y="192"/>
                    </a:lnTo>
                    <a:lnTo>
                      <a:pt x="160" y="224"/>
                    </a:lnTo>
                    <a:lnTo>
                      <a:pt x="176" y="264"/>
                    </a:lnTo>
                    <a:lnTo>
                      <a:pt x="200" y="304"/>
                    </a:lnTo>
                    <a:lnTo>
                      <a:pt x="224" y="296"/>
                    </a:lnTo>
                    <a:lnTo>
                      <a:pt x="240" y="304"/>
                    </a:lnTo>
                    <a:lnTo>
                      <a:pt x="232" y="360"/>
                    </a:lnTo>
                    <a:lnTo>
                      <a:pt x="216" y="384"/>
                    </a:lnTo>
                    <a:lnTo>
                      <a:pt x="216" y="416"/>
                    </a:lnTo>
                    <a:lnTo>
                      <a:pt x="240" y="440"/>
                    </a:lnTo>
                    <a:lnTo>
                      <a:pt x="232" y="456"/>
                    </a:lnTo>
                    <a:lnTo>
                      <a:pt x="216" y="472"/>
                    </a:lnTo>
                    <a:lnTo>
                      <a:pt x="248" y="488"/>
                    </a:lnTo>
                    <a:lnTo>
                      <a:pt x="280" y="536"/>
                    </a:lnTo>
                    <a:lnTo>
                      <a:pt x="312" y="584"/>
                    </a:lnTo>
                    <a:lnTo>
                      <a:pt x="360" y="608"/>
                    </a:lnTo>
                    <a:lnTo>
                      <a:pt x="384" y="600"/>
                    </a:lnTo>
                    <a:lnTo>
                      <a:pt x="408" y="640"/>
                    </a:lnTo>
                    <a:lnTo>
                      <a:pt x="464" y="672"/>
                    </a:lnTo>
                    <a:lnTo>
                      <a:pt x="512" y="688"/>
                    </a:lnTo>
                    <a:lnTo>
                      <a:pt x="536" y="696"/>
                    </a:lnTo>
                    <a:close/>
                  </a:path>
                </a:pathLst>
              </a:custGeom>
              <a:solidFill>
                <a:srgbClr val="C6B89B"/>
              </a:solidFill>
              <a:ln w="9525">
                <a:solidFill>
                  <a:schemeClr val="bg1"/>
                </a:solidFill>
                <a:round/>
                <a:headEnd/>
                <a:tailEnd/>
              </a:ln>
            </p:spPr>
            <p:txBody>
              <a:bodyPr/>
              <a:lstStyle/>
              <a:p>
                <a:endParaRPr lang="en-US" sz="1050"/>
              </a:p>
            </p:txBody>
          </p:sp>
          <p:sp>
            <p:nvSpPr>
              <p:cNvPr id="141" name="Freeform 140"/>
              <p:cNvSpPr>
                <a:spLocks/>
              </p:cNvSpPr>
              <p:nvPr/>
            </p:nvSpPr>
            <p:spPr bwMode="auto">
              <a:xfrm>
                <a:off x="2553416" y="3658742"/>
                <a:ext cx="1112547" cy="581230"/>
              </a:xfrm>
              <a:custGeom>
                <a:avLst/>
                <a:gdLst>
                  <a:gd name="T0" fmla="*/ 0 w 944"/>
                  <a:gd name="T1" fmla="*/ 2147483646 h 536"/>
                  <a:gd name="T2" fmla="*/ 2147483646 w 944"/>
                  <a:gd name="T3" fmla="*/ 2147483646 h 536"/>
                  <a:gd name="T4" fmla="*/ 2147483646 w 944"/>
                  <a:gd name="T5" fmla="*/ 2147483646 h 536"/>
                  <a:gd name="T6" fmla="*/ 2147483646 w 944"/>
                  <a:gd name="T7" fmla="*/ 2147483646 h 536"/>
                  <a:gd name="T8" fmla="*/ 2147483646 w 944"/>
                  <a:gd name="T9" fmla="*/ 2147483646 h 536"/>
                  <a:gd name="T10" fmla="*/ 2147483646 w 944"/>
                  <a:gd name="T11" fmla="*/ 2147483646 h 536"/>
                  <a:gd name="T12" fmla="*/ 2147483646 w 944"/>
                  <a:gd name="T13" fmla="*/ 2147483646 h 536"/>
                  <a:gd name="T14" fmla="*/ 2147483646 w 944"/>
                  <a:gd name="T15" fmla="*/ 2147483646 h 536"/>
                  <a:gd name="T16" fmla="*/ 2147483646 w 944"/>
                  <a:gd name="T17" fmla="*/ 2147483646 h 536"/>
                  <a:gd name="T18" fmla="*/ 2147483646 w 944"/>
                  <a:gd name="T19" fmla="*/ 2147483646 h 536"/>
                  <a:gd name="T20" fmla="*/ 2147483646 w 944"/>
                  <a:gd name="T21" fmla="*/ 2147483646 h 536"/>
                  <a:gd name="T22" fmla="*/ 2147483646 w 944"/>
                  <a:gd name="T23" fmla="*/ 2147483646 h 536"/>
                  <a:gd name="T24" fmla="*/ 2147483646 w 944"/>
                  <a:gd name="T25" fmla="*/ 2147483646 h 536"/>
                  <a:gd name="T26" fmla="*/ 2147483646 w 944"/>
                  <a:gd name="T27" fmla="*/ 2147483646 h 536"/>
                  <a:gd name="T28" fmla="*/ 2147483646 w 944"/>
                  <a:gd name="T29" fmla="*/ 2147483646 h 536"/>
                  <a:gd name="T30" fmla="*/ 2147483646 w 944"/>
                  <a:gd name="T31" fmla="*/ 2147483646 h 536"/>
                  <a:gd name="T32" fmla="*/ 2147483646 w 944"/>
                  <a:gd name="T33" fmla="*/ 2147483646 h 536"/>
                  <a:gd name="T34" fmla="*/ 2147483646 w 944"/>
                  <a:gd name="T35" fmla="*/ 2147483646 h 536"/>
                  <a:gd name="T36" fmla="*/ 2147483646 w 944"/>
                  <a:gd name="T37" fmla="*/ 2147483646 h 536"/>
                  <a:gd name="T38" fmla="*/ 2147483646 w 944"/>
                  <a:gd name="T39" fmla="*/ 2147483646 h 536"/>
                  <a:gd name="T40" fmla="*/ 2147483646 w 944"/>
                  <a:gd name="T41" fmla="*/ 2147483646 h 536"/>
                  <a:gd name="T42" fmla="*/ 2147483646 w 944"/>
                  <a:gd name="T43" fmla="*/ 2147483646 h 536"/>
                  <a:gd name="T44" fmla="*/ 2147483646 w 944"/>
                  <a:gd name="T45" fmla="*/ 2147483646 h 536"/>
                  <a:gd name="T46" fmla="*/ 2147483646 w 944"/>
                  <a:gd name="T47" fmla="*/ 2147483646 h 536"/>
                  <a:gd name="T48" fmla="*/ 2147483646 w 944"/>
                  <a:gd name="T49" fmla="*/ 2147483646 h 536"/>
                  <a:gd name="T50" fmla="*/ 2147483646 w 944"/>
                  <a:gd name="T51" fmla="*/ 2147483646 h 536"/>
                  <a:gd name="T52" fmla="*/ 2147483646 w 944"/>
                  <a:gd name="T53" fmla="*/ 2147483646 h 536"/>
                  <a:gd name="T54" fmla="*/ 2147483646 w 944"/>
                  <a:gd name="T55" fmla="*/ 2147483646 h 536"/>
                  <a:gd name="T56" fmla="*/ 2147483646 w 944"/>
                  <a:gd name="T57" fmla="*/ 2147483646 h 536"/>
                  <a:gd name="T58" fmla="*/ 2147483646 w 944"/>
                  <a:gd name="T59" fmla="*/ 2147483646 h 536"/>
                  <a:gd name="T60" fmla="*/ 2147483646 w 944"/>
                  <a:gd name="T61" fmla="*/ 2147483646 h 536"/>
                  <a:gd name="T62" fmla="*/ 2147483646 w 944"/>
                  <a:gd name="T63" fmla="*/ 2147483646 h 536"/>
                  <a:gd name="T64" fmla="*/ 2147483646 w 944"/>
                  <a:gd name="T65" fmla="*/ 2147483646 h 536"/>
                  <a:gd name="T66" fmla="*/ 2147483646 w 944"/>
                  <a:gd name="T67" fmla="*/ 2147483646 h 536"/>
                  <a:gd name="T68" fmla="*/ 2147483646 w 944"/>
                  <a:gd name="T69" fmla="*/ 2147483646 h 536"/>
                  <a:gd name="T70" fmla="*/ 2147483646 w 944"/>
                  <a:gd name="T71" fmla="*/ 2147483646 h 536"/>
                  <a:gd name="T72" fmla="*/ 2147483646 w 944"/>
                  <a:gd name="T73" fmla="*/ 0 h 536"/>
                  <a:gd name="T74" fmla="*/ 2147483646 w 944"/>
                  <a:gd name="T75" fmla="*/ 0 h 536"/>
                  <a:gd name="T76" fmla="*/ 2147483646 w 944"/>
                  <a:gd name="T77" fmla="*/ 2147483646 h 536"/>
                  <a:gd name="T78" fmla="*/ 2147483646 w 944"/>
                  <a:gd name="T79" fmla="*/ 2147483646 h 536"/>
                  <a:gd name="T80" fmla="*/ 2147483646 w 944"/>
                  <a:gd name="T81" fmla="*/ 2147483646 h 536"/>
                  <a:gd name="T82" fmla="*/ 2147483646 w 944"/>
                  <a:gd name="T83" fmla="*/ 2147483646 h 536"/>
                  <a:gd name="T84" fmla="*/ 2147483646 w 944"/>
                  <a:gd name="T85" fmla="*/ 2147483646 h 536"/>
                  <a:gd name="T86" fmla="*/ 2147483646 w 944"/>
                  <a:gd name="T87" fmla="*/ 2147483646 h 536"/>
                  <a:gd name="T88" fmla="*/ 2147483646 w 944"/>
                  <a:gd name="T89" fmla="*/ 2147483646 h 536"/>
                  <a:gd name="T90" fmla="*/ 2147483646 w 944"/>
                  <a:gd name="T91" fmla="*/ 2147483646 h 536"/>
                  <a:gd name="T92" fmla="*/ 2147483646 w 944"/>
                  <a:gd name="T93" fmla="*/ 2147483646 h 536"/>
                  <a:gd name="T94" fmla="*/ 2147483646 w 944"/>
                  <a:gd name="T95" fmla="*/ 2147483646 h 536"/>
                  <a:gd name="T96" fmla="*/ 2147483646 w 944"/>
                  <a:gd name="T97" fmla="*/ 2147483646 h 536"/>
                  <a:gd name="T98" fmla="*/ 2147483646 w 944"/>
                  <a:gd name="T99" fmla="*/ 2147483646 h 536"/>
                  <a:gd name="T100" fmla="*/ 2147483646 w 944"/>
                  <a:gd name="T101" fmla="*/ 2147483646 h 536"/>
                  <a:gd name="T102" fmla="*/ 2147483646 w 944"/>
                  <a:gd name="T103" fmla="*/ 2147483646 h 536"/>
                  <a:gd name="T104" fmla="*/ 2147483646 w 944"/>
                  <a:gd name="T105" fmla="*/ 2147483646 h 536"/>
                  <a:gd name="T106" fmla="*/ 2147483646 w 944"/>
                  <a:gd name="T107" fmla="*/ 2147483646 h 536"/>
                  <a:gd name="T108" fmla="*/ 2147483646 w 944"/>
                  <a:gd name="T109" fmla="*/ 2147483646 h 536"/>
                  <a:gd name="T110" fmla="*/ 2147483646 w 944"/>
                  <a:gd name="T111" fmla="*/ 2147483646 h 536"/>
                  <a:gd name="T112" fmla="*/ 2147483646 w 944"/>
                  <a:gd name="T113" fmla="*/ 2147483646 h 536"/>
                  <a:gd name="T114" fmla="*/ 2147483646 w 944"/>
                  <a:gd name="T115" fmla="*/ 2147483646 h 536"/>
                  <a:gd name="T116" fmla="*/ 2147483646 w 944"/>
                  <a:gd name="T117" fmla="*/ 2147483646 h 536"/>
                  <a:gd name="T118" fmla="*/ 0 w 944"/>
                  <a:gd name="T119" fmla="*/ 2147483646 h 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4"/>
                  <a:gd name="T181" fmla="*/ 0 h 536"/>
                  <a:gd name="T182" fmla="*/ 944 w 944"/>
                  <a:gd name="T183" fmla="*/ 536 h 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4" h="536">
                    <a:moveTo>
                      <a:pt x="0" y="312"/>
                    </a:moveTo>
                    <a:lnTo>
                      <a:pt x="64" y="328"/>
                    </a:lnTo>
                    <a:lnTo>
                      <a:pt x="136" y="424"/>
                    </a:lnTo>
                    <a:lnTo>
                      <a:pt x="192" y="408"/>
                    </a:lnTo>
                    <a:lnTo>
                      <a:pt x="216" y="456"/>
                    </a:lnTo>
                    <a:lnTo>
                      <a:pt x="248" y="456"/>
                    </a:lnTo>
                    <a:lnTo>
                      <a:pt x="272" y="472"/>
                    </a:lnTo>
                    <a:lnTo>
                      <a:pt x="336" y="464"/>
                    </a:lnTo>
                    <a:lnTo>
                      <a:pt x="352" y="424"/>
                    </a:lnTo>
                    <a:lnTo>
                      <a:pt x="376" y="424"/>
                    </a:lnTo>
                    <a:lnTo>
                      <a:pt x="408" y="488"/>
                    </a:lnTo>
                    <a:lnTo>
                      <a:pt x="456" y="472"/>
                    </a:lnTo>
                    <a:lnTo>
                      <a:pt x="472" y="512"/>
                    </a:lnTo>
                    <a:lnTo>
                      <a:pt x="504" y="512"/>
                    </a:lnTo>
                    <a:lnTo>
                      <a:pt x="536" y="464"/>
                    </a:lnTo>
                    <a:lnTo>
                      <a:pt x="568" y="496"/>
                    </a:lnTo>
                    <a:lnTo>
                      <a:pt x="624" y="480"/>
                    </a:lnTo>
                    <a:lnTo>
                      <a:pt x="696" y="536"/>
                    </a:lnTo>
                    <a:lnTo>
                      <a:pt x="760" y="496"/>
                    </a:lnTo>
                    <a:lnTo>
                      <a:pt x="776" y="464"/>
                    </a:lnTo>
                    <a:lnTo>
                      <a:pt x="808" y="448"/>
                    </a:lnTo>
                    <a:lnTo>
                      <a:pt x="808" y="424"/>
                    </a:lnTo>
                    <a:lnTo>
                      <a:pt x="848" y="400"/>
                    </a:lnTo>
                    <a:lnTo>
                      <a:pt x="856" y="328"/>
                    </a:lnTo>
                    <a:lnTo>
                      <a:pt x="904" y="328"/>
                    </a:lnTo>
                    <a:lnTo>
                      <a:pt x="944" y="224"/>
                    </a:lnTo>
                    <a:lnTo>
                      <a:pt x="896" y="200"/>
                    </a:lnTo>
                    <a:lnTo>
                      <a:pt x="832" y="200"/>
                    </a:lnTo>
                    <a:lnTo>
                      <a:pt x="768" y="128"/>
                    </a:lnTo>
                    <a:lnTo>
                      <a:pt x="728" y="120"/>
                    </a:lnTo>
                    <a:lnTo>
                      <a:pt x="720" y="80"/>
                    </a:lnTo>
                    <a:lnTo>
                      <a:pt x="632" y="40"/>
                    </a:lnTo>
                    <a:lnTo>
                      <a:pt x="608" y="48"/>
                    </a:lnTo>
                    <a:lnTo>
                      <a:pt x="568" y="8"/>
                    </a:lnTo>
                    <a:lnTo>
                      <a:pt x="456" y="24"/>
                    </a:lnTo>
                    <a:lnTo>
                      <a:pt x="424" y="40"/>
                    </a:lnTo>
                    <a:lnTo>
                      <a:pt x="368" y="0"/>
                    </a:lnTo>
                    <a:lnTo>
                      <a:pt x="352" y="0"/>
                    </a:lnTo>
                    <a:lnTo>
                      <a:pt x="344" y="32"/>
                    </a:lnTo>
                    <a:lnTo>
                      <a:pt x="320" y="48"/>
                    </a:lnTo>
                    <a:lnTo>
                      <a:pt x="288" y="40"/>
                    </a:lnTo>
                    <a:lnTo>
                      <a:pt x="272" y="72"/>
                    </a:lnTo>
                    <a:lnTo>
                      <a:pt x="272" y="96"/>
                    </a:lnTo>
                    <a:lnTo>
                      <a:pt x="256" y="112"/>
                    </a:lnTo>
                    <a:lnTo>
                      <a:pt x="280" y="160"/>
                    </a:lnTo>
                    <a:lnTo>
                      <a:pt x="264" y="176"/>
                    </a:lnTo>
                    <a:lnTo>
                      <a:pt x="224" y="176"/>
                    </a:lnTo>
                    <a:lnTo>
                      <a:pt x="216" y="224"/>
                    </a:lnTo>
                    <a:lnTo>
                      <a:pt x="208" y="256"/>
                    </a:lnTo>
                    <a:lnTo>
                      <a:pt x="192" y="256"/>
                    </a:lnTo>
                    <a:lnTo>
                      <a:pt x="160" y="288"/>
                    </a:lnTo>
                    <a:lnTo>
                      <a:pt x="136" y="264"/>
                    </a:lnTo>
                    <a:lnTo>
                      <a:pt x="120" y="264"/>
                    </a:lnTo>
                    <a:lnTo>
                      <a:pt x="104" y="256"/>
                    </a:lnTo>
                    <a:lnTo>
                      <a:pt x="88" y="264"/>
                    </a:lnTo>
                    <a:lnTo>
                      <a:pt x="64" y="248"/>
                    </a:lnTo>
                    <a:lnTo>
                      <a:pt x="32" y="264"/>
                    </a:lnTo>
                    <a:lnTo>
                      <a:pt x="16" y="272"/>
                    </a:lnTo>
                    <a:lnTo>
                      <a:pt x="16" y="296"/>
                    </a:lnTo>
                    <a:lnTo>
                      <a:pt x="0" y="312"/>
                    </a:lnTo>
                    <a:close/>
                  </a:path>
                </a:pathLst>
              </a:custGeom>
              <a:solidFill>
                <a:srgbClr val="C6B89B"/>
              </a:solidFill>
              <a:ln w="9525">
                <a:solidFill>
                  <a:schemeClr val="bg1"/>
                </a:solidFill>
                <a:round/>
                <a:headEnd/>
                <a:tailEnd/>
              </a:ln>
            </p:spPr>
            <p:txBody>
              <a:bodyPr/>
              <a:lstStyle/>
              <a:p>
                <a:endParaRPr lang="en-US" sz="1050"/>
              </a:p>
            </p:txBody>
          </p:sp>
          <p:sp>
            <p:nvSpPr>
              <p:cNvPr id="142" name="Freeform 141"/>
              <p:cNvSpPr>
                <a:spLocks/>
              </p:cNvSpPr>
              <p:nvPr/>
            </p:nvSpPr>
            <p:spPr bwMode="auto">
              <a:xfrm>
                <a:off x="2987119" y="2999436"/>
                <a:ext cx="763697" cy="902208"/>
              </a:xfrm>
              <a:custGeom>
                <a:avLst/>
                <a:gdLst>
                  <a:gd name="T0" fmla="*/ 2147483646 w 648"/>
                  <a:gd name="T1" fmla="*/ 2147483646 h 832"/>
                  <a:gd name="T2" fmla="*/ 2147483646 w 648"/>
                  <a:gd name="T3" fmla="*/ 2147483646 h 832"/>
                  <a:gd name="T4" fmla="*/ 2147483646 w 648"/>
                  <a:gd name="T5" fmla="*/ 2147483646 h 832"/>
                  <a:gd name="T6" fmla="*/ 2147483646 w 648"/>
                  <a:gd name="T7" fmla="*/ 2147483646 h 832"/>
                  <a:gd name="T8" fmla="*/ 2147483646 w 648"/>
                  <a:gd name="T9" fmla="*/ 2147483646 h 832"/>
                  <a:gd name="T10" fmla="*/ 2147483646 w 648"/>
                  <a:gd name="T11" fmla="*/ 2147483646 h 832"/>
                  <a:gd name="T12" fmla="*/ 2147483646 w 648"/>
                  <a:gd name="T13" fmla="*/ 2147483646 h 832"/>
                  <a:gd name="T14" fmla="*/ 2147483646 w 648"/>
                  <a:gd name="T15" fmla="*/ 2147483646 h 832"/>
                  <a:gd name="T16" fmla="*/ 2147483646 w 648"/>
                  <a:gd name="T17" fmla="*/ 2147483646 h 832"/>
                  <a:gd name="T18" fmla="*/ 2147483646 w 648"/>
                  <a:gd name="T19" fmla="*/ 2147483646 h 832"/>
                  <a:gd name="T20" fmla="*/ 2147483646 w 648"/>
                  <a:gd name="T21" fmla="*/ 2147483646 h 832"/>
                  <a:gd name="T22" fmla="*/ 2147483646 w 648"/>
                  <a:gd name="T23" fmla="*/ 2147483646 h 832"/>
                  <a:gd name="T24" fmla="*/ 2147483646 w 648"/>
                  <a:gd name="T25" fmla="*/ 2147483646 h 832"/>
                  <a:gd name="T26" fmla="*/ 2147483646 w 648"/>
                  <a:gd name="T27" fmla="*/ 2147483646 h 832"/>
                  <a:gd name="T28" fmla="*/ 2147483646 w 648"/>
                  <a:gd name="T29" fmla="*/ 2147483646 h 832"/>
                  <a:gd name="T30" fmla="*/ 2147483646 w 648"/>
                  <a:gd name="T31" fmla="*/ 2147483646 h 832"/>
                  <a:gd name="T32" fmla="*/ 2147483646 w 648"/>
                  <a:gd name="T33" fmla="*/ 2147483646 h 832"/>
                  <a:gd name="T34" fmla="*/ 2147483646 w 648"/>
                  <a:gd name="T35" fmla="*/ 2147483646 h 832"/>
                  <a:gd name="T36" fmla="*/ 2147483646 w 648"/>
                  <a:gd name="T37" fmla="*/ 2147483646 h 832"/>
                  <a:gd name="T38" fmla="*/ 2147483646 w 648"/>
                  <a:gd name="T39" fmla="*/ 2147483646 h 832"/>
                  <a:gd name="T40" fmla="*/ 2147483646 w 648"/>
                  <a:gd name="T41" fmla="*/ 2147483646 h 832"/>
                  <a:gd name="T42" fmla="*/ 2147483646 w 648"/>
                  <a:gd name="T43" fmla="*/ 2147483646 h 832"/>
                  <a:gd name="T44" fmla="*/ 2147483646 w 648"/>
                  <a:gd name="T45" fmla="*/ 2147483646 h 832"/>
                  <a:gd name="T46" fmla="*/ 2147483646 w 648"/>
                  <a:gd name="T47" fmla="*/ 2147483646 h 832"/>
                  <a:gd name="T48" fmla="*/ 2147483646 w 648"/>
                  <a:gd name="T49" fmla="*/ 2147483646 h 832"/>
                  <a:gd name="T50" fmla="*/ 2147483646 w 648"/>
                  <a:gd name="T51" fmla="*/ 2147483646 h 832"/>
                  <a:gd name="T52" fmla="*/ 2147483646 w 648"/>
                  <a:gd name="T53" fmla="*/ 2147483646 h 832"/>
                  <a:gd name="T54" fmla="*/ 2147483646 w 648"/>
                  <a:gd name="T55" fmla="*/ 2147483646 h 832"/>
                  <a:gd name="T56" fmla="*/ 2147483646 w 648"/>
                  <a:gd name="T57" fmla="*/ 2147483646 h 832"/>
                  <a:gd name="T58" fmla="*/ 2147483646 w 648"/>
                  <a:gd name="T59" fmla="*/ 2147483646 h 832"/>
                  <a:gd name="T60" fmla="*/ 2147483646 w 648"/>
                  <a:gd name="T61" fmla="*/ 2147483646 h 832"/>
                  <a:gd name="T62" fmla="*/ 2147483646 w 648"/>
                  <a:gd name="T63" fmla="*/ 2147483646 h 832"/>
                  <a:gd name="T64" fmla="*/ 2147483646 w 648"/>
                  <a:gd name="T65" fmla="*/ 2147483646 h 8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832"/>
                  <a:gd name="T101" fmla="*/ 648 w 648"/>
                  <a:gd name="T102" fmla="*/ 832 h 8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832">
                    <a:moveTo>
                      <a:pt x="0" y="608"/>
                    </a:moveTo>
                    <a:lnTo>
                      <a:pt x="56" y="648"/>
                    </a:lnTo>
                    <a:lnTo>
                      <a:pt x="88" y="632"/>
                    </a:lnTo>
                    <a:lnTo>
                      <a:pt x="200" y="616"/>
                    </a:lnTo>
                    <a:lnTo>
                      <a:pt x="240" y="656"/>
                    </a:lnTo>
                    <a:lnTo>
                      <a:pt x="264" y="648"/>
                    </a:lnTo>
                    <a:lnTo>
                      <a:pt x="352" y="688"/>
                    </a:lnTo>
                    <a:lnTo>
                      <a:pt x="360" y="728"/>
                    </a:lnTo>
                    <a:lnTo>
                      <a:pt x="400" y="736"/>
                    </a:lnTo>
                    <a:lnTo>
                      <a:pt x="464" y="808"/>
                    </a:lnTo>
                    <a:lnTo>
                      <a:pt x="528" y="808"/>
                    </a:lnTo>
                    <a:lnTo>
                      <a:pt x="576" y="832"/>
                    </a:lnTo>
                    <a:lnTo>
                      <a:pt x="592" y="784"/>
                    </a:lnTo>
                    <a:lnTo>
                      <a:pt x="560" y="712"/>
                    </a:lnTo>
                    <a:lnTo>
                      <a:pt x="592" y="672"/>
                    </a:lnTo>
                    <a:lnTo>
                      <a:pt x="632" y="656"/>
                    </a:lnTo>
                    <a:lnTo>
                      <a:pt x="624" y="608"/>
                    </a:lnTo>
                    <a:lnTo>
                      <a:pt x="560" y="544"/>
                    </a:lnTo>
                    <a:lnTo>
                      <a:pt x="616" y="536"/>
                    </a:lnTo>
                    <a:lnTo>
                      <a:pt x="648" y="472"/>
                    </a:lnTo>
                    <a:lnTo>
                      <a:pt x="616" y="448"/>
                    </a:lnTo>
                    <a:lnTo>
                      <a:pt x="640" y="408"/>
                    </a:lnTo>
                    <a:lnTo>
                      <a:pt x="632" y="376"/>
                    </a:lnTo>
                    <a:lnTo>
                      <a:pt x="592" y="368"/>
                    </a:lnTo>
                    <a:lnTo>
                      <a:pt x="552" y="312"/>
                    </a:lnTo>
                    <a:lnTo>
                      <a:pt x="528" y="312"/>
                    </a:lnTo>
                    <a:lnTo>
                      <a:pt x="512" y="280"/>
                    </a:lnTo>
                    <a:lnTo>
                      <a:pt x="568" y="248"/>
                    </a:lnTo>
                    <a:lnTo>
                      <a:pt x="568" y="216"/>
                    </a:lnTo>
                    <a:lnTo>
                      <a:pt x="600" y="208"/>
                    </a:lnTo>
                    <a:lnTo>
                      <a:pt x="592" y="168"/>
                    </a:lnTo>
                    <a:lnTo>
                      <a:pt x="552" y="128"/>
                    </a:lnTo>
                    <a:lnTo>
                      <a:pt x="496" y="136"/>
                    </a:lnTo>
                    <a:lnTo>
                      <a:pt x="464" y="96"/>
                    </a:lnTo>
                    <a:lnTo>
                      <a:pt x="424" y="96"/>
                    </a:lnTo>
                    <a:lnTo>
                      <a:pt x="432" y="40"/>
                    </a:lnTo>
                    <a:lnTo>
                      <a:pt x="352" y="0"/>
                    </a:lnTo>
                    <a:lnTo>
                      <a:pt x="320" y="24"/>
                    </a:lnTo>
                    <a:lnTo>
                      <a:pt x="264" y="40"/>
                    </a:lnTo>
                    <a:lnTo>
                      <a:pt x="256" y="72"/>
                    </a:lnTo>
                    <a:lnTo>
                      <a:pt x="272" y="120"/>
                    </a:lnTo>
                    <a:lnTo>
                      <a:pt x="264" y="152"/>
                    </a:lnTo>
                    <a:lnTo>
                      <a:pt x="240" y="168"/>
                    </a:lnTo>
                    <a:lnTo>
                      <a:pt x="216" y="168"/>
                    </a:lnTo>
                    <a:lnTo>
                      <a:pt x="208" y="184"/>
                    </a:lnTo>
                    <a:lnTo>
                      <a:pt x="200" y="200"/>
                    </a:lnTo>
                    <a:lnTo>
                      <a:pt x="192" y="208"/>
                    </a:lnTo>
                    <a:lnTo>
                      <a:pt x="192" y="232"/>
                    </a:lnTo>
                    <a:lnTo>
                      <a:pt x="184" y="240"/>
                    </a:lnTo>
                    <a:lnTo>
                      <a:pt x="184" y="264"/>
                    </a:lnTo>
                    <a:lnTo>
                      <a:pt x="168" y="296"/>
                    </a:lnTo>
                    <a:lnTo>
                      <a:pt x="152" y="312"/>
                    </a:lnTo>
                    <a:lnTo>
                      <a:pt x="128" y="328"/>
                    </a:lnTo>
                    <a:lnTo>
                      <a:pt x="112" y="344"/>
                    </a:lnTo>
                    <a:lnTo>
                      <a:pt x="96" y="360"/>
                    </a:lnTo>
                    <a:lnTo>
                      <a:pt x="88" y="376"/>
                    </a:lnTo>
                    <a:lnTo>
                      <a:pt x="104" y="400"/>
                    </a:lnTo>
                    <a:lnTo>
                      <a:pt x="96" y="424"/>
                    </a:lnTo>
                    <a:lnTo>
                      <a:pt x="80" y="448"/>
                    </a:lnTo>
                    <a:lnTo>
                      <a:pt x="56" y="448"/>
                    </a:lnTo>
                    <a:lnTo>
                      <a:pt x="72" y="480"/>
                    </a:lnTo>
                    <a:lnTo>
                      <a:pt x="40" y="504"/>
                    </a:lnTo>
                    <a:lnTo>
                      <a:pt x="24" y="520"/>
                    </a:lnTo>
                    <a:lnTo>
                      <a:pt x="8" y="544"/>
                    </a:lnTo>
                    <a:lnTo>
                      <a:pt x="0" y="568"/>
                    </a:lnTo>
                    <a:lnTo>
                      <a:pt x="32" y="576"/>
                    </a:lnTo>
                    <a:lnTo>
                      <a:pt x="0" y="608"/>
                    </a:lnTo>
                    <a:close/>
                  </a:path>
                </a:pathLst>
              </a:custGeom>
              <a:solidFill>
                <a:srgbClr val="4670F8"/>
              </a:solidFill>
              <a:ln w="9525">
                <a:solidFill>
                  <a:schemeClr val="bg1"/>
                </a:solidFill>
                <a:round/>
                <a:headEnd/>
                <a:tailEnd/>
              </a:ln>
            </p:spPr>
            <p:txBody>
              <a:bodyPr/>
              <a:lstStyle/>
              <a:p>
                <a:endParaRPr lang="en-US" sz="1050"/>
              </a:p>
            </p:txBody>
          </p:sp>
          <p:sp>
            <p:nvSpPr>
              <p:cNvPr id="143" name="Freeform 142"/>
              <p:cNvSpPr>
                <a:spLocks/>
              </p:cNvSpPr>
              <p:nvPr/>
            </p:nvSpPr>
            <p:spPr bwMode="auto">
              <a:xfrm>
                <a:off x="3401967" y="2652433"/>
                <a:ext cx="791982" cy="572555"/>
              </a:xfrm>
              <a:custGeom>
                <a:avLst/>
                <a:gdLst>
                  <a:gd name="T0" fmla="*/ 0 w 672"/>
                  <a:gd name="T1" fmla="*/ 2147483646 h 528"/>
                  <a:gd name="T2" fmla="*/ 2147483646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2147483646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0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2147483646 w 672"/>
                  <a:gd name="T79" fmla="*/ 2147483646 h 528"/>
                  <a:gd name="T80" fmla="*/ 2147483646 w 672"/>
                  <a:gd name="T81" fmla="*/ 2147483646 h 528"/>
                  <a:gd name="T82" fmla="*/ 2147483646 w 672"/>
                  <a:gd name="T83" fmla="*/ 2147483646 h 528"/>
                  <a:gd name="T84" fmla="*/ 2147483646 w 672"/>
                  <a:gd name="T85" fmla="*/ 2147483646 h 528"/>
                  <a:gd name="T86" fmla="*/ 2147483646 w 672"/>
                  <a:gd name="T87" fmla="*/ 2147483646 h 528"/>
                  <a:gd name="T88" fmla="*/ 2147483646 w 672"/>
                  <a:gd name="T89" fmla="*/ 2147483646 h 528"/>
                  <a:gd name="T90" fmla="*/ 2147483646 w 672"/>
                  <a:gd name="T91" fmla="*/ 2147483646 h 528"/>
                  <a:gd name="T92" fmla="*/ 2147483646 w 672"/>
                  <a:gd name="T93" fmla="*/ 2147483646 h 528"/>
                  <a:gd name="T94" fmla="*/ 2147483646 w 672"/>
                  <a:gd name="T95" fmla="*/ 2147483646 h 528"/>
                  <a:gd name="T96" fmla="*/ 2147483646 w 672"/>
                  <a:gd name="T97" fmla="*/ 2147483646 h 528"/>
                  <a:gd name="T98" fmla="*/ 2147483646 w 672"/>
                  <a:gd name="T99" fmla="*/ 2147483646 h 528"/>
                  <a:gd name="T100" fmla="*/ 2147483646 w 672"/>
                  <a:gd name="T101" fmla="*/ 2147483646 h 528"/>
                  <a:gd name="T102" fmla="*/ 2147483646 w 672"/>
                  <a:gd name="T103" fmla="*/ 2147483646 h 528"/>
                  <a:gd name="T104" fmla="*/ 0 w 672"/>
                  <a:gd name="T105" fmla="*/ 2147483646 h 5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28"/>
                  <a:gd name="T161" fmla="*/ 672 w 672"/>
                  <a:gd name="T162" fmla="*/ 528 h 5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28">
                    <a:moveTo>
                      <a:pt x="0" y="320"/>
                    </a:moveTo>
                    <a:lnTo>
                      <a:pt x="80" y="360"/>
                    </a:lnTo>
                    <a:lnTo>
                      <a:pt x="72" y="416"/>
                    </a:lnTo>
                    <a:lnTo>
                      <a:pt x="112" y="416"/>
                    </a:lnTo>
                    <a:lnTo>
                      <a:pt x="144" y="456"/>
                    </a:lnTo>
                    <a:lnTo>
                      <a:pt x="200" y="448"/>
                    </a:lnTo>
                    <a:lnTo>
                      <a:pt x="240" y="488"/>
                    </a:lnTo>
                    <a:lnTo>
                      <a:pt x="336" y="456"/>
                    </a:lnTo>
                    <a:lnTo>
                      <a:pt x="320" y="488"/>
                    </a:lnTo>
                    <a:lnTo>
                      <a:pt x="352" y="488"/>
                    </a:lnTo>
                    <a:lnTo>
                      <a:pt x="408" y="528"/>
                    </a:lnTo>
                    <a:lnTo>
                      <a:pt x="440" y="488"/>
                    </a:lnTo>
                    <a:lnTo>
                      <a:pt x="440" y="480"/>
                    </a:lnTo>
                    <a:lnTo>
                      <a:pt x="376" y="480"/>
                    </a:lnTo>
                    <a:lnTo>
                      <a:pt x="376" y="440"/>
                    </a:lnTo>
                    <a:lnTo>
                      <a:pt x="408" y="432"/>
                    </a:lnTo>
                    <a:lnTo>
                      <a:pt x="400" y="384"/>
                    </a:lnTo>
                    <a:lnTo>
                      <a:pt x="448" y="336"/>
                    </a:lnTo>
                    <a:lnTo>
                      <a:pt x="512" y="368"/>
                    </a:lnTo>
                    <a:lnTo>
                      <a:pt x="520" y="304"/>
                    </a:lnTo>
                    <a:lnTo>
                      <a:pt x="544" y="264"/>
                    </a:lnTo>
                    <a:lnTo>
                      <a:pt x="472" y="256"/>
                    </a:lnTo>
                    <a:lnTo>
                      <a:pt x="480" y="224"/>
                    </a:lnTo>
                    <a:lnTo>
                      <a:pt x="632" y="200"/>
                    </a:lnTo>
                    <a:lnTo>
                      <a:pt x="672" y="128"/>
                    </a:lnTo>
                    <a:lnTo>
                      <a:pt x="624" y="112"/>
                    </a:lnTo>
                    <a:lnTo>
                      <a:pt x="624" y="72"/>
                    </a:lnTo>
                    <a:lnTo>
                      <a:pt x="592" y="96"/>
                    </a:lnTo>
                    <a:lnTo>
                      <a:pt x="568" y="80"/>
                    </a:lnTo>
                    <a:lnTo>
                      <a:pt x="536" y="80"/>
                    </a:lnTo>
                    <a:lnTo>
                      <a:pt x="520" y="56"/>
                    </a:lnTo>
                    <a:lnTo>
                      <a:pt x="488" y="16"/>
                    </a:lnTo>
                    <a:lnTo>
                      <a:pt x="464" y="16"/>
                    </a:lnTo>
                    <a:lnTo>
                      <a:pt x="448" y="0"/>
                    </a:lnTo>
                    <a:lnTo>
                      <a:pt x="424" y="24"/>
                    </a:lnTo>
                    <a:lnTo>
                      <a:pt x="416" y="56"/>
                    </a:lnTo>
                    <a:lnTo>
                      <a:pt x="384" y="88"/>
                    </a:lnTo>
                    <a:lnTo>
                      <a:pt x="352" y="64"/>
                    </a:lnTo>
                    <a:lnTo>
                      <a:pt x="344" y="96"/>
                    </a:lnTo>
                    <a:lnTo>
                      <a:pt x="320" y="96"/>
                    </a:lnTo>
                    <a:lnTo>
                      <a:pt x="304" y="136"/>
                    </a:lnTo>
                    <a:lnTo>
                      <a:pt x="256" y="152"/>
                    </a:lnTo>
                    <a:lnTo>
                      <a:pt x="280" y="184"/>
                    </a:lnTo>
                    <a:lnTo>
                      <a:pt x="240" y="184"/>
                    </a:lnTo>
                    <a:lnTo>
                      <a:pt x="216" y="216"/>
                    </a:lnTo>
                    <a:lnTo>
                      <a:pt x="168" y="224"/>
                    </a:lnTo>
                    <a:lnTo>
                      <a:pt x="136" y="200"/>
                    </a:lnTo>
                    <a:lnTo>
                      <a:pt x="112" y="200"/>
                    </a:lnTo>
                    <a:lnTo>
                      <a:pt x="104" y="232"/>
                    </a:lnTo>
                    <a:lnTo>
                      <a:pt x="80" y="248"/>
                    </a:lnTo>
                    <a:lnTo>
                      <a:pt x="56" y="232"/>
                    </a:lnTo>
                    <a:lnTo>
                      <a:pt x="24" y="264"/>
                    </a:lnTo>
                    <a:lnTo>
                      <a:pt x="0" y="320"/>
                    </a:lnTo>
                    <a:close/>
                  </a:path>
                </a:pathLst>
              </a:custGeom>
              <a:solidFill>
                <a:srgbClr val="C6CFEB"/>
              </a:solidFill>
              <a:ln w="9525">
                <a:solidFill>
                  <a:schemeClr val="bg1"/>
                </a:solidFill>
                <a:round/>
                <a:headEnd/>
                <a:tailEnd/>
              </a:ln>
            </p:spPr>
            <p:txBody>
              <a:bodyPr/>
              <a:lstStyle/>
              <a:p>
                <a:endParaRPr lang="en-US" sz="1050"/>
              </a:p>
            </p:txBody>
          </p:sp>
          <p:sp>
            <p:nvSpPr>
              <p:cNvPr id="144" name="Freeform 143"/>
              <p:cNvSpPr>
                <a:spLocks/>
              </p:cNvSpPr>
              <p:nvPr/>
            </p:nvSpPr>
            <p:spPr bwMode="auto">
              <a:xfrm>
                <a:off x="5155642" y="4526249"/>
                <a:ext cx="641128" cy="589905"/>
              </a:xfrm>
              <a:custGeom>
                <a:avLst/>
                <a:gdLst>
                  <a:gd name="T0" fmla="*/ 2147483646 w 544"/>
                  <a:gd name="T1" fmla="*/ 2147483646 h 544"/>
                  <a:gd name="T2" fmla="*/ 2147483646 w 544"/>
                  <a:gd name="T3" fmla="*/ 2147483646 h 544"/>
                  <a:gd name="T4" fmla="*/ 2147483646 w 544"/>
                  <a:gd name="T5" fmla="*/ 2147483646 h 544"/>
                  <a:gd name="T6" fmla="*/ 2147483646 w 544"/>
                  <a:gd name="T7" fmla="*/ 2147483646 h 544"/>
                  <a:gd name="T8" fmla="*/ 2147483646 w 544"/>
                  <a:gd name="T9" fmla="*/ 2147483646 h 544"/>
                  <a:gd name="T10" fmla="*/ 2147483646 w 544"/>
                  <a:gd name="T11" fmla="*/ 2147483646 h 544"/>
                  <a:gd name="T12" fmla="*/ 2147483646 w 544"/>
                  <a:gd name="T13" fmla="*/ 2147483646 h 544"/>
                  <a:gd name="T14" fmla="*/ 2147483646 w 544"/>
                  <a:gd name="T15" fmla="*/ 2147483646 h 544"/>
                  <a:gd name="T16" fmla="*/ 2147483646 w 544"/>
                  <a:gd name="T17" fmla="*/ 2147483646 h 544"/>
                  <a:gd name="T18" fmla="*/ 2147483646 w 544"/>
                  <a:gd name="T19" fmla="*/ 2147483646 h 544"/>
                  <a:gd name="T20" fmla="*/ 2147483646 w 544"/>
                  <a:gd name="T21" fmla="*/ 2147483646 h 544"/>
                  <a:gd name="T22" fmla="*/ 2147483646 w 544"/>
                  <a:gd name="T23" fmla="*/ 2147483646 h 544"/>
                  <a:gd name="T24" fmla="*/ 2147483646 w 544"/>
                  <a:gd name="T25" fmla="*/ 2147483646 h 544"/>
                  <a:gd name="T26" fmla="*/ 2147483646 w 544"/>
                  <a:gd name="T27" fmla="*/ 2147483646 h 544"/>
                  <a:gd name="T28" fmla="*/ 2147483646 w 544"/>
                  <a:gd name="T29" fmla="*/ 2147483646 h 544"/>
                  <a:gd name="T30" fmla="*/ 2147483646 w 544"/>
                  <a:gd name="T31" fmla="*/ 2147483646 h 544"/>
                  <a:gd name="T32" fmla="*/ 2147483646 w 544"/>
                  <a:gd name="T33" fmla="*/ 2147483646 h 544"/>
                  <a:gd name="T34" fmla="*/ 2147483646 w 544"/>
                  <a:gd name="T35" fmla="*/ 0 h 544"/>
                  <a:gd name="T36" fmla="*/ 2147483646 w 544"/>
                  <a:gd name="T37" fmla="*/ 2147483646 h 544"/>
                  <a:gd name="T38" fmla="*/ 2147483646 w 544"/>
                  <a:gd name="T39" fmla="*/ 2147483646 h 544"/>
                  <a:gd name="T40" fmla="*/ 2147483646 w 544"/>
                  <a:gd name="T41" fmla="*/ 2147483646 h 544"/>
                  <a:gd name="T42" fmla="*/ 2147483646 w 544"/>
                  <a:gd name="T43" fmla="*/ 2147483646 h 544"/>
                  <a:gd name="T44" fmla="*/ 2147483646 w 544"/>
                  <a:gd name="T45" fmla="*/ 2147483646 h 544"/>
                  <a:gd name="T46" fmla="*/ 2147483646 w 544"/>
                  <a:gd name="T47" fmla="*/ 2147483646 h 544"/>
                  <a:gd name="T48" fmla="*/ 0 w 544"/>
                  <a:gd name="T49" fmla="*/ 2147483646 h 544"/>
                  <a:gd name="T50" fmla="*/ 2147483646 w 544"/>
                  <a:gd name="T51" fmla="*/ 2147483646 h 544"/>
                  <a:gd name="T52" fmla="*/ 2147483646 w 544"/>
                  <a:gd name="T53" fmla="*/ 2147483646 h 544"/>
                  <a:gd name="T54" fmla="*/ 2147483646 w 544"/>
                  <a:gd name="T55" fmla="*/ 2147483646 h 544"/>
                  <a:gd name="T56" fmla="*/ 2147483646 w 544"/>
                  <a:gd name="T57" fmla="*/ 2147483646 h 544"/>
                  <a:gd name="T58" fmla="*/ 2147483646 w 544"/>
                  <a:gd name="T59" fmla="*/ 2147483646 h 544"/>
                  <a:gd name="T60" fmla="*/ 2147483646 w 544"/>
                  <a:gd name="T61" fmla="*/ 2147483646 h 544"/>
                  <a:gd name="T62" fmla="*/ 2147483646 w 544"/>
                  <a:gd name="T63" fmla="*/ 2147483646 h 544"/>
                  <a:gd name="T64" fmla="*/ 2147483646 w 544"/>
                  <a:gd name="T65" fmla="*/ 2147483646 h 544"/>
                  <a:gd name="T66" fmla="*/ 2147483646 w 544"/>
                  <a:gd name="T67" fmla="*/ 2147483646 h 544"/>
                  <a:gd name="T68" fmla="*/ 2147483646 w 544"/>
                  <a:gd name="T69" fmla="*/ 2147483646 h 544"/>
                  <a:gd name="T70" fmla="*/ 2147483646 w 544"/>
                  <a:gd name="T71" fmla="*/ 2147483646 h 544"/>
                  <a:gd name="T72" fmla="*/ 2147483646 w 544"/>
                  <a:gd name="T73" fmla="*/ 2147483646 h 5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4"/>
                  <a:gd name="T112" fmla="*/ 0 h 544"/>
                  <a:gd name="T113" fmla="*/ 544 w 544"/>
                  <a:gd name="T114" fmla="*/ 544 h 5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4" h="544">
                    <a:moveTo>
                      <a:pt x="368" y="544"/>
                    </a:moveTo>
                    <a:lnTo>
                      <a:pt x="400" y="504"/>
                    </a:lnTo>
                    <a:lnTo>
                      <a:pt x="488" y="496"/>
                    </a:lnTo>
                    <a:lnTo>
                      <a:pt x="504" y="464"/>
                    </a:lnTo>
                    <a:lnTo>
                      <a:pt x="544" y="456"/>
                    </a:lnTo>
                    <a:lnTo>
                      <a:pt x="496" y="392"/>
                    </a:lnTo>
                    <a:lnTo>
                      <a:pt x="528" y="384"/>
                    </a:lnTo>
                    <a:lnTo>
                      <a:pt x="520" y="344"/>
                    </a:lnTo>
                    <a:lnTo>
                      <a:pt x="464" y="328"/>
                    </a:lnTo>
                    <a:lnTo>
                      <a:pt x="448" y="248"/>
                    </a:lnTo>
                    <a:lnTo>
                      <a:pt x="400" y="264"/>
                    </a:lnTo>
                    <a:lnTo>
                      <a:pt x="392" y="232"/>
                    </a:lnTo>
                    <a:lnTo>
                      <a:pt x="352" y="224"/>
                    </a:lnTo>
                    <a:lnTo>
                      <a:pt x="360" y="160"/>
                    </a:lnTo>
                    <a:lnTo>
                      <a:pt x="320" y="136"/>
                    </a:lnTo>
                    <a:lnTo>
                      <a:pt x="320" y="72"/>
                    </a:lnTo>
                    <a:lnTo>
                      <a:pt x="288" y="40"/>
                    </a:lnTo>
                    <a:lnTo>
                      <a:pt x="224" y="0"/>
                    </a:lnTo>
                    <a:lnTo>
                      <a:pt x="184" y="72"/>
                    </a:lnTo>
                    <a:lnTo>
                      <a:pt x="104" y="32"/>
                    </a:lnTo>
                    <a:lnTo>
                      <a:pt x="64" y="32"/>
                    </a:lnTo>
                    <a:lnTo>
                      <a:pt x="48" y="48"/>
                    </a:lnTo>
                    <a:lnTo>
                      <a:pt x="16" y="32"/>
                    </a:lnTo>
                    <a:lnTo>
                      <a:pt x="8" y="64"/>
                    </a:lnTo>
                    <a:lnTo>
                      <a:pt x="0" y="120"/>
                    </a:lnTo>
                    <a:lnTo>
                      <a:pt x="64" y="176"/>
                    </a:lnTo>
                    <a:lnTo>
                      <a:pt x="32" y="224"/>
                    </a:lnTo>
                    <a:lnTo>
                      <a:pt x="112" y="304"/>
                    </a:lnTo>
                    <a:lnTo>
                      <a:pt x="104" y="368"/>
                    </a:lnTo>
                    <a:lnTo>
                      <a:pt x="160" y="384"/>
                    </a:lnTo>
                    <a:lnTo>
                      <a:pt x="160" y="480"/>
                    </a:lnTo>
                    <a:lnTo>
                      <a:pt x="192" y="480"/>
                    </a:lnTo>
                    <a:lnTo>
                      <a:pt x="224" y="520"/>
                    </a:lnTo>
                    <a:lnTo>
                      <a:pt x="224" y="544"/>
                    </a:lnTo>
                    <a:lnTo>
                      <a:pt x="304" y="544"/>
                    </a:lnTo>
                    <a:lnTo>
                      <a:pt x="328" y="528"/>
                    </a:lnTo>
                    <a:lnTo>
                      <a:pt x="368" y="544"/>
                    </a:lnTo>
                    <a:close/>
                  </a:path>
                </a:pathLst>
              </a:custGeom>
              <a:solidFill>
                <a:srgbClr val="002060"/>
              </a:solidFill>
              <a:ln w="9525">
                <a:solidFill>
                  <a:schemeClr val="bg1"/>
                </a:solidFill>
                <a:round/>
                <a:headEnd/>
                <a:tailEnd/>
              </a:ln>
            </p:spPr>
            <p:txBody>
              <a:bodyPr/>
              <a:lstStyle/>
              <a:p>
                <a:endParaRPr lang="en-US" sz="1050"/>
              </a:p>
            </p:txBody>
          </p:sp>
          <p:sp>
            <p:nvSpPr>
              <p:cNvPr id="145" name="Freeform 6"/>
              <p:cNvSpPr>
                <a:spLocks/>
              </p:cNvSpPr>
              <p:nvPr/>
            </p:nvSpPr>
            <p:spPr bwMode="auto">
              <a:xfrm>
                <a:off x="4882219" y="2756534"/>
                <a:ext cx="933408" cy="641956"/>
              </a:xfrm>
              <a:custGeom>
                <a:avLst/>
                <a:gdLst>
                  <a:gd name="T0" fmla="*/ 2147483646 w 792"/>
                  <a:gd name="T1" fmla="*/ 2147483646 h 592"/>
                  <a:gd name="T2" fmla="*/ 2147483646 w 792"/>
                  <a:gd name="T3" fmla="*/ 2147483646 h 592"/>
                  <a:gd name="T4" fmla="*/ 2147483646 w 792"/>
                  <a:gd name="T5" fmla="*/ 2147483646 h 592"/>
                  <a:gd name="T6" fmla="*/ 2147483646 w 792"/>
                  <a:gd name="T7" fmla="*/ 2147483646 h 592"/>
                  <a:gd name="T8" fmla="*/ 2147483646 w 792"/>
                  <a:gd name="T9" fmla="*/ 2147483646 h 592"/>
                  <a:gd name="T10" fmla="*/ 2147483646 w 792"/>
                  <a:gd name="T11" fmla="*/ 2147483646 h 592"/>
                  <a:gd name="T12" fmla="*/ 2147483646 w 792"/>
                  <a:gd name="T13" fmla="*/ 2147483646 h 592"/>
                  <a:gd name="T14" fmla="*/ 2147483646 w 792"/>
                  <a:gd name="T15" fmla="*/ 2147483646 h 592"/>
                  <a:gd name="T16" fmla="*/ 2147483646 w 792"/>
                  <a:gd name="T17" fmla="*/ 2147483646 h 592"/>
                  <a:gd name="T18" fmla="*/ 2147483646 w 792"/>
                  <a:gd name="T19" fmla="*/ 2147483646 h 592"/>
                  <a:gd name="T20" fmla="*/ 2147483646 w 792"/>
                  <a:gd name="T21" fmla="*/ 2147483646 h 592"/>
                  <a:gd name="T22" fmla="*/ 2147483646 w 792"/>
                  <a:gd name="T23" fmla="*/ 2147483646 h 592"/>
                  <a:gd name="T24" fmla="*/ 2147483646 w 792"/>
                  <a:gd name="T25" fmla="*/ 2147483646 h 592"/>
                  <a:gd name="T26" fmla="*/ 2147483646 w 792"/>
                  <a:gd name="T27" fmla="*/ 2147483646 h 592"/>
                  <a:gd name="T28" fmla="*/ 2147483646 w 792"/>
                  <a:gd name="T29" fmla="*/ 2147483646 h 592"/>
                  <a:gd name="T30" fmla="*/ 2147483646 w 792"/>
                  <a:gd name="T31" fmla="*/ 2147483646 h 592"/>
                  <a:gd name="T32" fmla="*/ 2147483646 w 792"/>
                  <a:gd name="T33" fmla="*/ 2147483646 h 592"/>
                  <a:gd name="T34" fmla="*/ 2147483646 w 792"/>
                  <a:gd name="T35" fmla="*/ 2147483646 h 592"/>
                  <a:gd name="T36" fmla="*/ 2147483646 w 792"/>
                  <a:gd name="T37" fmla="*/ 2147483646 h 592"/>
                  <a:gd name="T38" fmla="*/ 2147483646 w 792"/>
                  <a:gd name="T39" fmla="*/ 2147483646 h 592"/>
                  <a:gd name="T40" fmla="*/ 2147483646 w 792"/>
                  <a:gd name="T41" fmla="*/ 2147483646 h 592"/>
                  <a:gd name="T42" fmla="*/ 2147483646 w 792"/>
                  <a:gd name="T43" fmla="*/ 2147483646 h 592"/>
                  <a:gd name="T44" fmla="*/ 2147483646 w 792"/>
                  <a:gd name="T45" fmla="*/ 2147483646 h 592"/>
                  <a:gd name="T46" fmla="*/ 2147483646 w 792"/>
                  <a:gd name="T47" fmla="*/ 2147483646 h 592"/>
                  <a:gd name="T48" fmla="*/ 2147483646 w 792"/>
                  <a:gd name="T49" fmla="*/ 2147483646 h 592"/>
                  <a:gd name="T50" fmla="*/ 2147483646 w 792"/>
                  <a:gd name="T51" fmla="*/ 2147483646 h 592"/>
                  <a:gd name="T52" fmla="*/ 2147483646 w 792"/>
                  <a:gd name="T53" fmla="*/ 2147483646 h 592"/>
                  <a:gd name="T54" fmla="*/ 2147483646 w 792"/>
                  <a:gd name="T55" fmla="*/ 2147483646 h 592"/>
                  <a:gd name="T56" fmla="*/ 2147483646 w 792"/>
                  <a:gd name="T57" fmla="*/ 2147483646 h 592"/>
                  <a:gd name="T58" fmla="*/ 2147483646 w 792"/>
                  <a:gd name="T59" fmla="*/ 2147483646 h 592"/>
                  <a:gd name="T60" fmla="*/ 2147483646 w 792"/>
                  <a:gd name="T61" fmla="*/ 2147483646 h 592"/>
                  <a:gd name="T62" fmla="*/ 2147483646 w 792"/>
                  <a:gd name="T63" fmla="*/ 2147483646 h 592"/>
                  <a:gd name="T64" fmla="*/ 2147483646 w 792"/>
                  <a:gd name="T65" fmla="*/ 2147483646 h 592"/>
                  <a:gd name="T66" fmla="*/ 2147483646 w 792"/>
                  <a:gd name="T67" fmla="*/ 2147483646 h 592"/>
                  <a:gd name="T68" fmla="*/ 2147483646 w 792"/>
                  <a:gd name="T69" fmla="*/ 2147483646 h 592"/>
                  <a:gd name="T70" fmla="*/ 2147483646 w 792"/>
                  <a:gd name="T71" fmla="*/ 2147483646 h 592"/>
                  <a:gd name="T72" fmla="*/ 2147483646 w 792"/>
                  <a:gd name="T73" fmla="*/ 2147483646 h 592"/>
                  <a:gd name="T74" fmla="*/ 2147483646 w 792"/>
                  <a:gd name="T75" fmla="*/ 2147483646 h 592"/>
                  <a:gd name="T76" fmla="*/ 2147483646 w 792"/>
                  <a:gd name="T77" fmla="*/ 2147483646 h 592"/>
                  <a:gd name="T78" fmla="*/ 0 w 792"/>
                  <a:gd name="T79" fmla="*/ 2147483646 h 592"/>
                  <a:gd name="T80" fmla="*/ 2147483646 w 792"/>
                  <a:gd name="T81" fmla="*/ 2147483646 h 592"/>
                  <a:gd name="T82" fmla="*/ 2147483646 w 792"/>
                  <a:gd name="T83" fmla="*/ 2147483646 h 592"/>
                  <a:gd name="T84" fmla="*/ 2147483646 w 792"/>
                  <a:gd name="T85" fmla="*/ 2147483646 h 592"/>
                  <a:gd name="T86" fmla="*/ 2147483646 w 792"/>
                  <a:gd name="T87" fmla="*/ 2147483646 h 592"/>
                  <a:gd name="T88" fmla="*/ 2147483646 w 792"/>
                  <a:gd name="T89" fmla="*/ 2147483646 h 592"/>
                  <a:gd name="T90" fmla="*/ 2147483646 w 792"/>
                  <a:gd name="T91" fmla="*/ 2147483646 h 592"/>
                  <a:gd name="T92" fmla="*/ 2147483646 w 792"/>
                  <a:gd name="T93" fmla="*/ 2147483646 h 592"/>
                  <a:gd name="T94" fmla="*/ 2147483646 w 792"/>
                  <a:gd name="T95" fmla="*/ 2147483646 h 592"/>
                  <a:gd name="T96" fmla="*/ 2147483646 w 792"/>
                  <a:gd name="T97" fmla="*/ 2147483646 h 592"/>
                  <a:gd name="T98" fmla="*/ 2147483646 w 792"/>
                  <a:gd name="T99" fmla="*/ 2147483646 h 592"/>
                  <a:gd name="T100" fmla="*/ 2147483646 w 792"/>
                  <a:gd name="T101" fmla="*/ 0 h 592"/>
                  <a:gd name="T102" fmla="*/ 2147483646 w 792"/>
                  <a:gd name="T103" fmla="*/ 2147483646 h 5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2"/>
                  <a:gd name="T157" fmla="*/ 0 h 592"/>
                  <a:gd name="T158" fmla="*/ 792 w 792"/>
                  <a:gd name="T159" fmla="*/ 592 h 5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2" h="592">
                    <a:moveTo>
                      <a:pt x="504" y="8"/>
                    </a:moveTo>
                    <a:lnTo>
                      <a:pt x="512" y="32"/>
                    </a:lnTo>
                    <a:lnTo>
                      <a:pt x="544" y="64"/>
                    </a:lnTo>
                    <a:lnTo>
                      <a:pt x="568" y="56"/>
                    </a:lnTo>
                    <a:lnTo>
                      <a:pt x="624" y="128"/>
                    </a:lnTo>
                    <a:lnTo>
                      <a:pt x="640" y="104"/>
                    </a:lnTo>
                    <a:lnTo>
                      <a:pt x="688" y="144"/>
                    </a:lnTo>
                    <a:lnTo>
                      <a:pt x="688" y="192"/>
                    </a:lnTo>
                    <a:lnTo>
                      <a:pt x="744" y="288"/>
                    </a:lnTo>
                    <a:lnTo>
                      <a:pt x="712" y="320"/>
                    </a:lnTo>
                    <a:lnTo>
                      <a:pt x="728" y="352"/>
                    </a:lnTo>
                    <a:lnTo>
                      <a:pt x="784" y="328"/>
                    </a:lnTo>
                    <a:lnTo>
                      <a:pt x="792" y="392"/>
                    </a:lnTo>
                    <a:lnTo>
                      <a:pt x="760" y="384"/>
                    </a:lnTo>
                    <a:lnTo>
                      <a:pt x="760" y="416"/>
                    </a:lnTo>
                    <a:lnTo>
                      <a:pt x="712" y="400"/>
                    </a:lnTo>
                    <a:lnTo>
                      <a:pt x="728" y="480"/>
                    </a:lnTo>
                    <a:lnTo>
                      <a:pt x="664" y="424"/>
                    </a:lnTo>
                    <a:lnTo>
                      <a:pt x="544" y="424"/>
                    </a:lnTo>
                    <a:lnTo>
                      <a:pt x="480" y="432"/>
                    </a:lnTo>
                    <a:lnTo>
                      <a:pt x="432" y="456"/>
                    </a:lnTo>
                    <a:lnTo>
                      <a:pt x="376" y="416"/>
                    </a:lnTo>
                    <a:lnTo>
                      <a:pt x="392" y="480"/>
                    </a:lnTo>
                    <a:lnTo>
                      <a:pt x="336" y="528"/>
                    </a:lnTo>
                    <a:lnTo>
                      <a:pt x="328" y="584"/>
                    </a:lnTo>
                    <a:lnTo>
                      <a:pt x="240" y="592"/>
                    </a:lnTo>
                    <a:lnTo>
                      <a:pt x="256" y="536"/>
                    </a:lnTo>
                    <a:lnTo>
                      <a:pt x="176" y="528"/>
                    </a:lnTo>
                    <a:lnTo>
                      <a:pt x="136" y="584"/>
                    </a:lnTo>
                    <a:lnTo>
                      <a:pt x="96" y="552"/>
                    </a:lnTo>
                    <a:lnTo>
                      <a:pt x="56" y="576"/>
                    </a:lnTo>
                    <a:lnTo>
                      <a:pt x="16" y="560"/>
                    </a:lnTo>
                    <a:lnTo>
                      <a:pt x="32" y="496"/>
                    </a:lnTo>
                    <a:lnTo>
                      <a:pt x="8" y="456"/>
                    </a:lnTo>
                    <a:lnTo>
                      <a:pt x="32" y="408"/>
                    </a:lnTo>
                    <a:lnTo>
                      <a:pt x="8" y="360"/>
                    </a:lnTo>
                    <a:lnTo>
                      <a:pt x="48" y="360"/>
                    </a:lnTo>
                    <a:lnTo>
                      <a:pt x="56" y="328"/>
                    </a:lnTo>
                    <a:lnTo>
                      <a:pt x="40" y="288"/>
                    </a:lnTo>
                    <a:lnTo>
                      <a:pt x="0" y="264"/>
                    </a:lnTo>
                    <a:lnTo>
                      <a:pt x="32" y="232"/>
                    </a:lnTo>
                    <a:lnTo>
                      <a:pt x="8" y="176"/>
                    </a:lnTo>
                    <a:lnTo>
                      <a:pt x="72" y="152"/>
                    </a:lnTo>
                    <a:lnTo>
                      <a:pt x="96" y="104"/>
                    </a:lnTo>
                    <a:lnTo>
                      <a:pt x="136" y="56"/>
                    </a:lnTo>
                    <a:lnTo>
                      <a:pt x="184" y="48"/>
                    </a:lnTo>
                    <a:lnTo>
                      <a:pt x="248" y="32"/>
                    </a:lnTo>
                    <a:lnTo>
                      <a:pt x="360" y="40"/>
                    </a:lnTo>
                    <a:lnTo>
                      <a:pt x="392" y="16"/>
                    </a:lnTo>
                    <a:lnTo>
                      <a:pt x="448" y="16"/>
                    </a:lnTo>
                    <a:lnTo>
                      <a:pt x="472" y="0"/>
                    </a:lnTo>
                    <a:lnTo>
                      <a:pt x="504" y="8"/>
                    </a:lnTo>
                    <a:close/>
                  </a:path>
                </a:pathLst>
              </a:custGeom>
              <a:solidFill>
                <a:srgbClr val="9950A8"/>
              </a:solidFill>
              <a:ln w="9525">
                <a:solidFill>
                  <a:schemeClr val="bg1"/>
                </a:solidFill>
                <a:round/>
                <a:headEnd/>
                <a:tailEnd/>
              </a:ln>
            </p:spPr>
            <p:txBody>
              <a:bodyPr/>
              <a:lstStyle/>
              <a:p>
                <a:endParaRPr lang="en-US" sz="1050"/>
              </a:p>
            </p:txBody>
          </p:sp>
          <p:sp>
            <p:nvSpPr>
              <p:cNvPr id="146" name="Rectangle 145"/>
              <p:cNvSpPr/>
              <p:nvPr/>
            </p:nvSpPr>
            <p:spPr>
              <a:xfrm>
                <a:off x="5201121" y="2982085"/>
                <a:ext cx="207759" cy="163567"/>
              </a:xfrm>
              <a:prstGeom prst="rect">
                <a:avLst/>
              </a:prstGeom>
              <a:ln>
                <a:noFill/>
              </a:ln>
            </p:spPr>
            <p:txBody>
              <a:bodyPr wrap="square" lIns="0" tIns="0" rIns="0" bIns="0">
                <a:spAutoFit/>
              </a:bodyPr>
              <a:lstStyle/>
              <a:p>
                <a:pPr>
                  <a:lnSpc>
                    <a:spcPct val="93000"/>
                  </a:lnSpc>
                </a:pPr>
                <a:r>
                  <a:rPr lang="ro-RO" sz="1200" b="1" dirty="0">
                    <a:solidFill>
                      <a:schemeClr val="bg1"/>
                    </a:solidFill>
                    <a:latin typeface="Trebuchet MS" panose="020B0603020202020204" pitchFamily="34" charset="0"/>
                    <a:cs typeface="Arial" pitchFamily="34" charset="0"/>
                  </a:rPr>
                  <a:t>SV</a:t>
                </a:r>
                <a:endParaRPr lang="en-US" sz="1200" b="1" dirty="0">
                  <a:solidFill>
                    <a:schemeClr val="bg1"/>
                  </a:solidFill>
                  <a:latin typeface="Trebuchet MS" panose="020B0603020202020204" pitchFamily="34" charset="0"/>
                  <a:cs typeface="Arial" pitchFamily="34" charset="0"/>
                </a:endParaRPr>
              </a:p>
            </p:txBody>
          </p:sp>
        </p:grpSp>
        <p:sp>
          <p:nvSpPr>
            <p:cNvPr id="161" name="TextBox 160"/>
            <p:cNvSpPr txBox="1"/>
            <p:nvPr/>
          </p:nvSpPr>
          <p:spPr>
            <a:xfrm>
              <a:off x="3676958" y="1569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T</a:t>
              </a:r>
            </a:p>
          </p:txBody>
        </p:sp>
        <p:sp>
          <p:nvSpPr>
            <p:cNvPr id="162" name="Rectangle 161"/>
            <p:cNvSpPr/>
            <p:nvPr/>
          </p:nvSpPr>
          <p:spPr>
            <a:xfrm>
              <a:off x="4250112" y="2541919"/>
              <a:ext cx="359394"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VS</a:t>
              </a:r>
            </a:p>
          </p:txBody>
        </p:sp>
        <p:sp>
          <p:nvSpPr>
            <p:cNvPr id="163" name="Rectangle 162"/>
            <p:cNvSpPr/>
            <p:nvPr/>
          </p:nvSpPr>
          <p:spPr>
            <a:xfrm>
              <a:off x="3988142" y="1971843"/>
              <a:ext cx="306495" cy="276999"/>
            </a:xfrm>
            <a:prstGeom prst="rect">
              <a:avLst/>
            </a:prstGeom>
          </p:spPr>
          <p:txBody>
            <a:bodyPr wrap="none">
              <a:spAutoFit/>
            </a:bodyPr>
            <a:lstStyle/>
            <a:p>
              <a:pPr algn="ctr"/>
              <a:r>
                <a:rPr lang="en-US" sz="1200" b="1" dirty="0">
                  <a:solidFill>
                    <a:srgbClr val="002368"/>
                  </a:solidFill>
                  <a:latin typeface="Trebuchet MS" panose="020B0603020202020204" pitchFamily="34" charset="0"/>
                  <a:cs typeface="Arial" panose="020B0604020202020204" pitchFamily="34" charset="0"/>
                </a:rPr>
                <a:t>IS</a:t>
              </a:r>
            </a:p>
          </p:txBody>
        </p:sp>
        <p:sp>
          <p:nvSpPr>
            <p:cNvPr id="164" name="TextBox 163"/>
            <p:cNvSpPr txBox="1"/>
            <p:nvPr/>
          </p:nvSpPr>
          <p:spPr>
            <a:xfrm>
              <a:off x="4263886" y="31081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L</a:t>
              </a:r>
            </a:p>
          </p:txBody>
        </p:sp>
        <p:sp>
          <p:nvSpPr>
            <p:cNvPr id="165" name="TextBox 164"/>
            <p:cNvSpPr txBox="1"/>
            <p:nvPr/>
          </p:nvSpPr>
          <p:spPr>
            <a:xfrm>
              <a:off x="4733214" y="3745133"/>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L</a:t>
              </a:r>
            </a:p>
          </p:txBody>
        </p:sp>
        <p:sp>
          <p:nvSpPr>
            <p:cNvPr id="166" name="TextBox 165"/>
            <p:cNvSpPr txBox="1"/>
            <p:nvPr/>
          </p:nvSpPr>
          <p:spPr>
            <a:xfrm>
              <a:off x="4638389" y="429948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CT</a:t>
              </a:r>
            </a:p>
          </p:txBody>
        </p:sp>
        <p:sp>
          <p:nvSpPr>
            <p:cNvPr id="167" name="TextBox 166"/>
            <p:cNvSpPr txBox="1"/>
            <p:nvPr/>
          </p:nvSpPr>
          <p:spPr>
            <a:xfrm>
              <a:off x="4243322" y="368602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R</a:t>
              </a:r>
            </a:p>
          </p:txBody>
        </p:sp>
        <p:sp>
          <p:nvSpPr>
            <p:cNvPr id="168" name="TextBox 167"/>
            <p:cNvSpPr txBox="1"/>
            <p:nvPr/>
          </p:nvSpPr>
          <p:spPr>
            <a:xfrm>
              <a:off x="3880173" y="429165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L</a:t>
              </a:r>
            </a:p>
          </p:txBody>
        </p:sp>
        <p:sp>
          <p:nvSpPr>
            <p:cNvPr id="169" name="TextBox 168"/>
            <p:cNvSpPr txBox="1"/>
            <p:nvPr/>
          </p:nvSpPr>
          <p:spPr>
            <a:xfrm>
              <a:off x="4041365" y="404630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IL</a:t>
              </a:r>
            </a:p>
          </p:txBody>
        </p:sp>
        <p:sp>
          <p:nvSpPr>
            <p:cNvPr id="171" name="TextBox 170"/>
            <p:cNvSpPr txBox="1"/>
            <p:nvPr/>
          </p:nvSpPr>
          <p:spPr>
            <a:xfrm>
              <a:off x="3370944" y="4241221"/>
              <a:ext cx="754380" cy="138499"/>
            </a:xfrm>
            <a:prstGeom prst="rect">
              <a:avLst/>
            </a:prstGeom>
            <a:noFill/>
            <a:ln w="9525">
              <a:noFill/>
            </a:ln>
          </p:spPr>
          <p:txBody>
            <a:bodyPr wrap="square" lIns="0" tIns="0" rIns="0" bIns="0" rtlCol="0" anchor="ctr">
              <a:spAutoFit/>
            </a:bodyPr>
            <a:lstStyle/>
            <a:p>
              <a:r>
                <a:rPr lang="en-US" sz="900" b="1" dirty="0">
                  <a:solidFill>
                    <a:srgbClr val="FF0000"/>
                  </a:solidFill>
                  <a:latin typeface="Trebuchet MS" panose="020B0603020202020204" pitchFamily="34" charset="0"/>
                  <a:cs typeface="Arial" panose="020B0604020202020204" pitchFamily="34" charset="0"/>
                </a:rPr>
                <a:t>Bucharest</a:t>
              </a:r>
            </a:p>
          </p:txBody>
        </p:sp>
        <p:sp>
          <p:nvSpPr>
            <p:cNvPr id="172" name="Rectangle 171"/>
            <p:cNvSpPr/>
            <p:nvPr/>
          </p:nvSpPr>
          <p:spPr>
            <a:xfrm>
              <a:off x="3422224" y="2209171"/>
              <a:ext cx="381836"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NT</a:t>
              </a:r>
            </a:p>
          </p:txBody>
        </p:sp>
        <p:sp>
          <p:nvSpPr>
            <p:cNvPr id="173" name="TextBox 172"/>
            <p:cNvSpPr txBox="1"/>
            <p:nvPr/>
          </p:nvSpPr>
          <p:spPr>
            <a:xfrm>
              <a:off x="3710781" y="268155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C</a:t>
              </a:r>
            </a:p>
          </p:txBody>
        </p:sp>
        <p:sp>
          <p:nvSpPr>
            <p:cNvPr id="174" name="TextBox 173"/>
            <p:cNvSpPr txBox="1"/>
            <p:nvPr/>
          </p:nvSpPr>
          <p:spPr>
            <a:xfrm>
              <a:off x="3798490" y="314519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N</a:t>
              </a:r>
            </a:p>
          </p:txBody>
        </p:sp>
        <p:sp>
          <p:nvSpPr>
            <p:cNvPr id="175" name="TextBox 174"/>
            <p:cNvSpPr txBox="1"/>
            <p:nvPr/>
          </p:nvSpPr>
          <p:spPr>
            <a:xfrm>
              <a:off x="3718369" y="3545288"/>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Z</a:t>
              </a:r>
            </a:p>
          </p:txBody>
        </p:sp>
        <p:sp>
          <p:nvSpPr>
            <p:cNvPr id="176" name="TextBox 175"/>
            <p:cNvSpPr txBox="1"/>
            <p:nvPr/>
          </p:nvSpPr>
          <p:spPr>
            <a:xfrm>
              <a:off x="3288566" y="364959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PH</a:t>
              </a:r>
            </a:p>
          </p:txBody>
        </p:sp>
        <p:sp>
          <p:nvSpPr>
            <p:cNvPr id="177" name="TextBox 176"/>
            <p:cNvSpPr txBox="1"/>
            <p:nvPr/>
          </p:nvSpPr>
          <p:spPr>
            <a:xfrm>
              <a:off x="3298226" y="441070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GR</a:t>
              </a:r>
            </a:p>
          </p:txBody>
        </p:sp>
        <p:sp>
          <p:nvSpPr>
            <p:cNvPr id="178" name="TextBox 177"/>
            <p:cNvSpPr txBox="1"/>
            <p:nvPr/>
          </p:nvSpPr>
          <p:spPr>
            <a:xfrm>
              <a:off x="3010532" y="381557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DB</a:t>
              </a:r>
            </a:p>
          </p:txBody>
        </p:sp>
        <p:sp>
          <p:nvSpPr>
            <p:cNvPr id="179" name="TextBox 178"/>
            <p:cNvSpPr txBox="1"/>
            <p:nvPr/>
          </p:nvSpPr>
          <p:spPr>
            <a:xfrm>
              <a:off x="2662816" y="3646323"/>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G</a:t>
              </a:r>
            </a:p>
          </p:txBody>
        </p:sp>
        <p:sp>
          <p:nvSpPr>
            <p:cNvPr id="180" name="TextBox 179"/>
            <p:cNvSpPr txBox="1"/>
            <p:nvPr/>
          </p:nvSpPr>
          <p:spPr>
            <a:xfrm>
              <a:off x="2846150" y="312237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V</a:t>
              </a:r>
            </a:p>
          </p:txBody>
        </p:sp>
        <p:sp>
          <p:nvSpPr>
            <p:cNvPr id="181" name="TextBox 180"/>
            <p:cNvSpPr txBox="1"/>
            <p:nvPr/>
          </p:nvSpPr>
          <p:spPr>
            <a:xfrm>
              <a:off x="3309773" y="3045321"/>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V</a:t>
              </a:r>
            </a:p>
          </p:txBody>
        </p:sp>
        <p:sp>
          <p:nvSpPr>
            <p:cNvPr id="182" name="TextBox 181"/>
            <p:cNvSpPr txBox="1"/>
            <p:nvPr/>
          </p:nvSpPr>
          <p:spPr>
            <a:xfrm>
              <a:off x="3035030" y="260412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HR</a:t>
              </a:r>
            </a:p>
          </p:txBody>
        </p:sp>
        <p:sp>
          <p:nvSpPr>
            <p:cNvPr id="183" name="TextBox 182"/>
            <p:cNvSpPr txBox="1"/>
            <p:nvPr/>
          </p:nvSpPr>
          <p:spPr>
            <a:xfrm>
              <a:off x="2556905" y="2514487"/>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S</a:t>
              </a:r>
            </a:p>
          </p:txBody>
        </p:sp>
        <p:sp>
          <p:nvSpPr>
            <p:cNvPr id="184" name="TextBox 183"/>
            <p:cNvSpPr txBox="1"/>
            <p:nvPr/>
          </p:nvSpPr>
          <p:spPr>
            <a:xfrm>
              <a:off x="2325094" y="30932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SB</a:t>
              </a:r>
            </a:p>
          </p:txBody>
        </p:sp>
        <p:sp>
          <p:nvSpPr>
            <p:cNvPr id="185" name="TextBox 184"/>
            <p:cNvSpPr txBox="1"/>
            <p:nvPr/>
          </p:nvSpPr>
          <p:spPr>
            <a:xfrm>
              <a:off x="1591026" y="314058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HD</a:t>
              </a:r>
            </a:p>
          </p:txBody>
        </p:sp>
        <p:sp>
          <p:nvSpPr>
            <p:cNvPr id="186" name="TextBox 185"/>
            <p:cNvSpPr txBox="1"/>
            <p:nvPr/>
          </p:nvSpPr>
          <p:spPr>
            <a:xfrm>
              <a:off x="1064621" y="359629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S</a:t>
              </a:r>
            </a:p>
          </p:txBody>
        </p:sp>
        <p:sp>
          <p:nvSpPr>
            <p:cNvPr id="187" name="TextBox 186"/>
            <p:cNvSpPr txBox="1"/>
            <p:nvPr/>
          </p:nvSpPr>
          <p:spPr>
            <a:xfrm>
              <a:off x="2295346" y="3634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L</a:t>
              </a:r>
            </a:p>
          </p:txBody>
        </p:sp>
        <p:sp>
          <p:nvSpPr>
            <p:cNvPr id="188" name="TextBox 187"/>
            <p:cNvSpPr txBox="1"/>
            <p:nvPr/>
          </p:nvSpPr>
          <p:spPr>
            <a:xfrm>
              <a:off x="1823048" y="371512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J</a:t>
              </a:r>
            </a:p>
          </p:txBody>
        </p:sp>
        <p:sp>
          <p:nvSpPr>
            <p:cNvPr id="189" name="TextBox 188"/>
            <p:cNvSpPr txBox="1"/>
            <p:nvPr/>
          </p:nvSpPr>
          <p:spPr>
            <a:xfrm>
              <a:off x="1522379" y="416741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MH</a:t>
              </a:r>
            </a:p>
          </p:txBody>
        </p:sp>
        <p:sp>
          <p:nvSpPr>
            <p:cNvPr id="190" name="TextBox 189"/>
            <p:cNvSpPr txBox="1"/>
            <p:nvPr/>
          </p:nvSpPr>
          <p:spPr>
            <a:xfrm>
              <a:off x="1957935" y="440552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DJ</a:t>
              </a:r>
            </a:p>
          </p:txBody>
        </p:sp>
        <p:sp>
          <p:nvSpPr>
            <p:cNvPr id="191" name="TextBox 190"/>
            <p:cNvSpPr txBox="1"/>
            <p:nvPr/>
          </p:nvSpPr>
          <p:spPr>
            <a:xfrm>
              <a:off x="2421570" y="428584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OT</a:t>
              </a:r>
            </a:p>
          </p:txBody>
        </p:sp>
        <p:sp>
          <p:nvSpPr>
            <p:cNvPr id="192" name="TextBox 191"/>
            <p:cNvSpPr txBox="1"/>
            <p:nvPr/>
          </p:nvSpPr>
          <p:spPr>
            <a:xfrm>
              <a:off x="2844848" y="446218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R</a:t>
              </a:r>
            </a:p>
          </p:txBody>
        </p:sp>
        <p:sp>
          <p:nvSpPr>
            <p:cNvPr id="193" name="TextBox 192"/>
            <p:cNvSpPr txBox="1"/>
            <p:nvPr/>
          </p:nvSpPr>
          <p:spPr>
            <a:xfrm>
              <a:off x="1190198" y="222484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H</a:t>
              </a:r>
            </a:p>
          </p:txBody>
        </p:sp>
        <p:sp>
          <p:nvSpPr>
            <p:cNvPr id="194" name="TextBox 193"/>
            <p:cNvSpPr txBox="1"/>
            <p:nvPr/>
          </p:nvSpPr>
          <p:spPr>
            <a:xfrm>
              <a:off x="1930937" y="283174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B</a:t>
              </a:r>
            </a:p>
          </p:txBody>
        </p:sp>
        <p:sp>
          <p:nvSpPr>
            <p:cNvPr id="195" name="TextBox 194"/>
            <p:cNvSpPr txBox="1"/>
            <p:nvPr/>
          </p:nvSpPr>
          <p:spPr>
            <a:xfrm>
              <a:off x="919393" y="271731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R</a:t>
              </a:r>
            </a:p>
          </p:txBody>
        </p:sp>
        <p:sp>
          <p:nvSpPr>
            <p:cNvPr id="196" name="TextBox 195"/>
            <p:cNvSpPr txBox="1"/>
            <p:nvPr/>
          </p:nvSpPr>
          <p:spPr>
            <a:xfrm>
              <a:off x="642056" y="314774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TM</a:t>
              </a:r>
            </a:p>
          </p:txBody>
        </p:sp>
        <p:sp>
          <p:nvSpPr>
            <p:cNvPr id="197" name="TextBox 196"/>
            <p:cNvSpPr txBox="1"/>
            <p:nvPr/>
          </p:nvSpPr>
          <p:spPr>
            <a:xfrm>
              <a:off x="2450659" y="201740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BN</a:t>
              </a:r>
            </a:p>
          </p:txBody>
        </p:sp>
        <p:sp>
          <p:nvSpPr>
            <p:cNvPr id="198" name="TextBox 197"/>
            <p:cNvSpPr txBox="1"/>
            <p:nvPr/>
          </p:nvSpPr>
          <p:spPr>
            <a:xfrm>
              <a:off x="2100349" y="1727247"/>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M</a:t>
              </a:r>
            </a:p>
          </p:txBody>
        </p:sp>
        <p:sp>
          <p:nvSpPr>
            <p:cNvPr id="199" name="TextBox 198"/>
            <p:cNvSpPr txBox="1"/>
            <p:nvPr/>
          </p:nvSpPr>
          <p:spPr>
            <a:xfrm>
              <a:off x="1548682" y="171859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M</a:t>
              </a:r>
            </a:p>
          </p:txBody>
        </p:sp>
        <p:sp>
          <p:nvSpPr>
            <p:cNvPr id="200" name="TextBox 199"/>
            <p:cNvSpPr txBox="1"/>
            <p:nvPr/>
          </p:nvSpPr>
          <p:spPr>
            <a:xfrm>
              <a:off x="1743876" y="208389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J</a:t>
              </a:r>
            </a:p>
          </p:txBody>
        </p:sp>
        <p:sp>
          <p:nvSpPr>
            <p:cNvPr id="201" name="TextBox 200"/>
            <p:cNvSpPr txBox="1"/>
            <p:nvPr/>
          </p:nvSpPr>
          <p:spPr>
            <a:xfrm>
              <a:off x="1960468" y="2401159"/>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J</a:t>
              </a:r>
            </a:p>
          </p:txBody>
        </p:sp>
        <p:sp>
          <p:nvSpPr>
            <p:cNvPr id="203" name="TextBox 202"/>
            <p:cNvSpPr txBox="1"/>
            <p:nvPr/>
          </p:nvSpPr>
          <p:spPr>
            <a:xfrm>
              <a:off x="3370666" y="4075341"/>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I</a:t>
              </a:r>
              <a:r>
                <a:rPr lang="ro-RO" sz="1200" b="1" dirty="0">
                  <a:solidFill>
                    <a:srgbClr val="002368"/>
                  </a:solidFill>
                  <a:latin typeface="Trebuchet MS" panose="020B0603020202020204" pitchFamily="34" charset="0"/>
                  <a:cs typeface="Arial" panose="020B0604020202020204" pitchFamily="34" charset="0"/>
                </a:rPr>
                <a:t>F</a:t>
              </a:r>
              <a:endParaRPr lang="en-US" sz="1200" b="1" dirty="0">
                <a:solidFill>
                  <a:srgbClr val="002368"/>
                </a:solidFill>
                <a:latin typeface="Trebuchet MS" panose="020B0603020202020204" pitchFamily="34" charset="0"/>
                <a:cs typeface="Arial" panose="020B0604020202020204" pitchFamily="34" charset="0"/>
              </a:endParaRPr>
            </a:p>
          </p:txBody>
        </p:sp>
      </p:grpSp>
      <p:grpSp>
        <p:nvGrpSpPr>
          <p:cNvPr id="2" name="Group 1"/>
          <p:cNvGrpSpPr/>
          <p:nvPr/>
        </p:nvGrpSpPr>
        <p:grpSpPr>
          <a:xfrm>
            <a:off x="7626026" y="1770288"/>
            <a:ext cx="1150562" cy="2405168"/>
            <a:chOff x="8369179" y="2625244"/>
            <a:chExt cx="1534083" cy="3206890"/>
          </a:xfrm>
        </p:grpSpPr>
        <p:sp>
          <p:nvSpPr>
            <p:cNvPr id="148" name="TextBox 147"/>
            <p:cNvSpPr txBox="1"/>
            <p:nvPr/>
          </p:nvSpPr>
          <p:spPr>
            <a:xfrm>
              <a:off x="8921326" y="2636612"/>
              <a:ext cx="457200" cy="246221"/>
            </a:xfrm>
            <a:prstGeom prst="rect">
              <a:avLst/>
            </a:prstGeom>
            <a:noFill/>
            <a:ln w="9525">
              <a:noFill/>
            </a:ln>
          </p:spPr>
          <p:txBody>
            <a:bodyPr wrap="square" lIns="0" tIns="0" rIns="0" bIns="0" rtlCol="0" anchor="ctr">
              <a:spAutoFit/>
            </a:bodyPr>
            <a:lstStyle/>
            <a:p>
              <a:pPr algn="ctr"/>
              <a:r>
                <a:rPr lang="en-US" sz="1200" b="1" dirty="0">
                  <a:solidFill>
                    <a:srgbClr val="545558"/>
                  </a:solidFill>
                  <a:latin typeface="Trebuchet MS" panose="020B0603020202020204" pitchFamily="34" charset="0"/>
                  <a:cs typeface="Arial" panose="020B0604020202020204" pitchFamily="34" charset="0"/>
                </a:rPr>
                <a:t>30%</a:t>
              </a:r>
            </a:p>
          </p:txBody>
        </p:sp>
        <p:sp>
          <p:nvSpPr>
            <p:cNvPr id="149" name="TextBox 148"/>
            <p:cNvSpPr txBox="1"/>
            <p:nvPr/>
          </p:nvSpPr>
          <p:spPr>
            <a:xfrm>
              <a:off x="8921326" y="3153263"/>
              <a:ext cx="4572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40%</a:t>
              </a:r>
            </a:p>
          </p:txBody>
        </p:sp>
        <p:sp>
          <p:nvSpPr>
            <p:cNvPr id="150" name="TextBox 149"/>
            <p:cNvSpPr txBox="1"/>
            <p:nvPr/>
          </p:nvSpPr>
          <p:spPr>
            <a:xfrm>
              <a:off x="8921326" y="3688893"/>
              <a:ext cx="4572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50%</a:t>
              </a:r>
            </a:p>
          </p:txBody>
        </p:sp>
        <p:sp>
          <p:nvSpPr>
            <p:cNvPr id="151" name="TextBox 150"/>
            <p:cNvSpPr txBox="1"/>
            <p:nvPr/>
          </p:nvSpPr>
          <p:spPr>
            <a:xfrm>
              <a:off x="8921324" y="4178898"/>
              <a:ext cx="5486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60%</a:t>
              </a:r>
            </a:p>
          </p:txBody>
        </p:sp>
        <p:sp>
          <p:nvSpPr>
            <p:cNvPr id="152" name="TextBox 151"/>
            <p:cNvSpPr txBox="1"/>
            <p:nvPr/>
          </p:nvSpPr>
          <p:spPr>
            <a:xfrm>
              <a:off x="8897422" y="5105003"/>
              <a:ext cx="10058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Ineligible</a:t>
              </a:r>
            </a:p>
          </p:txBody>
        </p:sp>
        <p:sp>
          <p:nvSpPr>
            <p:cNvPr id="153" name="TextBox 152"/>
            <p:cNvSpPr txBox="1"/>
            <p:nvPr/>
          </p:nvSpPr>
          <p:spPr>
            <a:xfrm>
              <a:off x="8897422" y="5569182"/>
              <a:ext cx="9144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35%-45%</a:t>
              </a:r>
            </a:p>
          </p:txBody>
        </p:sp>
        <p:sp>
          <p:nvSpPr>
            <p:cNvPr id="154" name="Rectangle 153"/>
            <p:cNvSpPr/>
            <p:nvPr/>
          </p:nvSpPr>
          <p:spPr>
            <a:xfrm>
              <a:off x="8369179" y="5557814"/>
              <a:ext cx="274320" cy="2743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Rectangle 154"/>
            <p:cNvSpPr/>
            <p:nvPr/>
          </p:nvSpPr>
          <p:spPr>
            <a:xfrm>
              <a:off x="8369179" y="5092296"/>
              <a:ext cx="274320" cy="274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6" name="Rectangle 155"/>
            <p:cNvSpPr/>
            <p:nvPr/>
          </p:nvSpPr>
          <p:spPr>
            <a:xfrm>
              <a:off x="8369179" y="4169578"/>
              <a:ext cx="274320" cy="274320"/>
            </a:xfrm>
            <a:prstGeom prst="rect">
              <a:avLst/>
            </a:prstGeom>
            <a:solidFill>
              <a:srgbClr val="995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7" name="Rectangle 156"/>
            <p:cNvSpPr/>
            <p:nvPr/>
          </p:nvSpPr>
          <p:spPr>
            <a:xfrm>
              <a:off x="8369179" y="3676186"/>
              <a:ext cx="274320" cy="274320"/>
            </a:xfrm>
            <a:prstGeom prst="rect">
              <a:avLst/>
            </a:prstGeom>
            <a:solidFill>
              <a:srgbClr val="C6CF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8" name="Rectangle 157"/>
            <p:cNvSpPr/>
            <p:nvPr/>
          </p:nvSpPr>
          <p:spPr>
            <a:xfrm>
              <a:off x="8369179" y="3140555"/>
              <a:ext cx="274320" cy="274320"/>
            </a:xfrm>
            <a:prstGeom prst="rect">
              <a:avLst/>
            </a:prstGeom>
            <a:solidFill>
              <a:srgbClr val="4670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9" name="Rectangle 158"/>
            <p:cNvSpPr/>
            <p:nvPr/>
          </p:nvSpPr>
          <p:spPr>
            <a:xfrm>
              <a:off x="8369179" y="2625244"/>
              <a:ext cx="274320" cy="274320"/>
            </a:xfrm>
            <a:prstGeom prst="rect">
              <a:avLst/>
            </a:prstGeom>
            <a:solidFill>
              <a:srgbClr val="C6B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2" name="TextBox 101"/>
            <p:cNvSpPr txBox="1"/>
            <p:nvPr/>
          </p:nvSpPr>
          <p:spPr>
            <a:xfrm>
              <a:off x="8921324" y="4636098"/>
              <a:ext cx="548640" cy="246221"/>
            </a:xfrm>
            <a:prstGeom prst="rect">
              <a:avLst/>
            </a:prstGeom>
            <a:noFill/>
            <a:ln w="9525">
              <a:noFill/>
            </a:ln>
          </p:spPr>
          <p:txBody>
            <a:bodyPr wrap="square" lIns="0" tIns="0" rIns="0" bIns="0" rtlCol="0" anchor="ctr">
              <a:spAutoFit/>
            </a:bodyPr>
            <a:lstStyle/>
            <a:p>
              <a:r>
                <a:rPr lang="en-US" sz="1200" dirty="0">
                  <a:solidFill>
                    <a:srgbClr val="545558"/>
                  </a:solidFill>
                  <a:latin typeface="Trebuchet MS" panose="020B0603020202020204" pitchFamily="34" charset="0"/>
                  <a:cs typeface="Arial" panose="020B0604020202020204" pitchFamily="34" charset="0"/>
                </a:rPr>
                <a:t>7</a:t>
              </a:r>
              <a:r>
                <a:rPr lang="en-US" sz="1200" b="1" dirty="0">
                  <a:solidFill>
                    <a:srgbClr val="545558"/>
                  </a:solidFill>
                  <a:latin typeface="Trebuchet MS" panose="020B0603020202020204" pitchFamily="34" charset="0"/>
                  <a:cs typeface="Arial" panose="020B0604020202020204" pitchFamily="34" charset="0"/>
                </a:rPr>
                <a:t>0%</a:t>
              </a:r>
            </a:p>
          </p:txBody>
        </p:sp>
        <p:sp>
          <p:nvSpPr>
            <p:cNvPr id="103" name="Rectangle 102"/>
            <p:cNvSpPr/>
            <p:nvPr/>
          </p:nvSpPr>
          <p:spPr>
            <a:xfrm>
              <a:off x="8369179" y="4626778"/>
              <a:ext cx="274320" cy="27432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0" name="Rectangle 169"/>
          <p:cNvSpPr/>
          <p:nvPr/>
        </p:nvSpPr>
        <p:spPr>
          <a:xfrm>
            <a:off x="5390784" y="4037143"/>
            <a:ext cx="68580" cy="685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205" name="Picture 20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60" name="Google Shape;387;p31"/>
          <p:cNvSpPr txBox="1">
            <a:spLocks/>
          </p:cNvSpPr>
          <p:nvPr/>
        </p:nvSpPr>
        <p:spPr>
          <a:xfrm>
            <a:off x="134247" y="2351442"/>
            <a:ext cx="2085017" cy="9144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tensity </a:t>
            </a:r>
          </a:p>
          <a:p>
            <a:pPr algn="ctr"/>
            <a:r>
              <a:rPr lang="en-US" sz="2400" b="1" dirty="0">
                <a:solidFill>
                  <a:srgbClr val="2846A8"/>
                </a:solidFill>
                <a:latin typeface="Cambria" panose="02040503050406030204" pitchFamily="18" charset="0"/>
                <a:ea typeface="Cambria" panose="02040503050406030204" pitchFamily="18" charset="0"/>
              </a:rPr>
              <a:t>Map</a:t>
            </a:r>
          </a:p>
          <a:p>
            <a:pPr algn="ctr"/>
            <a:r>
              <a:rPr lang="en-US" sz="1200" b="1" dirty="0">
                <a:solidFill>
                  <a:srgbClr val="2846A8"/>
                </a:solidFill>
                <a:latin typeface="Cambria" panose="02040503050406030204" pitchFamily="18" charset="0"/>
                <a:ea typeface="Cambria" panose="02040503050406030204" pitchFamily="18" charset="0"/>
              </a:rPr>
              <a:t>GEO 68 / 2023</a:t>
            </a:r>
          </a:p>
          <a:p>
            <a:pPr algn="ctr"/>
            <a:r>
              <a:rPr lang="en-US" sz="1200" b="1" dirty="0" err="1">
                <a:solidFill>
                  <a:srgbClr val="2846A8"/>
                </a:solidFill>
                <a:latin typeface="Cambria" panose="02040503050406030204" pitchFamily="18" charset="0"/>
                <a:ea typeface="Cambria" panose="02040503050406030204" pitchFamily="18" charset="0"/>
              </a:rPr>
              <a:t>ConstructPlus</a:t>
            </a:r>
            <a:endParaRPr lang="en-US" sz="2400" b="1" dirty="0">
              <a:solidFill>
                <a:srgbClr val="2846A8"/>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527435236"/>
      </p:ext>
    </p:extLst>
  </p:cSld>
  <p:clrMapOvr>
    <a:masterClrMapping/>
  </p:clrMapOvr>
  <p:transition>
    <p:fade thruBlk="1"/>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8" name="Google Shape;387;p31"/>
          <p:cNvSpPr txBox="1">
            <a:spLocks/>
          </p:cNvSpPr>
          <p:nvPr/>
        </p:nvSpPr>
        <p:spPr>
          <a:xfrm>
            <a:off x="1373212" y="416900"/>
            <a:ext cx="7005148"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vestment support</a:t>
            </a:r>
          </a:p>
        </p:txBody>
      </p:sp>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33" name="TextBox 32"/>
          <p:cNvSpPr txBox="1"/>
          <p:nvPr/>
        </p:nvSpPr>
        <p:spPr>
          <a:xfrm>
            <a:off x="-1755" y="931609"/>
            <a:ext cx="9858135" cy="558230"/>
          </a:xfrm>
          <a:prstGeom prst="rect">
            <a:avLst/>
          </a:prstGeom>
          <a:noFill/>
          <a:ln w="9525">
            <a:noFill/>
          </a:ln>
        </p:spPr>
        <p:txBody>
          <a:bodyPr wrap="square" lIns="0" tIns="0" rIns="0" bIns="0" rtlCol="0">
            <a:spAutoFit/>
          </a:bodyPr>
          <a:lstStyle/>
          <a:p>
            <a:pPr algn="ctr">
              <a:lnSpc>
                <a:spcPct val="93000"/>
              </a:lnSpc>
            </a:pPr>
            <a:r>
              <a:rPr lang="en-US" sz="1300" b="1" dirty="0">
                <a:solidFill>
                  <a:srgbClr val="2846A8"/>
                </a:solidFill>
                <a:latin typeface="Cambria" panose="02040503050406030204" pitchFamily="18" charset="0"/>
              </a:rPr>
              <a:t>STATE AID - </a:t>
            </a:r>
            <a:r>
              <a:rPr lang="en-US" sz="1200" b="1" dirty="0">
                <a:solidFill>
                  <a:srgbClr val="2846A8"/>
                </a:solidFill>
                <a:latin typeface="Cambria" panose="02040503050406030204" pitchFamily="18" charset="0"/>
                <a:ea typeface="Cambria" panose="02040503050406030204" pitchFamily="18" charset="0"/>
              </a:rPr>
              <a:t>GD 959 / 2022</a:t>
            </a:r>
          </a:p>
          <a:p>
            <a:pPr algn="ctr">
              <a:lnSpc>
                <a:spcPct val="93000"/>
              </a:lnSpc>
            </a:pPr>
            <a:r>
              <a:rPr lang="en-US" sz="1300" dirty="0">
                <a:solidFill>
                  <a:srgbClr val="2846A8"/>
                </a:solidFill>
                <a:latin typeface="Cambria" panose="02040503050406030204" pitchFamily="18" charset="0"/>
              </a:rPr>
              <a:t>2022-2027</a:t>
            </a:r>
            <a:r>
              <a:rPr lang="en-US" sz="1300" b="1" dirty="0">
                <a:solidFill>
                  <a:srgbClr val="2846A8"/>
                </a:solidFill>
                <a:latin typeface="Cambria" panose="02040503050406030204" pitchFamily="18" charset="0"/>
              </a:rPr>
              <a:t> </a:t>
            </a:r>
            <a:r>
              <a:rPr lang="en-US" sz="1300" dirty="0">
                <a:solidFill>
                  <a:srgbClr val="2846A8"/>
                </a:solidFill>
                <a:latin typeface="Cambria" panose="02040503050406030204" pitchFamily="18" charset="0"/>
              </a:rPr>
              <a:t>Total Budget: € 300 Mill.</a:t>
            </a:r>
          </a:p>
          <a:p>
            <a:pPr algn="ctr">
              <a:lnSpc>
                <a:spcPct val="93000"/>
              </a:lnSpc>
            </a:pPr>
            <a:r>
              <a:rPr lang="en-US" sz="1200" dirty="0">
                <a:solidFill>
                  <a:srgbClr val="2846A8"/>
                </a:solidFill>
                <a:latin typeface="Cambria" panose="02040503050406030204" pitchFamily="18" charset="0"/>
                <a:ea typeface="Cambria" panose="02040503050406030204" pitchFamily="18" charset="0"/>
              </a:rPr>
              <a:t>Annual Budget: </a:t>
            </a:r>
            <a:r>
              <a:rPr lang="en-US" sz="1200" dirty="0">
                <a:solidFill>
                  <a:srgbClr val="2846A8"/>
                </a:solidFill>
                <a:latin typeface="Cambria" panose="02040503050406030204" pitchFamily="18" charset="0"/>
              </a:rPr>
              <a:t>€</a:t>
            </a:r>
            <a:r>
              <a:rPr lang="en-US" sz="1200" dirty="0">
                <a:solidFill>
                  <a:srgbClr val="2846A8"/>
                </a:solidFill>
                <a:latin typeface="Cambria" panose="02040503050406030204" pitchFamily="18" charset="0"/>
                <a:ea typeface="Cambria" panose="02040503050406030204" pitchFamily="18" charset="0"/>
              </a:rPr>
              <a:t> 150 Mill.</a:t>
            </a:r>
          </a:p>
        </p:txBody>
      </p:sp>
      <p:sp>
        <p:nvSpPr>
          <p:cNvPr id="79" name="Google Shape;583;p46"/>
          <p:cNvSpPr txBox="1"/>
          <p:nvPr/>
        </p:nvSpPr>
        <p:spPr>
          <a:xfrm>
            <a:off x="5154360" y="1745038"/>
            <a:ext cx="3893560" cy="3322552"/>
          </a:xfrm>
          <a:custGeom>
            <a:avLst/>
            <a:gdLst>
              <a:gd name="connsiteX0" fmla="*/ 0 w 2149387"/>
              <a:gd name="connsiteY0" fmla="*/ 291911 h 1751430"/>
              <a:gd name="connsiteX1" fmla="*/ 291911 w 2149387"/>
              <a:gd name="connsiteY1" fmla="*/ 0 h 1751430"/>
              <a:gd name="connsiteX2" fmla="*/ 1857476 w 2149387"/>
              <a:gd name="connsiteY2" fmla="*/ 0 h 1751430"/>
              <a:gd name="connsiteX3" fmla="*/ 2149387 w 2149387"/>
              <a:gd name="connsiteY3" fmla="*/ 291911 h 1751430"/>
              <a:gd name="connsiteX4" fmla="*/ 2149387 w 2149387"/>
              <a:gd name="connsiteY4" fmla="*/ 1459519 h 1751430"/>
              <a:gd name="connsiteX5" fmla="*/ 1857476 w 2149387"/>
              <a:gd name="connsiteY5" fmla="*/ 1751430 h 1751430"/>
              <a:gd name="connsiteX6" fmla="*/ 291911 w 2149387"/>
              <a:gd name="connsiteY6" fmla="*/ 1751430 h 1751430"/>
              <a:gd name="connsiteX7" fmla="*/ 0 w 2149387"/>
              <a:gd name="connsiteY7" fmla="*/ 1459519 h 1751430"/>
              <a:gd name="connsiteX8" fmla="*/ 0 w 2149387"/>
              <a:gd name="connsiteY8" fmla="*/ 291911 h 1751430"/>
              <a:gd name="connsiteX0" fmla="*/ 0 w 2365535"/>
              <a:gd name="connsiteY0" fmla="*/ 291911 h 1751430"/>
              <a:gd name="connsiteX1" fmla="*/ 291911 w 2365535"/>
              <a:gd name="connsiteY1" fmla="*/ 0 h 1751430"/>
              <a:gd name="connsiteX2" fmla="*/ 2321500 w 2365535"/>
              <a:gd name="connsiteY2" fmla="*/ 0 h 1751430"/>
              <a:gd name="connsiteX3" fmla="*/ 2149387 w 2365535"/>
              <a:gd name="connsiteY3" fmla="*/ 291911 h 1751430"/>
              <a:gd name="connsiteX4" fmla="*/ 2149387 w 2365535"/>
              <a:gd name="connsiteY4" fmla="*/ 1459519 h 1751430"/>
              <a:gd name="connsiteX5" fmla="*/ 1857476 w 2365535"/>
              <a:gd name="connsiteY5" fmla="*/ 1751430 h 1751430"/>
              <a:gd name="connsiteX6" fmla="*/ 291911 w 2365535"/>
              <a:gd name="connsiteY6" fmla="*/ 1751430 h 1751430"/>
              <a:gd name="connsiteX7" fmla="*/ 0 w 2365535"/>
              <a:gd name="connsiteY7" fmla="*/ 1459519 h 1751430"/>
              <a:gd name="connsiteX8" fmla="*/ 0 w 2365535"/>
              <a:gd name="connsiteY8" fmla="*/ 291911 h 175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5535" h="1751430">
                <a:moveTo>
                  <a:pt x="0" y="291911"/>
                </a:moveTo>
                <a:cubicBezTo>
                  <a:pt x="0" y="130693"/>
                  <a:pt x="130693" y="0"/>
                  <a:pt x="291911" y="0"/>
                </a:cubicBezTo>
                <a:lnTo>
                  <a:pt x="2321500" y="0"/>
                </a:lnTo>
                <a:cubicBezTo>
                  <a:pt x="2482718" y="0"/>
                  <a:pt x="2149387" y="130693"/>
                  <a:pt x="2149387" y="291911"/>
                </a:cubicBezTo>
                <a:lnTo>
                  <a:pt x="2149387" y="1459519"/>
                </a:lnTo>
                <a:cubicBezTo>
                  <a:pt x="2149387" y="1620737"/>
                  <a:pt x="2018694" y="1751430"/>
                  <a:pt x="1857476" y="1751430"/>
                </a:cubicBezTo>
                <a:lnTo>
                  <a:pt x="291911" y="1751430"/>
                </a:lnTo>
                <a:cubicBezTo>
                  <a:pt x="130693" y="1751430"/>
                  <a:pt x="0" y="1620737"/>
                  <a:pt x="0" y="1459519"/>
                </a:cubicBezTo>
                <a:lnTo>
                  <a:pt x="0" y="291911"/>
                </a:lnTo>
                <a:close/>
              </a:path>
            </a:pathLst>
          </a:custGeom>
          <a:solidFill>
            <a:srgbClr val="E9DBBD">
              <a:alpha val="44000"/>
            </a:srgb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1200" dirty="0">
              <a:solidFill>
                <a:srgbClr val="2846A8"/>
              </a:solidFill>
              <a:latin typeface="Cambria" panose="02040503050406030204" pitchFamily="18" charset="0"/>
              <a:ea typeface="Cambria" panose="02040503050406030204" pitchFamily="18" charset="0"/>
            </a:endParaRPr>
          </a:p>
        </p:txBody>
      </p:sp>
      <p:sp>
        <p:nvSpPr>
          <p:cNvPr id="35" name="Google Shape;583;p46"/>
          <p:cNvSpPr txBox="1"/>
          <p:nvPr/>
        </p:nvSpPr>
        <p:spPr>
          <a:xfrm>
            <a:off x="1373212" y="1745037"/>
            <a:ext cx="3781148" cy="3322554"/>
          </a:xfrm>
          <a:custGeom>
            <a:avLst/>
            <a:gdLst>
              <a:gd name="connsiteX0" fmla="*/ 0 w 2149387"/>
              <a:gd name="connsiteY0" fmla="*/ 291911 h 1751430"/>
              <a:gd name="connsiteX1" fmla="*/ 291911 w 2149387"/>
              <a:gd name="connsiteY1" fmla="*/ 0 h 1751430"/>
              <a:gd name="connsiteX2" fmla="*/ 1857476 w 2149387"/>
              <a:gd name="connsiteY2" fmla="*/ 0 h 1751430"/>
              <a:gd name="connsiteX3" fmla="*/ 2149387 w 2149387"/>
              <a:gd name="connsiteY3" fmla="*/ 291911 h 1751430"/>
              <a:gd name="connsiteX4" fmla="*/ 2149387 w 2149387"/>
              <a:gd name="connsiteY4" fmla="*/ 1459519 h 1751430"/>
              <a:gd name="connsiteX5" fmla="*/ 1857476 w 2149387"/>
              <a:gd name="connsiteY5" fmla="*/ 1751430 h 1751430"/>
              <a:gd name="connsiteX6" fmla="*/ 291911 w 2149387"/>
              <a:gd name="connsiteY6" fmla="*/ 1751430 h 1751430"/>
              <a:gd name="connsiteX7" fmla="*/ 0 w 2149387"/>
              <a:gd name="connsiteY7" fmla="*/ 1459519 h 1751430"/>
              <a:gd name="connsiteX8" fmla="*/ 0 w 2149387"/>
              <a:gd name="connsiteY8" fmla="*/ 291911 h 1751430"/>
              <a:gd name="connsiteX0" fmla="*/ 297531 w 2446918"/>
              <a:gd name="connsiteY0" fmla="*/ 291911 h 1751430"/>
              <a:gd name="connsiteX1" fmla="*/ 36708 w 2446918"/>
              <a:gd name="connsiteY1" fmla="*/ 6824 h 1751430"/>
              <a:gd name="connsiteX2" fmla="*/ 2155007 w 2446918"/>
              <a:gd name="connsiteY2" fmla="*/ 0 h 1751430"/>
              <a:gd name="connsiteX3" fmla="*/ 2446918 w 2446918"/>
              <a:gd name="connsiteY3" fmla="*/ 291911 h 1751430"/>
              <a:gd name="connsiteX4" fmla="*/ 2446918 w 2446918"/>
              <a:gd name="connsiteY4" fmla="*/ 1459519 h 1751430"/>
              <a:gd name="connsiteX5" fmla="*/ 2155007 w 2446918"/>
              <a:gd name="connsiteY5" fmla="*/ 1751430 h 1751430"/>
              <a:gd name="connsiteX6" fmla="*/ 589442 w 2446918"/>
              <a:gd name="connsiteY6" fmla="*/ 1751430 h 1751430"/>
              <a:gd name="connsiteX7" fmla="*/ 297531 w 2446918"/>
              <a:gd name="connsiteY7" fmla="*/ 1459519 h 1751430"/>
              <a:gd name="connsiteX8" fmla="*/ 297531 w 2446918"/>
              <a:gd name="connsiteY8" fmla="*/ 291911 h 175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6918" h="1751430">
                <a:moveTo>
                  <a:pt x="297531" y="291911"/>
                </a:moveTo>
                <a:cubicBezTo>
                  <a:pt x="297531" y="130693"/>
                  <a:pt x="-124510" y="6824"/>
                  <a:pt x="36708" y="6824"/>
                </a:cubicBezTo>
                <a:lnTo>
                  <a:pt x="2155007" y="0"/>
                </a:lnTo>
                <a:cubicBezTo>
                  <a:pt x="2316225" y="0"/>
                  <a:pt x="2446918" y="130693"/>
                  <a:pt x="2446918" y="291911"/>
                </a:cubicBezTo>
                <a:lnTo>
                  <a:pt x="2446918" y="1459519"/>
                </a:lnTo>
                <a:cubicBezTo>
                  <a:pt x="2446918" y="1620737"/>
                  <a:pt x="2316225" y="1751430"/>
                  <a:pt x="2155007" y="1751430"/>
                </a:cubicBezTo>
                <a:lnTo>
                  <a:pt x="589442" y="1751430"/>
                </a:lnTo>
                <a:cubicBezTo>
                  <a:pt x="428224" y="1751430"/>
                  <a:pt x="297531" y="1620737"/>
                  <a:pt x="297531" y="1459519"/>
                </a:cubicBezTo>
                <a:lnTo>
                  <a:pt x="297531" y="291911"/>
                </a:lnTo>
                <a:close/>
              </a:path>
            </a:pathLst>
          </a:custGeom>
          <a:solidFill>
            <a:srgbClr val="E9DBBD">
              <a:alpha val="44000"/>
            </a:srgb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sz="1200" b="1" dirty="0">
              <a:solidFill>
                <a:srgbClr val="2846A8"/>
              </a:solidFill>
              <a:latin typeface="Cambria" panose="02040503050406030204" pitchFamily="18" charset="0"/>
              <a:ea typeface="Cambria" panose="02040503050406030204" pitchFamily="18" charset="0"/>
            </a:endParaRPr>
          </a:p>
        </p:txBody>
      </p:sp>
      <p:sp>
        <p:nvSpPr>
          <p:cNvPr id="2" name="TextBox 1"/>
          <p:cNvSpPr txBox="1"/>
          <p:nvPr/>
        </p:nvSpPr>
        <p:spPr>
          <a:xfrm>
            <a:off x="1905716" y="2693437"/>
            <a:ext cx="6737684" cy="1754326"/>
          </a:xfrm>
          <a:prstGeom prst="rect">
            <a:avLst/>
          </a:prstGeom>
          <a:noFill/>
        </p:spPr>
        <p:txBody>
          <a:bodyPr wrap="square" rtlCol="0">
            <a:spAutoFit/>
          </a:bodyPr>
          <a:lstStyle/>
          <a:p>
            <a:pPr>
              <a:buClr>
                <a:srgbClr val="2846A8"/>
              </a:buClr>
            </a:pPr>
            <a:r>
              <a:rPr lang="en-US" sz="1200" b="1" dirty="0">
                <a:solidFill>
                  <a:srgbClr val="2846A8"/>
                </a:solidFill>
                <a:latin typeface="Cambria" panose="02040503050406030204" pitchFamily="18" charset="0"/>
                <a:ea typeface="Cambria" panose="02040503050406030204" pitchFamily="18" charset="0"/>
              </a:rPr>
              <a:t>Eligible expenses:</a:t>
            </a:r>
          </a:p>
          <a:p>
            <a:pPr marL="171450" indent="-171450">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Starting a new unit / new activity</a:t>
            </a:r>
          </a:p>
          <a:p>
            <a:pPr marL="171450" indent="-171450">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Expanding the capacity of an existing unit (except for large enterprises from Ilfov)</a:t>
            </a:r>
          </a:p>
          <a:p>
            <a:pPr marL="171450" indent="-171450">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Diversifying the production through products that were not previously manufactured in the unit</a:t>
            </a:r>
          </a:p>
          <a:p>
            <a:pPr marL="171450" indent="-171450">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Fundamental change of the general production process of an existing unit (except for large enterprises from Ilfov)</a:t>
            </a:r>
          </a:p>
          <a:p>
            <a:pPr marL="171450" indent="-171450">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Acquisition of the assets from a closed unit or from a unit that would have been closed in case an independent investor had not been acquired the assets</a:t>
            </a:r>
          </a:p>
          <a:p>
            <a:pPr marL="171450" indent="-171450">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Creating new jobs</a:t>
            </a:r>
          </a:p>
        </p:txBody>
      </p:sp>
      <p:sp>
        <p:nvSpPr>
          <p:cNvPr id="37" name="TextBox 36"/>
          <p:cNvSpPr txBox="1"/>
          <p:nvPr/>
        </p:nvSpPr>
        <p:spPr>
          <a:xfrm>
            <a:off x="1771917" y="2416438"/>
            <a:ext cx="7005283" cy="276999"/>
          </a:xfrm>
          <a:prstGeom prst="rect">
            <a:avLst/>
          </a:prstGeom>
          <a:noFill/>
        </p:spPr>
        <p:txBody>
          <a:bodyPr wrap="square" rtlCol="0">
            <a:spAutoFit/>
          </a:bodyPr>
          <a:lstStyle/>
          <a:p>
            <a:pPr algn="ctr"/>
            <a:r>
              <a:rPr lang="en-US" sz="1200" b="1" dirty="0">
                <a:solidFill>
                  <a:srgbClr val="2846A8"/>
                </a:solidFill>
                <a:latin typeface="Cambria" panose="02040503050406030204" pitchFamily="18" charset="0"/>
                <a:ea typeface="Cambria" panose="02040503050406030204" pitchFamily="18" charset="0"/>
              </a:rPr>
              <a:t>Minimum € 3 Mill. investment value</a:t>
            </a:r>
          </a:p>
        </p:txBody>
      </p:sp>
      <p:sp>
        <p:nvSpPr>
          <p:cNvPr id="14" name="TextBox 13"/>
          <p:cNvSpPr txBox="1"/>
          <p:nvPr/>
        </p:nvSpPr>
        <p:spPr>
          <a:xfrm>
            <a:off x="1905716" y="1957398"/>
            <a:ext cx="6737684" cy="461665"/>
          </a:xfrm>
          <a:prstGeom prst="rect">
            <a:avLst/>
          </a:prstGeom>
          <a:noFill/>
        </p:spPr>
        <p:txBody>
          <a:bodyPr wrap="square" rtlCol="0">
            <a:spAutoFit/>
          </a:bodyPr>
          <a:lstStyle/>
          <a:p>
            <a:pPr algn="ctr">
              <a:buClr>
                <a:srgbClr val="2846A8"/>
              </a:buClr>
            </a:pPr>
            <a:r>
              <a:rPr lang="en-US" sz="1200" dirty="0">
                <a:solidFill>
                  <a:srgbClr val="2846A8"/>
                </a:solidFill>
                <a:latin typeface="Cambria" panose="02040503050406030204" pitchFamily="18" charset="0"/>
                <a:ea typeface="Cambria" panose="02040503050406030204" pitchFamily="18" charset="0"/>
              </a:rPr>
              <a:t>Financial support for investments in the manufacturing industry, in the forms of grants for Greenfields or for projects favoring a new economic activity</a:t>
            </a:r>
          </a:p>
        </p:txBody>
      </p:sp>
      <p:sp>
        <p:nvSpPr>
          <p:cNvPr id="15" name="TextBox 14"/>
          <p:cNvSpPr txBox="1"/>
          <p:nvPr/>
        </p:nvSpPr>
        <p:spPr>
          <a:xfrm>
            <a:off x="2427850" y="1494939"/>
            <a:ext cx="4998924"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ea typeface="Cambria" panose="02040503050406030204" pitchFamily="18" charset="0"/>
              </a:rPr>
              <a:t>Managed by: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The Ministry of Economy, Entrepreneurship and Tourism</a:t>
            </a:r>
          </a:p>
        </p:txBody>
      </p:sp>
      <p:sp>
        <p:nvSpPr>
          <p:cNvPr id="16" name="TextBox 15"/>
          <p:cNvSpPr txBox="1"/>
          <p:nvPr/>
        </p:nvSpPr>
        <p:spPr>
          <a:xfrm>
            <a:off x="1905716" y="4447763"/>
            <a:ext cx="6737684" cy="461665"/>
          </a:xfrm>
          <a:prstGeom prst="rect">
            <a:avLst/>
          </a:prstGeom>
          <a:noFill/>
        </p:spPr>
        <p:txBody>
          <a:bodyPr wrap="square" rtlCol="0">
            <a:spAutoFit/>
          </a:bodyPr>
          <a:lstStyle/>
          <a:p>
            <a:pPr algn="just">
              <a:buClr>
                <a:srgbClr val="2846A8"/>
              </a:buClr>
            </a:pPr>
            <a:r>
              <a:rPr lang="en-US" sz="1200" dirty="0">
                <a:solidFill>
                  <a:srgbClr val="2846A8"/>
                </a:solidFill>
                <a:latin typeface="Cambria" panose="02040503050406030204" pitchFamily="18" charset="0"/>
                <a:ea typeface="Cambria" panose="02040503050406030204" pitchFamily="18" charset="0"/>
              </a:rPr>
              <a:t>The investment must be maintained in the beneficiary region for a minimum of 5 years after its completion or, at least 3 years for SMEs. </a:t>
            </a:r>
            <a:endParaRPr lang="en-US" sz="1200" dirty="0"/>
          </a:p>
        </p:txBody>
      </p:sp>
    </p:spTree>
    <p:extLst>
      <p:ext uri="{BB962C8B-B14F-4D97-AF65-F5344CB8AC3E}">
        <p14:creationId xmlns:p14="http://schemas.microsoft.com/office/powerpoint/2010/main" val="9486503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6307708" y="4834381"/>
            <a:ext cx="2468880" cy="128818"/>
          </a:xfrm>
          <a:prstGeom prst="rect">
            <a:avLst/>
          </a:prstGeom>
          <a:noFill/>
          <a:ln w="9525">
            <a:noFill/>
          </a:ln>
        </p:spPr>
        <p:txBody>
          <a:bodyPr wrap="square" lIns="0" tIns="0" rIns="0" bIns="0" rtlCol="0">
            <a:spAutoFit/>
          </a:bodyPr>
          <a:lstStyle/>
          <a:p>
            <a:pPr>
              <a:lnSpc>
                <a:spcPct val="93000"/>
              </a:lnSpc>
            </a:pPr>
            <a:r>
              <a:rPr lang="en-US" sz="900" dirty="0">
                <a:solidFill>
                  <a:srgbClr val="2846A8"/>
                </a:solidFill>
                <a:latin typeface="Cambria" panose="02040503050406030204" pitchFamily="18" charset="0"/>
                <a:cs typeface="Arial" pitchFamily="34" charset="0"/>
              </a:rPr>
              <a:t>(Source: The Official Monitor, August 4</a:t>
            </a:r>
            <a:r>
              <a:rPr lang="en-US" sz="900" baseline="30000" dirty="0">
                <a:solidFill>
                  <a:srgbClr val="2846A8"/>
                </a:solidFill>
                <a:latin typeface="Cambria" panose="02040503050406030204" pitchFamily="18" charset="0"/>
                <a:cs typeface="Arial" pitchFamily="34" charset="0"/>
              </a:rPr>
              <a:t>th</a:t>
            </a:r>
            <a:r>
              <a:rPr lang="en-US" sz="900" dirty="0">
                <a:solidFill>
                  <a:srgbClr val="2846A8"/>
                </a:solidFill>
                <a:latin typeface="Cambria" panose="02040503050406030204" pitchFamily="18" charset="0"/>
                <a:cs typeface="Arial" pitchFamily="34" charset="0"/>
              </a:rPr>
              <a:t>, 2022)</a:t>
            </a:r>
          </a:p>
        </p:txBody>
      </p:sp>
      <p:grpSp>
        <p:nvGrpSpPr>
          <p:cNvPr id="3" name="Group 2"/>
          <p:cNvGrpSpPr/>
          <p:nvPr/>
        </p:nvGrpSpPr>
        <p:grpSpPr>
          <a:xfrm>
            <a:off x="1924950" y="1104186"/>
            <a:ext cx="5488423" cy="3693453"/>
            <a:chOff x="243637" y="1390639"/>
            <a:chExt cx="5312337" cy="3551804"/>
          </a:xfrm>
        </p:grpSpPr>
        <p:grpSp>
          <p:nvGrpSpPr>
            <p:cNvPr id="104" name="Group 103"/>
            <p:cNvGrpSpPr/>
            <p:nvPr/>
          </p:nvGrpSpPr>
          <p:grpSpPr>
            <a:xfrm>
              <a:off x="243637" y="1390639"/>
              <a:ext cx="5312337" cy="3551804"/>
              <a:chOff x="2298850" y="2557007"/>
              <a:chExt cx="5185596" cy="3383280"/>
            </a:xfrm>
          </p:grpSpPr>
          <p:sp>
            <p:nvSpPr>
              <p:cNvPr id="105" name="Freeform 10"/>
              <p:cNvSpPr>
                <a:spLocks/>
              </p:cNvSpPr>
              <p:nvPr/>
            </p:nvSpPr>
            <p:spPr bwMode="auto">
              <a:xfrm>
                <a:off x="6076120" y="3467890"/>
                <a:ext cx="594693" cy="711356"/>
              </a:xfrm>
              <a:custGeom>
                <a:avLst/>
                <a:gdLst>
                  <a:gd name="T0" fmla="*/ 2147483646 w 504"/>
                  <a:gd name="T1" fmla="*/ 2147483646 h 656"/>
                  <a:gd name="T2" fmla="*/ 2147483646 w 504"/>
                  <a:gd name="T3" fmla="*/ 2147483646 h 656"/>
                  <a:gd name="T4" fmla="*/ 2147483646 w 504"/>
                  <a:gd name="T5" fmla="*/ 2147483646 h 656"/>
                  <a:gd name="T6" fmla="*/ 2147483646 w 504"/>
                  <a:gd name="T7" fmla="*/ 2147483646 h 656"/>
                  <a:gd name="T8" fmla="*/ 2147483646 w 504"/>
                  <a:gd name="T9" fmla="*/ 2147483646 h 656"/>
                  <a:gd name="T10" fmla="*/ 2147483646 w 504"/>
                  <a:gd name="T11" fmla="*/ 2147483646 h 656"/>
                  <a:gd name="T12" fmla="*/ 2147483646 w 504"/>
                  <a:gd name="T13" fmla="*/ 2147483646 h 656"/>
                  <a:gd name="T14" fmla="*/ 2147483646 w 504"/>
                  <a:gd name="T15" fmla="*/ 2147483646 h 656"/>
                  <a:gd name="T16" fmla="*/ 2147483646 w 504"/>
                  <a:gd name="T17" fmla="*/ 0 h 656"/>
                  <a:gd name="T18" fmla="*/ 2147483646 w 504"/>
                  <a:gd name="T19" fmla="*/ 2147483646 h 656"/>
                  <a:gd name="T20" fmla="*/ 2147483646 w 504"/>
                  <a:gd name="T21" fmla="*/ 2147483646 h 656"/>
                  <a:gd name="T22" fmla="*/ 2147483646 w 504"/>
                  <a:gd name="T23" fmla="*/ 2147483646 h 656"/>
                  <a:gd name="T24" fmla="*/ 2147483646 w 504"/>
                  <a:gd name="T25" fmla="*/ 2147483646 h 656"/>
                  <a:gd name="T26" fmla="*/ 2147483646 w 504"/>
                  <a:gd name="T27" fmla="*/ 2147483646 h 656"/>
                  <a:gd name="T28" fmla="*/ 0 w 504"/>
                  <a:gd name="T29" fmla="*/ 2147483646 h 656"/>
                  <a:gd name="T30" fmla="*/ 2147483646 w 504"/>
                  <a:gd name="T31" fmla="*/ 2147483646 h 656"/>
                  <a:gd name="T32" fmla="*/ 2147483646 w 504"/>
                  <a:gd name="T33" fmla="*/ 2147483646 h 656"/>
                  <a:gd name="T34" fmla="*/ 2147483646 w 504"/>
                  <a:gd name="T35" fmla="*/ 2147483646 h 656"/>
                  <a:gd name="T36" fmla="*/ 2147483646 w 504"/>
                  <a:gd name="T37" fmla="*/ 2147483646 h 656"/>
                  <a:gd name="T38" fmla="*/ 2147483646 w 504"/>
                  <a:gd name="T39" fmla="*/ 2147483646 h 656"/>
                  <a:gd name="T40" fmla="*/ 2147483646 w 504"/>
                  <a:gd name="T41" fmla="*/ 2147483646 h 656"/>
                  <a:gd name="T42" fmla="*/ 2147483646 w 504"/>
                  <a:gd name="T43" fmla="*/ 2147483646 h 656"/>
                  <a:gd name="T44" fmla="*/ 2147483646 w 504"/>
                  <a:gd name="T45" fmla="*/ 2147483646 h 656"/>
                  <a:gd name="T46" fmla="*/ 2147483646 w 504"/>
                  <a:gd name="T47" fmla="*/ 2147483646 h 656"/>
                  <a:gd name="T48" fmla="*/ 2147483646 w 504"/>
                  <a:gd name="T49" fmla="*/ 2147483646 h 656"/>
                  <a:gd name="T50" fmla="*/ 2147483646 w 504"/>
                  <a:gd name="T51" fmla="*/ 2147483646 h 656"/>
                  <a:gd name="T52" fmla="*/ 2147483646 w 504"/>
                  <a:gd name="T53" fmla="*/ 2147483646 h 656"/>
                  <a:gd name="T54" fmla="*/ 2147483646 w 504"/>
                  <a:gd name="T55" fmla="*/ 2147483646 h 656"/>
                  <a:gd name="T56" fmla="*/ 2147483646 w 504"/>
                  <a:gd name="T57" fmla="*/ 2147483646 h 656"/>
                  <a:gd name="T58" fmla="*/ 2147483646 w 504"/>
                  <a:gd name="T59" fmla="*/ 2147483646 h 656"/>
                  <a:gd name="T60" fmla="*/ 2147483646 w 504"/>
                  <a:gd name="T61" fmla="*/ 2147483646 h 656"/>
                  <a:gd name="T62" fmla="*/ 2147483646 w 504"/>
                  <a:gd name="T63" fmla="*/ 2147483646 h 656"/>
                  <a:gd name="T64" fmla="*/ 2147483646 w 504"/>
                  <a:gd name="T65" fmla="*/ 2147483646 h 656"/>
                  <a:gd name="T66" fmla="*/ 2147483646 w 504"/>
                  <a:gd name="T67" fmla="*/ 2147483646 h 656"/>
                  <a:gd name="T68" fmla="*/ 2147483646 w 504"/>
                  <a:gd name="T69" fmla="*/ 2147483646 h 656"/>
                  <a:gd name="T70" fmla="*/ 2147483646 w 504"/>
                  <a:gd name="T71" fmla="*/ 2147483646 h 656"/>
                  <a:gd name="T72" fmla="*/ 2147483646 w 504"/>
                  <a:gd name="T73" fmla="*/ 2147483646 h 656"/>
                  <a:gd name="T74" fmla="*/ 2147483646 w 504"/>
                  <a:gd name="T75" fmla="*/ 2147483646 h 656"/>
                  <a:gd name="T76" fmla="*/ 2147483646 w 504"/>
                  <a:gd name="T77" fmla="*/ 2147483646 h 656"/>
                  <a:gd name="T78" fmla="*/ 2147483646 w 504"/>
                  <a:gd name="T79" fmla="*/ 2147483646 h 656"/>
                  <a:gd name="T80" fmla="*/ 2147483646 w 504"/>
                  <a:gd name="T81" fmla="*/ 2147483646 h 656"/>
                  <a:gd name="T82" fmla="*/ 2147483646 w 504"/>
                  <a:gd name="T83" fmla="*/ 2147483646 h 6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4"/>
                  <a:gd name="T127" fmla="*/ 0 h 656"/>
                  <a:gd name="T128" fmla="*/ 504 w 504"/>
                  <a:gd name="T129" fmla="*/ 656 h 6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4" h="656">
                    <a:moveTo>
                      <a:pt x="432" y="88"/>
                    </a:moveTo>
                    <a:lnTo>
                      <a:pt x="392" y="96"/>
                    </a:lnTo>
                    <a:lnTo>
                      <a:pt x="360" y="72"/>
                    </a:lnTo>
                    <a:lnTo>
                      <a:pt x="344" y="120"/>
                    </a:lnTo>
                    <a:lnTo>
                      <a:pt x="304" y="80"/>
                    </a:lnTo>
                    <a:lnTo>
                      <a:pt x="296" y="24"/>
                    </a:lnTo>
                    <a:lnTo>
                      <a:pt x="256" y="64"/>
                    </a:lnTo>
                    <a:lnTo>
                      <a:pt x="240" y="8"/>
                    </a:lnTo>
                    <a:lnTo>
                      <a:pt x="200" y="0"/>
                    </a:lnTo>
                    <a:lnTo>
                      <a:pt x="200" y="48"/>
                    </a:lnTo>
                    <a:lnTo>
                      <a:pt x="136" y="80"/>
                    </a:lnTo>
                    <a:lnTo>
                      <a:pt x="96" y="40"/>
                    </a:lnTo>
                    <a:lnTo>
                      <a:pt x="64" y="72"/>
                    </a:lnTo>
                    <a:lnTo>
                      <a:pt x="8" y="80"/>
                    </a:lnTo>
                    <a:lnTo>
                      <a:pt x="0" y="112"/>
                    </a:lnTo>
                    <a:lnTo>
                      <a:pt x="8" y="152"/>
                    </a:lnTo>
                    <a:lnTo>
                      <a:pt x="48" y="184"/>
                    </a:lnTo>
                    <a:lnTo>
                      <a:pt x="40" y="256"/>
                    </a:lnTo>
                    <a:lnTo>
                      <a:pt x="120" y="376"/>
                    </a:lnTo>
                    <a:lnTo>
                      <a:pt x="128" y="416"/>
                    </a:lnTo>
                    <a:lnTo>
                      <a:pt x="160" y="464"/>
                    </a:lnTo>
                    <a:lnTo>
                      <a:pt x="160" y="544"/>
                    </a:lnTo>
                    <a:lnTo>
                      <a:pt x="160" y="584"/>
                    </a:lnTo>
                    <a:lnTo>
                      <a:pt x="184" y="592"/>
                    </a:lnTo>
                    <a:lnTo>
                      <a:pt x="184" y="656"/>
                    </a:lnTo>
                    <a:lnTo>
                      <a:pt x="232" y="624"/>
                    </a:lnTo>
                    <a:lnTo>
                      <a:pt x="240" y="576"/>
                    </a:lnTo>
                    <a:lnTo>
                      <a:pt x="312" y="568"/>
                    </a:lnTo>
                    <a:lnTo>
                      <a:pt x="344" y="536"/>
                    </a:lnTo>
                    <a:lnTo>
                      <a:pt x="376" y="568"/>
                    </a:lnTo>
                    <a:lnTo>
                      <a:pt x="456" y="576"/>
                    </a:lnTo>
                    <a:lnTo>
                      <a:pt x="464" y="528"/>
                    </a:lnTo>
                    <a:lnTo>
                      <a:pt x="432" y="496"/>
                    </a:lnTo>
                    <a:lnTo>
                      <a:pt x="456" y="464"/>
                    </a:lnTo>
                    <a:lnTo>
                      <a:pt x="480" y="440"/>
                    </a:lnTo>
                    <a:lnTo>
                      <a:pt x="472" y="416"/>
                    </a:lnTo>
                    <a:lnTo>
                      <a:pt x="504" y="344"/>
                    </a:lnTo>
                    <a:lnTo>
                      <a:pt x="472" y="312"/>
                    </a:lnTo>
                    <a:lnTo>
                      <a:pt x="496" y="248"/>
                    </a:lnTo>
                    <a:lnTo>
                      <a:pt x="488" y="208"/>
                    </a:lnTo>
                    <a:lnTo>
                      <a:pt x="456" y="152"/>
                    </a:lnTo>
                    <a:lnTo>
                      <a:pt x="432" y="88"/>
                    </a:lnTo>
                    <a:close/>
                  </a:path>
                </a:pathLst>
              </a:custGeom>
              <a:solidFill>
                <a:srgbClr val="9950A8"/>
              </a:solidFill>
              <a:ln w="9525">
                <a:solidFill>
                  <a:schemeClr val="bg1"/>
                </a:solidFill>
                <a:round/>
                <a:headEnd/>
                <a:tailEnd/>
              </a:ln>
            </p:spPr>
            <p:txBody>
              <a:bodyPr/>
              <a:lstStyle/>
              <a:p>
                <a:endParaRPr lang="en-US" sz="1050"/>
              </a:p>
            </p:txBody>
          </p:sp>
          <p:sp>
            <p:nvSpPr>
              <p:cNvPr id="106" name="Freeform 4"/>
              <p:cNvSpPr>
                <a:spLocks/>
              </p:cNvSpPr>
              <p:nvPr/>
            </p:nvSpPr>
            <p:spPr bwMode="auto">
              <a:xfrm>
                <a:off x="5476206" y="2557007"/>
                <a:ext cx="678842" cy="581230"/>
              </a:xfrm>
              <a:custGeom>
                <a:avLst/>
                <a:gdLst>
                  <a:gd name="T0" fmla="*/ 0 w 576"/>
                  <a:gd name="T1" fmla="*/ 2147483646 h 536"/>
                  <a:gd name="T2" fmla="*/ 2147483646 w 576"/>
                  <a:gd name="T3" fmla="*/ 2147483646 h 536"/>
                  <a:gd name="T4" fmla="*/ 2147483646 w 576"/>
                  <a:gd name="T5" fmla="*/ 2147483646 h 536"/>
                  <a:gd name="T6" fmla="*/ 2147483646 w 576"/>
                  <a:gd name="T7" fmla="*/ 2147483646 h 536"/>
                  <a:gd name="T8" fmla="*/ 2147483646 w 576"/>
                  <a:gd name="T9" fmla="*/ 2147483646 h 536"/>
                  <a:gd name="T10" fmla="*/ 2147483646 w 576"/>
                  <a:gd name="T11" fmla="*/ 2147483646 h 536"/>
                  <a:gd name="T12" fmla="*/ 2147483646 w 576"/>
                  <a:gd name="T13" fmla="*/ 2147483646 h 536"/>
                  <a:gd name="T14" fmla="*/ 2147483646 w 576"/>
                  <a:gd name="T15" fmla="*/ 0 h 536"/>
                  <a:gd name="T16" fmla="*/ 2147483646 w 576"/>
                  <a:gd name="T17" fmla="*/ 2147483646 h 536"/>
                  <a:gd name="T18" fmla="*/ 2147483646 w 576"/>
                  <a:gd name="T19" fmla="*/ 2147483646 h 536"/>
                  <a:gd name="T20" fmla="*/ 2147483646 w 576"/>
                  <a:gd name="T21" fmla="*/ 2147483646 h 536"/>
                  <a:gd name="T22" fmla="*/ 2147483646 w 576"/>
                  <a:gd name="T23" fmla="*/ 2147483646 h 536"/>
                  <a:gd name="T24" fmla="*/ 2147483646 w 576"/>
                  <a:gd name="T25" fmla="*/ 2147483646 h 536"/>
                  <a:gd name="T26" fmla="*/ 2147483646 w 576"/>
                  <a:gd name="T27" fmla="*/ 2147483646 h 536"/>
                  <a:gd name="T28" fmla="*/ 2147483646 w 576"/>
                  <a:gd name="T29" fmla="*/ 2147483646 h 536"/>
                  <a:gd name="T30" fmla="*/ 2147483646 w 576"/>
                  <a:gd name="T31" fmla="*/ 2147483646 h 536"/>
                  <a:gd name="T32" fmla="*/ 2147483646 w 576"/>
                  <a:gd name="T33" fmla="*/ 2147483646 h 536"/>
                  <a:gd name="T34" fmla="*/ 2147483646 w 576"/>
                  <a:gd name="T35" fmla="*/ 2147483646 h 536"/>
                  <a:gd name="T36" fmla="*/ 2147483646 w 576"/>
                  <a:gd name="T37" fmla="*/ 2147483646 h 536"/>
                  <a:gd name="T38" fmla="*/ 2147483646 w 576"/>
                  <a:gd name="T39" fmla="*/ 2147483646 h 536"/>
                  <a:gd name="T40" fmla="*/ 2147483646 w 576"/>
                  <a:gd name="T41" fmla="*/ 2147483646 h 536"/>
                  <a:gd name="T42" fmla="*/ 2147483646 w 576"/>
                  <a:gd name="T43" fmla="*/ 2147483646 h 536"/>
                  <a:gd name="T44" fmla="*/ 2147483646 w 576"/>
                  <a:gd name="T45" fmla="*/ 2147483646 h 536"/>
                  <a:gd name="T46" fmla="*/ 2147483646 w 576"/>
                  <a:gd name="T47" fmla="*/ 2147483646 h 536"/>
                  <a:gd name="T48" fmla="*/ 2147483646 w 576"/>
                  <a:gd name="T49" fmla="*/ 2147483646 h 536"/>
                  <a:gd name="T50" fmla="*/ 2147483646 w 576"/>
                  <a:gd name="T51" fmla="*/ 2147483646 h 536"/>
                  <a:gd name="T52" fmla="*/ 2147483646 w 576"/>
                  <a:gd name="T53" fmla="*/ 2147483646 h 536"/>
                  <a:gd name="T54" fmla="*/ 2147483646 w 576"/>
                  <a:gd name="T55" fmla="*/ 2147483646 h 536"/>
                  <a:gd name="T56" fmla="*/ 2147483646 w 576"/>
                  <a:gd name="T57" fmla="*/ 2147483646 h 536"/>
                  <a:gd name="T58" fmla="*/ 2147483646 w 576"/>
                  <a:gd name="T59" fmla="*/ 2147483646 h 536"/>
                  <a:gd name="T60" fmla="*/ 2147483646 w 576"/>
                  <a:gd name="T61" fmla="*/ 2147483646 h 536"/>
                  <a:gd name="T62" fmla="*/ 2147483646 w 576"/>
                  <a:gd name="T63" fmla="*/ 2147483646 h 536"/>
                  <a:gd name="T64" fmla="*/ 2147483646 w 576"/>
                  <a:gd name="T65" fmla="*/ 2147483646 h 536"/>
                  <a:gd name="T66" fmla="*/ 2147483646 w 576"/>
                  <a:gd name="T67" fmla="*/ 2147483646 h 536"/>
                  <a:gd name="T68" fmla="*/ 2147483646 w 576"/>
                  <a:gd name="T69" fmla="*/ 2147483646 h 536"/>
                  <a:gd name="T70" fmla="*/ 2147483646 w 576"/>
                  <a:gd name="T71" fmla="*/ 2147483646 h 536"/>
                  <a:gd name="T72" fmla="*/ 2147483646 w 576"/>
                  <a:gd name="T73" fmla="*/ 2147483646 h 536"/>
                  <a:gd name="T74" fmla="*/ 2147483646 w 576"/>
                  <a:gd name="T75" fmla="*/ 2147483646 h 536"/>
                  <a:gd name="T76" fmla="*/ 0 w 576"/>
                  <a:gd name="T77" fmla="*/ 2147483646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6"/>
                  <a:gd name="T118" fmla="*/ 0 h 536"/>
                  <a:gd name="T119" fmla="*/ 576 w 576"/>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6" h="536">
                    <a:moveTo>
                      <a:pt x="0" y="192"/>
                    </a:moveTo>
                    <a:lnTo>
                      <a:pt x="48" y="168"/>
                    </a:lnTo>
                    <a:lnTo>
                      <a:pt x="72" y="128"/>
                    </a:lnTo>
                    <a:lnTo>
                      <a:pt x="96" y="64"/>
                    </a:lnTo>
                    <a:lnTo>
                      <a:pt x="96" y="40"/>
                    </a:lnTo>
                    <a:lnTo>
                      <a:pt x="184" y="32"/>
                    </a:lnTo>
                    <a:lnTo>
                      <a:pt x="200" y="32"/>
                    </a:lnTo>
                    <a:lnTo>
                      <a:pt x="256" y="0"/>
                    </a:lnTo>
                    <a:lnTo>
                      <a:pt x="344" y="16"/>
                    </a:lnTo>
                    <a:lnTo>
                      <a:pt x="360" y="48"/>
                    </a:lnTo>
                    <a:lnTo>
                      <a:pt x="392" y="32"/>
                    </a:lnTo>
                    <a:lnTo>
                      <a:pt x="392" y="80"/>
                    </a:lnTo>
                    <a:lnTo>
                      <a:pt x="424" y="72"/>
                    </a:lnTo>
                    <a:lnTo>
                      <a:pt x="424" y="112"/>
                    </a:lnTo>
                    <a:lnTo>
                      <a:pt x="472" y="184"/>
                    </a:lnTo>
                    <a:lnTo>
                      <a:pt x="472" y="232"/>
                    </a:lnTo>
                    <a:lnTo>
                      <a:pt x="496" y="248"/>
                    </a:lnTo>
                    <a:lnTo>
                      <a:pt x="520" y="280"/>
                    </a:lnTo>
                    <a:lnTo>
                      <a:pt x="536" y="344"/>
                    </a:lnTo>
                    <a:lnTo>
                      <a:pt x="536" y="384"/>
                    </a:lnTo>
                    <a:lnTo>
                      <a:pt x="576" y="424"/>
                    </a:lnTo>
                    <a:lnTo>
                      <a:pt x="504" y="464"/>
                    </a:lnTo>
                    <a:lnTo>
                      <a:pt x="456" y="456"/>
                    </a:lnTo>
                    <a:lnTo>
                      <a:pt x="432" y="512"/>
                    </a:lnTo>
                    <a:lnTo>
                      <a:pt x="400" y="488"/>
                    </a:lnTo>
                    <a:lnTo>
                      <a:pt x="304" y="488"/>
                    </a:lnTo>
                    <a:lnTo>
                      <a:pt x="328" y="512"/>
                    </a:lnTo>
                    <a:lnTo>
                      <a:pt x="280" y="512"/>
                    </a:lnTo>
                    <a:lnTo>
                      <a:pt x="224" y="536"/>
                    </a:lnTo>
                    <a:lnTo>
                      <a:pt x="208" y="504"/>
                    </a:lnTo>
                    <a:lnTo>
                      <a:pt x="240" y="472"/>
                    </a:lnTo>
                    <a:lnTo>
                      <a:pt x="184" y="376"/>
                    </a:lnTo>
                    <a:lnTo>
                      <a:pt x="184" y="328"/>
                    </a:lnTo>
                    <a:lnTo>
                      <a:pt x="136" y="288"/>
                    </a:lnTo>
                    <a:lnTo>
                      <a:pt x="120" y="312"/>
                    </a:lnTo>
                    <a:lnTo>
                      <a:pt x="64" y="240"/>
                    </a:lnTo>
                    <a:lnTo>
                      <a:pt x="40" y="248"/>
                    </a:lnTo>
                    <a:lnTo>
                      <a:pt x="8" y="216"/>
                    </a:lnTo>
                    <a:lnTo>
                      <a:pt x="0" y="192"/>
                    </a:lnTo>
                    <a:close/>
                  </a:path>
                </a:pathLst>
              </a:custGeom>
              <a:solidFill>
                <a:srgbClr val="9950A8"/>
              </a:solidFill>
              <a:ln w="9525">
                <a:solidFill>
                  <a:schemeClr val="bg1"/>
                </a:solidFill>
                <a:round/>
                <a:headEnd/>
                <a:tailEnd/>
              </a:ln>
            </p:spPr>
            <p:txBody>
              <a:bodyPr/>
              <a:lstStyle/>
              <a:p>
                <a:endParaRPr lang="en-US" sz="1050"/>
              </a:p>
            </p:txBody>
          </p:sp>
          <p:sp>
            <p:nvSpPr>
              <p:cNvPr id="107" name="Freeform 5"/>
              <p:cNvSpPr>
                <a:spLocks/>
              </p:cNvSpPr>
              <p:nvPr/>
            </p:nvSpPr>
            <p:spPr bwMode="auto">
              <a:xfrm>
                <a:off x="5721343" y="3016786"/>
                <a:ext cx="857981" cy="581230"/>
              </a:xfrm>
              <a:custGeom>
                <a:avLst/>
                <a:gdLst>
                  <a:gd name="T0" fmla="*/ 2147483646 w 728"/>
                  <a:gd name="T1" fmla="*/ 0 h 536"/>
                  <a:gd name="T2" fmla="*/ 2147483646 w 728"/>
                  <a:gd name="T3" fmla="*/ 2147483646 h 536"/>
                  <a:gd name="T4" fmla="*/ 2147483646 w 728"/>
                  <a:gd name="T5" fmla="*/ 2147483646 h 536"/>
                  <a:gd name="T6" fmla="*/ 2147483646 w 728"/>
                  <a:gd name="T7" fmla="*/ 2147483646 h 536"/>
                  <a:gd name="T8" fmla="*/ 2147483646 w 728"/>
                  <a:gd name="T9" fmla="*/ 2147483646 h 536"/>
                  <a:gd name="T10" fmla="*/ 2147483646 w 728"/>
                  <a:gd name="T11" fmla="*/ 2147483646 h 536"/>
                  <a:gd name="T12" fmla="*/ 2147483646 w 728"/>
                  <a:gd name="T13" fmla="*/ 2147483646 h 536"/>
                  <a:gd name="T14" fmla="*/ 2147483646 w 728"/>
                  <a:gd name="T15" fmla="*/ 2147483646 h 536"/>
                  <a:gd name="T16" fmla="*/ 2147483646 w 728"/>
                  <a:gd name="T17" fmla="*/ 2147483646 h 536"/>
                  <a:gd name="T18" fmla="*/ 2147483646 w 728"/>
                  <a:gd name="T19" fmla="*/ 2147483646 h 536"/>
                  <a:gd name="T20" fmla="*/ 2147483646 w 728"/>
                  <a:gd name="T21" fmla="*/ 2147483646 h 536"/>
                  <a:gd name="T22" fmla="*/ 0 w 728"/>
                  <a:gd name="T23" fmla="*/ 2147483646 h 536"/>
                  <a:gd name="T24" fmla="*/ 2147483646 w 728"/>
                  <a:gd name="T25" fmla="*/ 2147483646 h 536"/>
                  <a:gd name="T26" fmla="*/ 2147483646 w 728"/>
                  <a:gd name="T27" fmla="*/ 2147483646 h 536"/>
                  <a:gd name="T28" fmla="*/ 2147483646 w 728"/>
                  <a:gd name="T29" fmla="*/ 2147483646 h 536"/>
                  <a:gd name="T30" fmla="*/ 2147483646 w 728"/>
                  <a:gd name="T31" fmla="*/ 2147483646 h 536"/>
                  <a:gd name="T32" fmla="*/ 2147483646 w 728"/>
                  <a:gd name="T33" fmla="*/ 2147483646 h 536"/>
                  <a:gd name="T34" fmla="*/ 2147483646 w 728"/>
                  <a:gd name="T35" fmla="*/ 2147483646 h 536"/>
                  <a:gd name="T36" fmla="*/ 2147483646 w 728"/>
                  <a:gd name="T37" fmla="*/ 2147483646 h 536"/>
                  <a:gd name="T38" fmla="*/ 2147483646 w 728"/>
                  <a:gd name="T39" fmla="*/ 2147483646 h 536"/>
                  <a:gd name="T40" fmla="*/ 2147483646 w 728"/>
                  <a:gd name="T41" fmla="*/ 2147483646 h 536"/>
                  <a:gd name="T42" fmla="*/ 2147483646 w 728"/>
                  <a:gd name="T43" fmla="*/ 2147483646 h 536"/>
                  <a:gd name="T44" fmla="*/ 2147483646 w 728"/>
                  <a:gd name="T45" fmla="*/ 2147483646 h 536"/>
                  <a:gd name="T46" fmla="*/ 2147483646 w 728"/>
                  <a:gd name="T47" fmla="*/ 2147483646 h 536"/>
                  <a:gd name="T48" fmla="*/ 2147483646 w 728"/>
                  <a:gd name="T49" fmla="*/ 2147483646 h 536"/>
                  <a:gd name="T50" fmla="*/ 2147483646 w 728"/>
                  <a:gd name="T51" fmla="*/ 2147483646 h 536"/>
                  <a:gd name="T52" fmla="*/ 2147483646 w 728"/>
                  <a:gd name="T53" fmla="*/ 2147483646 h 536"/>
                  <a:gd name="T54" fmla="*/ 2147483646 w 728"/>
                  <a:gd name="T55" fmla="*/ 2147483646 h 536"/>
                  <a:gd name="T56" fmla="*/ 2147483646 w 728"/>
                  <a:gd name="T57" fmla="*/ 2147483646 h 536"/>
                  <a:gd name="T58" fmla="*/ 2147483646 w 728"/>
                  <a:gd name="T59" fmla="*/ 2147483646 h 536"/>
                  <a:gd name="T60" fmla="*/ 2147483646 w 728"/>
                  <a:gd name="T61" fmla="*/ 2147483646 h 536"/>
                  <a:gd name="T62" fmla="*/ 2147483646 w 728"/>
                  <a:gd name="T63" fmla="*/ 2147483646 h 536"/>
                  <a:gd name="T64" fmla="*/ 2147483646 w 728"/>
                  <a:gd name="T65" fmla="*/ 2147483646 h 536"/>
                  <a:gd name="T66" fmla="*/ 2147483646 w 728"/>
                  <a:gd name="T67" fmla="*/ 2147483646 h 536"/>
                  <a:gd name="T68" fmla="*/ 2147483646 w 728"/>
                  <a:gd name="T69" fmla="*/ 2147483646 h 536"/>
                  <a:gd name="T70" fmla="*/ 2147483646 w 728"/>
                  <a:gd name="T71" fmla="*/ 2147483646 h 536"/>
                  <a:gd name="T72" fmla="*/ 2147483646 w 728"/>
                  <a:gd name="T73" fmla="*/ 2147483646 h 536"/>
                  <a:gd name="T74" fmla="*/ 2147483646 w 728"/>
                  <a:gd name="T75" fmla="*/ 2147483646 h 536"/>
                  <a:gd name="T76" fmla="*/ 2147483646 w 728"/>
                  <a:gd name="T77" fmla="*/ 2147483646 h 536"/>
                  <a:gd name="T78" fmla="*/ 2147483646 w 728"/>
                  <a:gd name="T79" fmla="*/ 2147483646 h 536"/>
                  <a:gd name="T80" fmla="*/ 2147483646 w 728"/>
                  <a:gd name="T81" fmla="*/ 2147483646 h 536"/>
                  <a:gd name="T82" fmla="*/ 2147483646 w 728"/>
                  <a:gd name="T83" fmla="*/ 2147483646 h 536"/>
                  <a:gd name="T84" fmla="*/ 2147483646 w 728"/>
                  <a:gd name="T85" fmla="*/ 2147483646 h 536"/>
                  <a:gd name="T86" fmla="*/ 2147483646 w 728"/>
                  <a:gd name="T87" fmla="*/ 2147483646 h 536"/>
                  <a:gd name="T88" fmla="*/ 2147483646 w 728"/>
                  <a:gd name="T89" fmla="*/ 2147483646 h 536"/>
                  <a:gd name="T90" fmla="*/ 2147483646 w 728"/>
                  <a:gd name="T91" fmla="*/ 2147483646 h 536"/>
                  <a:gd name="T92" fmla="*/ 2147483646 w 728"/>
                  <a:gd name="T93" fmla="*/ 2147483646 h 536"/>
                  <a:gd name="T94" fmla="*/ 2147483646 w 728"/>
                  <a:gd name="T95" fmla="*/ 0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8"/>
                  <a:gd name="T145" fmla="*/ 0 h 536"/>
                  <a:gd name="T146" fmla="*/ 728 w 728"/>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8" h="536">
                    <a:moveTo>
                      <a:pt x="368" y="0"/>
                    </a:moveTo>
                    <a:lnTo>
                      <a:pt x="296" y="40"/>
                    </a:lnTo>
                    <a:lnTo>
                      <a:pt x="248" y="32"/>
                    </a:lnTo>
                    <a:lnTo>
                      <a:pt x="224" y="88"/>
                    </a:lnTo>
                    <a:lnTo>
                      <a:pt x="192" y="64"/>
                    </a:lnTo>
                    <a:lnTo>
                      <a:pt x="96" y="64"/>
                    </a:lnTo>
                    <a:lnTo>
                      <a:pt x="120" y="88"/>
                    </a:lnTo>
                    <a:lnTo>
                      <a:pt x="72" y="88"/>
                    </a:lnTo>
                    <a:lnTo>
                      <a:pt x="80" y="152"/>
                    </a:lnTo>
                    <a:lnTo>
                      <a:pt x="48" y="144"/>
                    </a:lnTo>
                    <a:lnTo>
                      <a:pt x="48" y="176"/>
                    </a:lnTo>
                    <a:lnTo>
                      <a:pt x="0" y="160"/>
                    </a:lnTo>
                    <a:lnTo>
                      <a:pt x="16" y="240"/>
                    </a:lnTo>
                    <a:lnTo>
                      <a:pt x="48" y="312"/>
                    </a:lnTo>
                    <a:lnTo>
                      <a:pt x="80" y="352"/>
                    </a:lnTo>
                    <a:lnTo>
                      <a:pt x="128" y="352"/>
                    </a:lnTo>
                    <a:lnTo>
                      <a:pt x="152" y="392"/>
                    </a:lnTo>
                    <a:lnTo>
                      <a:pt x="216" y="384"/>
                    </a:lnTo>
                    <a:lnTo>
                      <a:pt x="272" y="344"/>
                    </a:lnTo>
                    <a:lnTo>
                      <a:pt x="296" y="392"/>
                    </a:lnTo>
                    <a:lnTo>
                      <a:pt x="248" y="424"/>
                    </a:lnTo>
                    <a:lnTo>
                      <a:pt x="304" y="496"/>
                    </a:lnTo>
                    <a:lnTo>
                      <a:pt x="360" y="488"/>
                    </a:lnTo>
                    <a:lnTo>
                      <a:pt x="392" y="456"/>
                    </a:lnTo>
                    <a:lnTo>
                      <a:pt x="432" y="496"/>
                    </a:lnTo>
                    <a:lnTo>
                      <a:pt x="496" y="464"/>
                    </a:lnTo>
                    <a:lnTo>
                      <a:pt x="496" y="416"/>
                    </a:lnTo>
                    <a:lnTo>
                      <a:pt x="536" y="424"/>
                    </a:lnTo>
                    <a:lnTo>
                      <a:pt x="552" y="480"/>
                    </a:lnTo>
                    <a:lnTo>
                      <a:pt x="592" y="440"/>
                    </a:lnTo>
                    <a:lnTo>
                      <a:pt x="600" y="496"/>
                    </a:lnTo>
                    <a:lnTo>
                      <a:pt x="640" y="536"/>
                    </a:lnTo>
                    <a:lnTo>
                      <a:pt x="656" y="488"/>
                    </a:lnTo>
                    <a:lnTo>
                      <a:pt x="688" y="512"/>
                    </a:lnTo>
                    <a:lnTo>
                      <a:pt x="728" y="504"/>
                    </a:lnTo>
                    <a:lnTo>
                      <a:pt x="704" y="400"/>
                    </a:lnTo>
                    <a:lnTo>
                      <a:pt x="656" y="376"/>
                    </a:lnTo>
                    <a:lnTo>
                      <a:pt x="616" y="352"/>
                    </a:lnTo>
                    <a:lnTo>
                      <a:pt x="600" y="320"/>
                    </a:lnTo>
                    <a:lnTo>
                      <a:pt x="560" y="312"/>
                    </a:lnTo>
                    <a:lnTo>
                      <a:pt x="560" y="256"/>
                    </a:lnTo>
                    <a:lnTo>
                      <a:pt x="528" y="208"/>
                    </a:lnTo>
                    <a:lnTo>
                      <a:pt x="480" y="208"/>
                    </a:lnTo>
                    <a:lnTo>
                      <a:pt x="464" y="160"/>
                    </a:lnTo>
                    <a:lnTo>
                      <a:pt x="464" y="96"/>
                    </a:lnTo>
                    <a:lnTo>
                      <a:pt x="424" y="88"/>
                    </a:lnTo>
                    <a:lnTo>
                      <a:pt x="400" y="48"/>
                    </a:lnTo>
                    <a:lnTo>
                      <a:pt x="368" y="0"/>
                    </a:lnTo>
                    <a:close/>
                  </a:path>
                </a:pathLst>
              </a:custGeom>
              <a:solidFill>
                <a:srgbClr val="C6CFEB"/>
              </a:solidFill>
              <a:ln w="9525">
                <a:solidFill>
                  <a:schemeClr val="bg1"/>
                </a:solidFill>
                <a:round/>
                <a:headEnd/>
                <a:tailEnd/>
              </a:ln>
            </p:spPr>
            <p:txBody>
              <a:bodyPr/>
              <a:lstStyle/>
              <a:p>
                <a:endParaRPr lang="en-US" sz="1050"/>
              </a:p>
            </p:txBody>
          </p:sp>
          <p:sp>
            <p:nvSpPr>
              <p:cNvPr id="108" name="Freeform 7"/>
              <p:cNvSpPr>
                <a:spLocks/>
              </p:cNvSpPr>
              <p:nvPr/>
            </p:nvSpPr>
            <p:spPr bwMode="auto">
              <a:xfrm>
                <a:off x="5268782" y="3207638"/>
                <a:ext cx="810839" cy="555205"/>
              </a:xfrm>
              <a:custGeom>
                <a:avLst/>
                <a:gdLst>
                  <a:gd name="T0" fmla="*/ 2147483646 w 688"/>
                  <a:gd name="T1" fmla="*/ 2147483646 h 512"/>
                  <a:gd name="T2" fmla="*/ 2147483646 w 688"/>
                  <a:gd name="T3" fmla="*/ 2147483646 h 512"/>
                  <a:gd name="T4" fmla="*/ 2147483646 w 688"/>
                  <a:gd name="T5" fmla="*/ 2147483646 h 512"/>
                  <a:gd name="T6" fmla="*/ 2147483646 w 688"/>
                  <a:gd name="T7" fmla="*/ 2147483646 h 512"/>
                  <a:gd name="T8" fmla="*/ 2147483646 w 688"/>
                  <a:gd name="T9" fmla="*/ 2147483646 h 512"/>
                  <a:gd name="T10" fmla="*/ 2147483646 w 688"/>
                  <a:gd name="T11" fmla="*/ 2147483646 h 512"/>
                  <a:gd name="T12" fmla="*/ 2147483646 w 688"/>
                  <a:gd name="T13" fmla="*/ 2147483646 h 512"/>
                  <a:gd name="T14" fmla="*/ 2147483646 w 688"/>
                  <a:gd name="T15" fmla="*/ 2147483646 h 512"/>
                  <a:gd name="T16" fmla="*/ 2147483646 w 688"/>
                  <a:gd name="T17" fmla="*/ 2147483646 h 512"/>
                  <a:gd name="T18" fmla="*/ 2147483646 w 688"/>
                  <a:gd name="T19" fmla="*/ 2147483646 h 512"/>
                  <a:gd name="T20" fmla="*/ 2147483646 w 688"/>
                  <a:gd name="T21" fmla="*/ 2147483646 h 512"/>
                  <a:gd name="T22" fmla="*/ 2147483646 w 688"/>
                  <a:gd name="T23" fmla="*/ 2147483646 h 512"/>
                  <a:gd name="T24" fmla="*/ 2147483646 w 688"/>
                  <a:gd name="T25" fmla="*/ 2147483646 h 512"/>
                  <a:gd name="T26" fmla="*/ 2147483646 w 688"/>
                  <a:gd name="T27" fmla="*/ 2147483646 h 512"/>
                  <a:gd name="T28" fmla="*/ 2147483646 w 688"/>
                  <a:gd name="T29" fmla="*/ 0 h 512"/>
                  <a:gd name="T30" fmla="*/ 2147483646 w 688"/>
                  <a:gd name="T31" fmla="*/ 2147483646 h 512"/>
                  <a:gd name="T32" fmla="*/ 2147483646 w 688"/>
                  <a:gd name="T33" fmla="*/ 2147483646 h 512"/>
                  <a:gd name="T34" fmla="*/ 0 w 688"/>
                  <a:gd name="T35" fmla="*/ 2147483646 h 512"/>
                  <a:gd name="T36" fmla="*/ 2147483646 w 688"/>
                  <a:gd name="T37" fmla="*/ 2147483646 h 512"/>
                  <a:gd name="T38" fmla="*/ 2147483646 w 688"/>
                  <a:gd name="T39" fmla="*/ 2147483646 h 512"/>
                  <a:gd name="T40" fmla="*/ 2147483646 w 688"/>
                  <a:gd name="T41" fmla="*/ 2147483646 h 512"/>
                  <a:gd name="T42" fmla="*/ 2147483646 w 688"/>
                  <a:gd name="T43" fmla="*/ 2147483646 h 512"/>
                  <a:gd name="T44" fmla="*/ 2147483646 w 688"/>
                  <a:gd name="T45" fmla="*/ 2147483646 h 512"/>
                  <a:gd name="T46" fmla="*/ 2147483646 w 688"/>
                  <a:gd name="T47" fmla="*/ 2147483646 h 512"/>
                  <a:gd name="T48" fmla="*/ 2147483646 w 688"/>
                  <a:gd name="T49" fmla="*/ 2147483646 h 512"/>
                  <a:gd name="T50" fmla="*/ 2147483646 w 688"/>
                  <a:gd name="T51" fmla="*/ 2147483646 h 512"/>
                  <a:gd name="T52" fmla="*/ 2147483646 w 688"/>
                  <a:gd name="T53" fmla="*/ 2147483646 h 512"/>
                  <a:gd name="T54" fmla="*/ 2147483646 w 688"/>
                  <a:gd name="T55" fmla="*/ 2147483646 h 512"/>
                  <a:gd name="T56" fmla="*/ 2147483646 w 688"/>
                  <a:gd name="T57" fmla="*/ 2147483646 h 512"/>
                  <a:gd name="T58" fmla="*/ 2147483646 w 688"/>
                  <a:gd name="T59" fmla="*/ 2147483646 h 512"/>
                  <a:gd name="T60" fmla="*/ 2147483646 w 688"/>
                  <a:gd name="T61" fmla="*/ 2147483646 h 512"/>
                  <a:gd name="T62" fmla="*/ 2147483646 w 688"/>
                  <a:gd name="T63" fmla="*/ 2147483646 h 512"/>
                  <a:gd name="T64" fmla="*/ 2147483646 w 688"/>
                  <a:gd name="T65" fmla="*/ 2147483646 h 512"/>
                  <a:gd name="T66" fmla="*/ 2147483646 w 688"/>
                  <a:gd name="T67" fmla="*/ 2147483646 h 512"/>
                  <a:gd name="T68" fmla="*/ 2147483646 w 688"/>
                  <a:gd name="T69" fmla="*/ 2147483646 h 512"/>
                  <a:gd name="T70" fmla="*/ 2147483646 w 688"/>
                  <a:gd name="T71" fmla="*/ 2147483646 h 512"/>
                  <a:gd name="T72" fmla="*/ 2147483646 w 688"/>
                  <a:gd name="T73" fmla="*/ 2147483646 h 512"/>
                  <a:gd name="T74" fmla="*/ 2147483646 w 688"/>
                  <a:gd name="T75" fmla="*/ 2147483646 h 512"/>
                  <a:gd name="T76" fmla="*/ 2147483646 w 688"/>
                  <a:gd name="T77" fmla="*/ 2147483646 h 512"/>
                  <a:gd name="T78" fmla="*/ 2147483646 w 688"/>
                  <a:gd name="T79" fmla="*/ 2147483646 h 512"/>
                  <a:gd name="T80" fmla="*/ 2147483646 w 688"/>
                  <a:gd name="T81" fmla="*/ 2147483646 h 512"/>
                  <a:gd name="T82" fmla="*/ 2147483646 w 688"/>
                  <a:gd name="T83" fmla="*/ 2147483646 h 512"/>
                  <a:gd name="T84" fmla="*/ 2147483646 w 688"/>
                  <a:gd name="T85" fmla="*/ 2147483646 h 5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8"/>
                  <a:gd name="T130" fmla="*/ 0 h 512"/>
                  <a:gd name="T131" fmla="*/ 688 w 688"/>
                  <a:gd name="T132" fmla="*/ 512 h 5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8" h="512">
                    <a:moveTo>
                      <a:pt x="688" y="320"/>
                    </a:moveTo>
                    <a:lnTo>
                      <a:pt x="632" y="248"/>
                    </a:lnTo>
                    <a:lnTo>
                      <a:pt x="680" y="216"/>
                    </a:lnTo>
                    <a:lnTo>
                      <a:pt x="656" y="168"/>
                    </a:lnTo>
                    <a:lnTo>
                      <a:pt x="600" y="208"/>
                    </a:lnTo>
                    <a:lnTo>
                      <a:pt x="536" y="216"/>
                    </a:lnTo>
                    <a:lnTo>
                      <a:pt x="512" y="176"/>
                    </a:lnTo>
                    <a:lnTo>
                      <a:pt x="464" y="176"/>
                    </a:lnTo>
                    <a:lnTo>
                      <a:pt x="432" y="136"/>
                    </a:lnTo>
                    <a:lnTo>
                      <a:pt x="400" y="64"/>
                    </a:lnTo>
                    <a:lnTo>
                      <a:pt x="336" y="8"/>
                    </a:lnTo>
                    <a:lnTo>
                      <a:pt x="216" y="8"/>
                    </a:lnTo>
                    <a:lnTo>
                      <a:pt x="152" y="16"/>
                    </a:lnTo>
                    <a:lnTo>
                      <a:pt x="104" y="40"/>
                    </a:lnTo>
                    <a:lnTo>
                      <a:pt x="48" y="0"/>
                    </a:lnTo>
                    <a:lnTo>
                      <a:pt x="64" y="64"/>
                    </a:lnTo>
                    <a:lnTo>
                      <a:pt x="8" y="112"/>
                    </a:lnTo>
                    <a:lnTo>
                      <a:pt x="0" y="168"/>
                    </a:lnTo>
                    <a:lnTo>
                      <a:pt x="32" y="192"/>
                    </a:lnTo>
                    <a:lnTo>
                      <a:pt x="40" y="256"/>
                    </a:lnTo>
                    <a:lnTo>
                      <a:pt x="72" y="256"/>
                    </a:lnTo>
                    <a:lnTo>
                      <a:pt x="80" y="304"/>
                    </a:lnTo>
                    <a:lnTo>
                      <a:pt x="48" y="280"/>
                    </a:lnTo>
                    <a:lnTo>
                      <a:pt x="40" y="336"/>
                    </a:lnTo>
                    <a:lnTo>
                      <a:pt x="64" y="344"/>
                    </a:lnTo>
                    <a:lnTo>
                      <a:pt x="64" y="456"/>
                    </a:lnTo>
                    <a:lnTo>
                      <a:pt x="96" y="512"/>
                    </a:lnTo>
                    <a:lnTo>
                      <a:pt x="120" y="480"/>
                    </a:lnTo>
                    <a:lnTo>
                      <a:pt x="144" y="480"/>
                    </a:lnTo>
                    <a:lnTo>
                      <a:pt x="168" y="456"/>
                    </a:lnTo>
                    <a:lnTo>
                      <a:pt x="200" y="480"/>
                    </a:lnTo>
                    <a:lnTo>
                      <a:pt x="256" y="432"/>
                    </a:lnTo>
                    <a:lnTo>
                      <a:pt x="280" y="464"/>
                    </a:lnTo>
                    <a:lnTo>
                      <a:pt x="392" y="440"/>
                    </a:lnTo>
                    <a:lnTo>
                      <a:pt x="440" y="384"/>
                    </a:lnTo>
                    <a:lnTo>
                      <a:pt x="520" y="384"/>
                    </a:lnTo>
                    <a:lnTo>
                      <a:pt x="552" y="352"/>
                    </a:lnTo>
                    <a:lnTo>
                      <a:pt x="576" y="392"/>
                    </a:lnTo>
                    <a:lnTo>
                      <a:pt x="624" y="376"/>
                    </a:lnTo>
                    <a:lnTo>
                      <a:pt x="648" y="408"/>
                    </a:lnTo>
                    <a:lnTo>
                      <a:pt x="688" y="392"/>
                    </a:lnTo>
                    <a:lnTo>
                      <a:pt x="680" y="352"/>
                    </a:lnTo>
                    <a:lnTo>
                      <a:pt x="688" y="320"/>
                    </a:lnTo>
                    <a:close/>
                  </a:path>
                </a:pathLst>
              </a:custGeom>
              <a:solidFill>
                <a:srgbClr val="9950A8"/>
              </a:solidFill>
              <a:ln w="9525">
                <a:solidFill>
                  <a:schemeClr val="bg1"/>
                </a:solidFill>
                <a:round/>
                <a:headEnd/>
                <a:tailEnd/>
              </a:ln>
            </p:spPr>
            <p:txBody>
              <a:bodyPr/>
              <a:lstStyle/>
              <a:p>
                <a:endParaRPr lang="en-US" sz="1050"/>
              </a:p>
            </p:txBody>
          </p:sp>
          <p:sp>
            <p:nvSpPr>
              <p:cNvPr id="109" name="Freeform 8"/>
              <p:cNvSpPr>
                <a:spLocks/>
              </p:cNvSpPr>
              <p:nvPr/>
            </p:nvSpPr>
            <p:spPr bwMode="auto">
              <a:xfrm>
                <a:off x="4835078" y="3329089"/>
                <a:ext cx="744840" cy="789432"/>
              </a:xfrm>
              <a:custGeom>
                <a:avLst/>
                <a:gdLst>
                  <a:gd name="T0" fmla="*/ 2147483646 w 632"/>
                  <a:gd name="T1" fmla="*/ 2147483646 h 728"/>
                  <a:gd name="T2" fmla="*/ 2147483646 w 632"/>
                  <a:gd name="T3" fmla="*/ 0 h 728"/>
                  <a:gd name="T4" fmla="*/ 2147483646 w 632"/>
                  <a:gd name="T5" fmla="*/ 2147483646 h 728"/>
                  <a:gd name="T6" fmla="*/ 2147483646 w 632"/>
                  <a:gd name="T7" fmla="*/ 2147483646 h 728"/>
                  <a:gd name="T8" fmla="*/ 2147483646 w 632"/>
                  <a:gd name="T9" fmla="*/ 2147483646 h 728"/>
                  <a:gd name="T10" fmla="*/ 2147483646 w 632"/>
                  <a:gd name="T11" fmla="*/ 2147483646 h 728"/>
                  <a:gd name="T12" fmla="*/ 2147483646 w 632"/>
                  <a:gd name="T13" fmla="*/ 2147483646 h 728"/>
                  <a:gd name="T14" fmla="*/ 2147483646 w 632"/>
                  <a:gd name="T15" fmla="*/ 2147483646 h 728"/>
                  <a:gd name="T16" fmla="*/ 2147483646 w 632"/>
                  <a:gd name="T17" fmla="*/ 2147483646 h 728"/>
                  <a:gd name="T18" fmla="*/ 2147483646 w 632"/>
                  <a:gd name="T19" fmla="*/ 2147483646 h 728"/>
                  <a:gd name="T20" fmla="*/ 2147483646 w 632"/>
                  <a:gd name="T21" fmla="*/ 2147483646 h 728"/>
                  <a:gd name="T22" fmla="*/ 2147483646 w 632"/>
                  <a:gd name="T23" fmla="*/ 2147483646 h 728"/>
                  <a:gd name="T24" fmla="*/ 2147483646 w 632"/>
                  <a:gd name="T25" fmla="*/ 2147483646 h 728"/>
                  <a:gd name="T26" fmla="*/ 2147483646 w 632"/>
                  <a:gd name="T27" fmla="*/ 2147483646 h 728"/>
                  <a:gd name="T28" fmla="*/ 2147483646 w 632"/>
                  <a:gd name="T29" fmla="*/ 2147483646 h 728"/>
                  <a:gd name="T30" fmla="*/ 2147483646 w 632"/>
                  <a:gd name="T31" fmla="*/ 2147483646 h 728"/>
                  <a:gd name="T32" fmla="*/ 2147483646 w 632"/>
                  <a:gd name="T33" fmla="*/ 2147483646 h 728"/>
                  <a:gd name="T34" fmla="*/ 2147483646 w 632"/>
                  <a:gd name="T35" fmla="*/ 2147483646 h 728"/>
                  <a:gd name="T36" fmla="*/ 2147483646 w 632"/>
                  <a:gd name="T37" fmla="*/ 2147483646 h 728"/>
                  <a:gd name="T38" fmla="*/ 2147483646 w 632"/>
                  <a:gd name="T39" fmla="*/ 2147483646 h 728"/>
                  <a:gd name="T40" fmla="*/ 2147483646 w 632"/>
                  <a:gd name="T41" fmla="*/ 2147483646 h 728"/>
                  <a:gd name="T42" fmla="*/ 2147483646 w 632"/>
                  <a:gd name="T43" fmla="*/ 2147483646 h 728"/>
                  <a:gd name="T44" fmla="*/ 2147483646 w 632"/>
                  <a:gd name="T45" fmla="*/ 2147483646 h 728"/>
                  <a:gd name="T46" fmla="*/ 2147483646 w 632"/>
                  <a:gd name="T47" fmla="*/ 2147483646 h 728"/>
                  <a:gd name="T48" fmla="*/ 2147483646 w 632"/>
                  <a:gd name="T49" fmla="*/ 2147483646 h 728"/>
                  <a:gd name="T50" fmla="*/ 2147483646 w 632"/>
                  <a:gd name="T51" fmla="*/ 2147483646 h 728"/>
                  <a:gd name="T52" fmla="*/ 2147483646 w 632"/>
                  <a:gd name="T53" fmla="*/ 2147483646 h 728"/>
                  <a:gd name="T54" fmla="*/ 2147483646 w 632"/>
                  <a:gd name="T55" fmla="*/ 2147483646 h 728"/>
                  <a:gd name="T56" fmla="*/ 2147483646 w 632"/>
                  <a:gd name="T57" fmla="*/ 2147483646 h 728"/>
                  <a:gd name="T58" fmla="*/ 2147483646 w 632"/>
                  <a:gd name="T59" fmla="*/ 2147483646 h 728"/>
                  <a:gd name="T60" fmla="*/ 2147483646 w 632"/>
                  <a:gd name="T61" fmla="*/ 2147483646 h 728"/>
                  <a:gd name="T62" fmla="*/ 2147483646 w 632"/>
                  <a:gd name="T63" fmla="*/ 2147483646 h 728"/>
                  <a:gd name="T64" fmla="*/ 2147483646 w 632"/>
                  <a:gd name="T65" fmla="*/ 2147483646 h 728"/>
                  <a:gd name="T66" fmla="*/ 2147483646 w 632"/>
                  <a:gd name="T67" fmla="*/ 2147483646 h 728"/>
                  <a:gd name="T68" fmla="*/ 0 w 632"/>
                  <a:gd name="T69" fmla="*/ 2147483646 h 728"/>
                  <a:gd name="T70" fmla="*/ 2147483646 w 632"/>
                  <a:gd name="T71" fmla="*/ 2147483646 h 728"/>
                  <a:gd name="T72" fmla="*/ 2147483646 w 632"/>
                  <a:gd name="T73" fmla="*/ 2147483646 h 728"/>
                  <a:gd name="T74" fmla="*/ 2147483646 w 632"/>
                  <a:gd name="T75" fmla="*/ 2147483646 h 728"/>
                  <a:gd name="T76" fmla="*/ 2147483646 w 632"/>
                  <a:gd name="T77" fmla="*/ 2147483646 h 728"/>
                  <a:gd name="T78" fmla="*/ 2147483646 w 632"/>
                  <a:gd name="T79" fmla="*/ 2147483646 h 728"/>
                  <a:gd name="T80" fmla="*/ 2147483646 w 632"/>
                  <a:gd name="T81" fmla="*/ 2147483646 h 728"/>
                  <a:gd name="T82" fmla="*/ 2147483646 w 632"/>
                  <a:gd name="T83" fmla="*/ 2147483646 h 728"/>
                  <a:gd name="T84" fmla="*/ 2147483646 w 632"/>
                  <a:gd name="T85" fmla="*/ 2147483646 h 728"/>
                  <a:gd name="T86" fmla="*/ 2147483646 w 632"/>
                  <a:gd name="T87" fmla="*/ 2147483646 h 728"/>
                  <a:gd name="T88" fmla="*/ 2147483646 w 632"/>
                  <a:gd name="T89" fmla="*/ 2147483646 h 728"/>
                  <a:gd name="T90" fmla="*/ 2147483646 w 632"/>
                  <a:gd name="T91" fmla="*/ 2147483646 h 7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2"/>
                  <a:gd name="T139" fmla="*/ 0 h 728"/>
                  <a:gd name="T140" fmla="*/ 632 w 632"/>
                  <a:gd name="T141" fmla="*/ 728 h 7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2" h="728">
                    <a:moveTo>
                      <a:pt x="176" y="56"/>
                    </a:moveTo>
                    <a:lnTo>
                      <a:pt x="216" y="0"/>
                    </a:lnTo>
                    <a:lnTo>
                      <a:pt x="296" y="8"/>
                    </a:lnTo>
                    <a:lnTo>
                      <a:pt x="280" y="64"/>
                    </a:lnTo>
                    <a:lnTo>
                      <a:pt x="368" y="56"/>
                    </a:lnTo>
                    <a:lnTo>
                      <a:pt x="400" y="80"/>
                    </a:lnTo>
                    <a:lnTo>
                      <a:pt x="408" y="144"/>
                    </a:lnTo>
                    <a:lnTo>
                      <a:pt x="440" y="144"/>
                    </a:lnTo>
                    <a:lnTo>
                      <a:pt x="448" y="192"/>
                    </a:lnTo>
                    <a:lnTo>
                      <a:pt x="416" y="168"/>
                    </a:lnTo>
                    <a:lnTo>
                      <a:pt x="408" y="224"/>
                    </a:lnTo>
                    <a:lnTo>
                      <a:pt x="432" y="232"/>
                    </a:lnTo>
                    <a:lnTo>
                      <a:pt x="432" y="344"/>
                    </a:lnTo>
                    <a:lnTo>
                      <a:pt x="464" y="400"/>
                    </a:lnTo>
                    <a:lnTo>
                      <a:pt x="488" y="368"/>
                    </a:lnTo>
                    <a:lnTo>
                      <a:pt x="512" y="368"/>
                    </a:lnTo>
                    <a:lnTo>
                      <a:pt x="528" y="432"/>
                    </a:lnTo>
                    <a:lnTo>
                      <a:pt x="560" y="472"/>
                    </a:lnTo>
                    <a:lnTo>
                      <a:pt x="528" y="504"/>
                    </a:lnTo>
                    <a:lnTo>
                      <a:pt x="520" y="544"/>
                    </a:lnTo>
                    <a:lnTo>
                      <a:pt x="576" y="552"/>
                    </a:lnTo>
                    <a:lnTo>
                      <a:pt x="560" y="584"/>
                    </a:lnTo>
                    <a:lnTo>
                      <a:pt x="632" y="584"/>
                    </a:lnTo>
                    <a:lnTo>
                      <a:pt x="632" y="648"/>
                    </a:lnTo>
                    <a:lnTo>
                      <a:pt x="600" y="712"/>
                    </a:lnTo>
                    <a:lnTo>
                      <a:pt x="424" y="728"/>
                    </a:lnTo>
                    <a:lnTo>
                      <a:pt x="376" y="680"/>
                    </a:lnTo>
                    <a:lnTo>
                      <a:pt x="352" y="600"/>
                    </a:lnTo>
                    <a:lnTo>
                      <a:pt x="296" y="632"/>
                    </a:lnTo>
                    <a:lnTo>
                      <a:pt x="240" y="720"/>
                    </a:lnTo>
                    <a:lnTo>
                      <a:pt x="192" y="680"/>
                    </a:lnTo>
                    <a:lnTo>
                      <a:pt x="168" y="696"/>
                    </a:lnTo>
                    <a:lnTo>
                      <a:pt x="120" y="664"/>
                    </a:lnTo>
                    <a:lnTo>
                      <a:pt x="40" y="632"/>
                    </a:lnTo>
                    <a:lnTo>
                      <a:pt x="0" y="552"/>
                    </a:lnTo>
                    <a:lnTo>
                      <a:pt x="32" y="544"/>
                    </a:lnTo>
                    <a:lnTo>
                      <a:pt x="32" y="496"/>
                    </a:lnTo>
                    <a:lnTo>
                      <a:pt x="112" y="424"/>
                    </a:lnTo>
                    <a:lnTo>
                      <a:pt x="112" y="392"/>
                    </a:lnTo>
                    <a:lnTo>
                      <a:pt x="160" y="376"/>
                    </a:lnTo>
                    <a:lnTo>
                      <a:pt x="176" y="328"/>
                    </a:lnTo>
                    <a:lnTo>
                      <a:pt x="208" y="312"/>
                    </a:lnTo>
                    <a:lnTo>
                      <a:pt x="168" y="216"/>
                    </a:lnTo>
                    <a:lnTo>
                      <a:pt x="200" y="152"/>
                    </a:lnTo>
                    <a:lnTo>
                      <a:pt x="192" y="104"/>
                    </a:lnTo>
                    <a:lnTo>
                      <a:pt x="176" y="56"/>
                    </a:lnTo>
                    <a:close/>
                  </a:path>
                </a:pathLst>
              </a:custGeom>
              <a:solidFill>
                <a:srgbClr val="4670F8"/>
              </a:solidFill>
              <a:ln w="9525">
                <a:solidFill>
                  <a:schemeClr val="bg1"/>
                </a:solidFill>
                <a:round/>
                <a:headEnd/>
                <a:tailEnd/>
              </a:ln>
            </p:spPr>
            <p:txBody>
              <a:bodyPr/>
              <a:lstStyle/>
              <a:p>
                <a:endParaRPr lang="en-US" sz="1050"/>
              </a:p>
            </p:txBody>
          </p:sp>
          <p:sp>
            <p:nvSpPr>
              <p:cNvPr id="110" name="Freeform 9"/>
              <p:cNvSpPr>
                <a:spLocks/>
              </p:cNvSpPr>
              <p:nvPr/>
            </p:nvSpPr>
            <p:spPr bwMode="auto">
              <a:xfrm>
                <a:off x="5438493" y="3589341"/>
                <a:ext cx="820267" cy="572555"/>
              </a:xfrm>
              <a:custGeom>
                <a:avLst/>
                <a:gdLst>
                  <a:gd name="T0" fmla="*/ 2147483646 w 696"/>
                  <a:gd name="T1" fmla="*/ 2147483646 h 528"/>
                  <a:gd name="T2" fmla="*/ 2147483646 w 696"/>
                  <a:gd name="T3" fmla="*/ 2147483646 h 528"/>
                  <a:gd name="T4" fmla="*/ 2147483646 w 696"/>
                  <a:gd name="T5" fmla="*/ 2147483646 h 528"/>
                  <a:gd name="T6" fmla="*/ 2147483646 w 696"/>
                  <a:gd name="T7" fmla="*/ 2147483646 h 528"/>
                  <a:gd name="T8" fmla="*/ 2147483646 w 696"/>
                  <a:gd name="T9" fmla="*/ 2147483646 h 528"/>
                  <a:gd name="T10" fmla="*/ 2147483646 w 696"/>
                  <a:gd name="T11" fmla="*/ 2147483646 h 528"/>
                  <a:gd name="T12" fmla="*/ 2147483646 w 696"/>
                  <a:gd name="T13" fmla="*/ 2147483646 h 528"/>
                  <a:gd name="T14" fmla="*/ 2147483646 w 696"/>
                  <a:gd name="T15" fmla="*/ 2147483646 h 528"/>
                  <a:gd name="T16" fmla="*/ 0 w 696"/>
                  <a:gd name="T17" fmla="*/ 2147483646 h 528"/>
                  <a:gd name="T18" fmla="*/ 2147483646 w 696"/>
                  <a:gd name="T19" fmla="*/ 2147483646 h 528"/>
                  <a:gd name="T20" fmla="*/ 2147483646 w 696"/>
                  <a:gd name="T21" fmla="*/ 2147483646 h 528"/>
                  <a:gd name="T22" fmla="*/ 2147483646 w 696"/>
                  <a:gd name="T23" fmla="*/ 2147483646 h 528"/>
                  <a:gd name="T24" fmla="*/ 2147483646 w 696"/>
                  <a:gd name="T25" fmla="*/ 2147483646 h 528"/>
                  <a:gd name="T26" fmla="*/ 2147483646 w 696"/>
                  <a:gd name="T27" fmla="*/ 2147483646 h 528"/>
                  <a:gd name="T28" fmla="*/ 2147483646 w 696"/>
                  <a:gd name="T29" fmla="*/ 2147483646 h 528"/>
                  <a:gd name="T30" fmla="*/ 2147483646 w 696"/>
                  <a:gd name="T31" fmla="*/ 2147483646 h 528"/>
                  <a:gd name="T32" fmla="*/ 2147483646 w 696"/>
                  <a:gd name="T33" fmla="*/ 0 h 528"/>
                  <a:gd name="T34" fmla="*/ 2147483646 w 696"/>
                  <a:gd name="T35" fmla="*/ 2147483646 h 528"/>
                  <a:gd name="T36" fmla="*/ 2147483646 w 696"/>
                  <a:gd name="T37" fmla="*/ 2147483646 h 528"/>
                  <a:gd name="T38" fmla="*/ 2147483646 w 696"/>
                  <a:gd name="T39" fmla="*/ 2147483646 h 528"/>
                  <a:gd name="T40" fmla="*/ 2147483646 w 696"/>
                  <a:gd name="T41" fmla="*/ 2147483646 h 528"/>
                  <a:gd name="T42" fmla="*/ 2147483646 w 696"/>
                  <a:gd name="T43" fmla="*/ 2147483646 h 528"/>
                  <a:gd name="T44" fmla="*/ 2147483646 w 696"/>
                  <a:gd name="T45" fmla="*/ 2147483646 h 528"/>
                  <a:gd name="T46" fmla="*/ 2147483646 w 696"/>
                  <a:gd name="T47" fmla="*/ 2147483646 h 528"/>
                  <a:gd name="T48" fmla="*/ 2147483646 w 696"/>
                  <a:gd name="T49" fmla="*/ 2147483646 h 528"/>
                  <a:gd name="T50" fmla="*/ 2147483646 w 696"/>
                  <a:gd name="T51" fmla="*/ 2147483646 h 528"/>
                  <a:gd name="T52" fmla="*/ 2147483646 w 696"/>
                  <a:gd name="T53" fmla="*/ 2147483646 h 528"/>
                  <a:gd name="T54" fmla="*/ 2147483646 w 696"/>
                  <a:gd name="T55" fmla="*/ 2147483646 h 528"/>
                  <a:gd name="T56" fmla="*/ 2147483646 w 696"/>
                  <a:gd name="T57" fmla="*/ 2147483646 h 528"/>
                  <a:gd name="T58" fmla="*/ 2147483646 w 696"/>
                  <a:gd name="T59" fmla="*/ 2147483646 h 528"/>
                  <a:gd name="T60" fmla="*/ 2147483646 w 696"/>
                  <a:gd name="T61" fmla="*/ 2147483646 h 528"/>
                  <a:gd name="T62" fmla="*/ 2147483646 w 696"/>
                  <a:gd name="T63" fmla="*/ 2147483646 h 528"/>
                  <a:gd name="T64" fmla="*/ 2147483646 w 696"/>
                  <a:gd name="T65" fmla="*/ 2147483646 h 528"/>
                  <a:gd name="T66" fmla="*/ 2147483646 w 696"/>
                  <a:gd name="T67" fmla="*/ 2147483646 h 528"/>
                  <a:gd name="T68" fmla="*/ 2147483646 w 696"/>
                  <a:gd name="T69" fmla="*/ 2147483646 h 528"/>
                  <a:gd name="T70" fmla="*/ 2147483646 w 696"/>
                  <a:gd name="T71" fmla="*/ 2147483646 h 528"/>
                  <a:gd name="T72" fmla="*/ 2147483646 w 696"/>
                  <a:gd name="T73" fmla="*/ 2147483646 h 528"/>
                  <a:gd name="T74" fmla="*/ 2147483646 w 696"/>
                  <a:gd name="T75" fmla="*/ 2147483646 h 5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6"/>
                  <a:gd name="T115" fmla="*/ 0 h 528"/>
                  <a:gd name="T116" fmla="*/ 696 w 696"/>
                  <a:gd name="T117" fmla="*/ 528 h 5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6" h="528">
                    <a:moveTo>
                      <a:pt x="120" y="408"/>
                    </a:moveTo>
                    <a:lnTo>
                      <a:pt x="120" y="344"/>
                    </a:lnTo>
                    <a:lnTo>
                      <a:pt x="48" y="344"/>
                    </a:lnTo>
                    <a:lnTo>
                      <a:pt x="64" y="312"/>
                    </a:lnTo>
                    <a:lnTo>
                      <a:pt x="8" y="304"/>
                    </a:lnTo>
                    <a:lnTo>
                      <a:pt x="16" y="264"/>
                    </a:lnTo>
                    <a:lnTo>
                      <a:pt x="48" y="232"/>
                    </a:lnTo>
                    <a:lnTo>
                      <a:pt x="16" y="192"/>
                    </a:lnTo>
                    <a:lnTo>
                      <a:pt x="0" y="128"/>
                    </a:lnTo>
                    <a:lnTo>
                      <a:pt x="24" y="104"/>
                    </a:lnTo>
                    <a:lnTo>
                      <a:pt x="56" y="128"/>
                    </a:lnTo>
                    <a:lnTo>
                      <a:pt x="112" y="80"/>
                    </a:lnTo>
                    <a:lnTo>
                      <a:pt x="136" y="112"/>
                    </a:lnTo>
                    <a:lnTo>
                      <a:pt x="248" y="88"/>
                    </a:lnTo>
                    <a:lnTo>
                      <a:pt x="296" y="32"/>
                    </a:lnTo>
                    <a:lnTo>
                      <a:pt x="376" y="32"/>
                    </a:lnTo>
                    <a:lnTo>
                      <a:pt x="408" y="0"/>
                    </a:lnTo>
                    <a:lnTo>
                      <a:pt x="432" y="40"/>
                    </a:lnTo>
                    <a:lnTo>
                      <a:pt x="480" y="24"/>
                    </a:lnTo>
                    <a:lnTo>
                      <a:pt x="504" y="56"/>
                    </a:lnTo>
                    <a:lnTo>
                      <a:pt x="544" y="40"/>
                    </a:lnTo>
                    <a:lnTo>
                      <a:pt x="584" y="72"/>
                    </a:lnTo>
                    <a:lnTo>
                      <a:pt x="576" y="144"/>
                    </a:lnTo>
                    <a:lnTo>
                      <a:pt x="656" y="264"/>
                    </a:lnTo>
                    <a:lnTo>
                      <a:pt x="664" y="304"/>
                    </a:lnTo>
                    <a:lnTo>
                      <a:pt x="696" y="352"/>
                    </a:lnTo>
                    <a:lnTo>
                      <a:pt x="696" y="432"/>
                    </a:lnTo>
                    <a:lnTo>
                      <a:pt x="648" y="424"/>
                    </a:lnTo>
                    <a:lnTo>
                      <a:pt x="624" y="448"/>
                    </a:lnTo>
                    <a:lnTo>
                      <a:pt x="576" y="432"/>
                    </a:lnTo>
                    <a:lnTo>
                      <a:pt x="512" y="456"/>
                    </a:lnTo>
                    <a:lnTo>
                      <a:pt x="440" y="504"/>
                    </a:lnTo>
                    <a:lnTo>
                      <a:pt x="336" y="488"/>
                    </a:lnTo>
                    <a:lnTo>
                      <a:pt x="272" y="528"/>
                    </a:lnTo>
                    <a:lnTo>
                      <a:pt x="192" y="512"/>
                    </a:lnTo>
                    <a:lnTo>
                      <a:pt x="160" y="472"/>
                    </a:lnTo>
                    <a:lnTo>
                      <a:pt x="152" y="408"/>
                    </a:lnTo>
                    <a:lnTo>
                      <a:pt x="120" y="408"/>
                    </a:lnTo>
                    <a:close/>
                  </a:path>
                </a:pathLst>
              </a:custGeom>
              <a:solidFill>
                <a:srgbClr val="9950A8"/>
              </a:solidFill>
              <a:ln w="9525">
                <a:solidFill>
                  <a:schemeClr val="bg1"/>
                </a:solidFill>
                <a:round/>
                <a:headEnd/>
                <a:tailEnd/>
              </a:ln>
            </p:spPr>
            <p:txBody>
              <a:bodyPr/>
              <a:lstStyle/>
              <a:p>
                <a:endParaRPr lang="en-US" sz="1050"/>
              </a:p>
            </p:txBody>
          </p:sp>
          <p:sp>
            <p:nvSpPr>
              <p:cNvPr id="111" name="Freeform 110"/>
              <p:cNvSpPr>
                <a:spLocks/>
              </p:cNvSpPr>
              <p:nvPr/>
            </p:nvSpPr>
            <p:spPr bwMode="auto">
              <a:xfrm>
                <a:off x="3845100" y="2730509"/>
                <a:ext cx="1074832" cy="494479"/>
              </a:xfrm>
              <a:custGeom>
                <a:avLst/>
                <a:gdLst>
                  <a:gd name="T0" fmla="*/ 2147483646 w 912"/>
                  <a:gd name="T1" fmla="*/ 2147483646 h 456"/>
                  <a:gd name="T2" fmla="*/ 2147483646 w 912"/>
                  <a:gd name="T3" fmla="*/ 2147483646 h 456"/>
                  <a:gd name="T4" fmla="*/ 2147483646 w 912"/>
                  <a:gd name="T5" fmla="*/ 2147483646 h 456"/>
                  <a:gd name="T6" fmla="*/ 2147483646 w 912"/>
                  <a:gd name="T7" fmla="*/ 2147483646 h 456"/>
                  <a:gd name="T8" fmla="*/ 2147483646 w 912"/>
                  <a:gd name="T9" fmla="*/ 2147483646 h 456"/>
                  <a:gd name="T10" fmla="*/ 2147483646 w 912"/>
                  <a:gd name="T11" fmla="*/ 2147483646 h 456"/>
                  <a:gd name="T12" fmla="*/ 2147483646 w 912"/>
                  <a:gd name="T13" fmla="*/ 2147483646 h 456"/>
                  <a:gd name="T14" fmla="*/ 2147483646 w 912"/>
                  <a:gd name="T15" fmla="*/ 2147483646 h 456"/>
                  <a:gd name="T16" fmla="*/ 2147483646 w 912"/>
                  <a:gd name="T17" fmla="*/ 2147483646 h 456"/>
                  <a:gd name="T18" fmla="*/ 2147483646 w 912"/>
                  <a:gd name="T19" fmla="*/ 2147483646 h 456"/>
                  <a:gd name="T20" fmla="*/ 2147483646 w 912"/>
                  <a:gd name="T21" fmla="*/ 2147483646 h 456"/>
                  <a:gd name="T22" fmla="*/ 2147483646 w 912"/>
                  <a:gd name="T23" fmla="*/ 2147483646 h 456"/>
                  <a:gd name="T24" fmla="*/ 2147483646 w 912"/>
                  <a:gd name="T25" fmla="*/ 2147483646 h 456"/>
                  <a:gd name="T26" fmla="*/ 2147483646 w 912"/>
                  <a:gd name="T27" fmla="*/ 2147483646 h 456"/>
                  <a:gd name="T28" fmla="*/ 2147483646 w 912"/>
                  <a:gd name="T29" fmla="*/ 2147483646 h 456"/>
                  <a:gd name="T30" fmla="*/ 2147483646 w 912"/>
                  <a:gd name="T31" fmla="*/ 2147483646 h 456"/>
                  <a:gd name="T32" fmla="*/ 2147483646 w 912"/>
                  <a:gd name="T33" fmla="*/ 2147483646 h 456"/>
                  <a:gd name="T34" fmla="*/ 2147483646 w 912"/>
                  <a:gd name="T35" fmla="*/ 2147483646 h 456"/>
                  <a:gd name="T36" fmla="*/ 2147483646 w 912"/>
                  <a:gd name="T37" fmla="*/ 2147483646 h 456"/>
                  <a:gd name="T38" fmla="*/ 0 w 912"/>
                  <a:gd name="T39" fmla="*/ 2147483646 h 456"/>
                  <a:gd name="T40" fmla="*/ 0 w 912"/>
                  <a:gd name="T41" fmla="*/ 2147483646 h 456"/>
                  <a:gd name="T42" fmla="*/ 2147483646 w 912"/>
                  <a:gd name="T43" fmla="*/ 2147483646 h 456"/>
                  <a:gd name="T44" fmla="*/ 2147483646 w 912"/>
                  <a:gd name="T45" fmla="*/ 2147483646 h 456"/>
                  <a:gd name="T46" fmla="*/ 2147483646 w 912"/>
                  <a:gd name="T47" fmla="*/ 2147483646 h 456"/>
                  <a:gd name="T48" fmla="*/ 2147483646 w 912"/>
                  <a:gd name="T49" fmla="*/ 2147483646 h 456"/>
                  <a:gd name="T50" fmla="*/ 2147483646 w 912"/>
                  <a:gd name="T51" fmla="*/ 2147483646 h 456"/>
                  <a:gd name="T52" fmla="*/ 2147483646 w 912"/>
                  <a:gd name="T53" fmla="*/ 2147483646 h 456"/>
                  <a:gd name="T54" fmla="*/ 2147483646 w 912"/>
                  <a:gd name="T55" fmla="*/ 2147483646 h 456"/>
                  <a:gd name="T56" fmla="*/ 2147483646 w 912"/>
                  <a:gd name="T57" fmla="*/ 2147483646 h 456"/>
                  <a:gd name="T58" fmla="*/ 2147483646 w 912"/>
                  <a:gd name="T59" fmla="*/ 2147483646 h 456"/>
                  <a:gd name="T60" fmla="*/ 2147483646 w 912"/>
                  <a:gd name="T61" fmla="*/ 2147483646 h 456"/>
                  <a:gd name="T62" fmla="*/ 2147483646 w 912"/>
                  <a:gd name="T63" fmla="*/ 2147483646 h 456"/>
                  <a:gd name="T64" fmla="*/ 2147483646 w 912"/>
                  <a:gd name="T65" fmla="*/ 0 h 456"/>
                  <a:gd name="T66" fmla="*/ 2147483646 w 912"/>
                  <a:gd name="T67" fmla="*/ 2147483646 h 456"/>
                  <a:gd name="T68" fmla="*/ 2147483646 w 912"/>
                  <a:gd name="T69" fmla="*/ 2147483646 h 456"/>
                  <a:gd name="T70" fmla="*/ 2147483646 w 912"/>
                  <a:gd name="T71" fmla="*/ 2147483646 h 456"/>
                  <a:gd name="T72" fmla="*/ 2147483646 w 912"/>
                  <a:gd name="T73" fmla="*/ 2147483646 h 456"/>
                  <a:gd name="T74" fmla="*/ 2147483646 w 912"/>
                  <a:gd name="T75" fmla="*/ 2147483646 h 456"/>
                  <a:gd name="T76" fmla="*/ 2147483646 w 912"/>
                  <a:gd name="T77" fmla="*/ 2147483646 h 456"/>
                  <a:gd name="T78" fmla="*/ 2147483646 w 912"/>
                  <a:gd name="T79" fmla="*/ 2147483646 h 456"/>
                  <a:gd name="T80" fmla="*/ 2147483646 w 912"/>
                  <a:gd name="T81" fmla="*/ 2147483646 h 456"/>
                  <a:gd name="T82" fmla="*/ 2147483646 w 912"/>
                  <a:gd name="T83" fmla="*/ 2147483646 h 456"/>
                  <a:gd name="T84" fmla="*/ 2147483646 w 912"/>
                  <a:gd name="T85" fmla="*/ 2147483646 h 456"/>
                  <a:gd name="T86" fmla="*/ 2147483646 w 912"/>
                  <a:gd name="T87" fmla="*/ 2147483646 h 456"/>
                  <a:gd name="T88" fmla="*/ 2147483646 w 912"/>
                  <a:gd name="T89" fmla="*/ 2147483646 h 456"/>
                  <a:gd name="T90" fmla="*/ 2147483646 w 912"/>
                  <a:gd name="T91" fmla="*/ 2147483646 h 456"/>
                  <a:gd name="T92" fmla="*/ 2147483646 w 912"/>
                  <a:gd name="T93" fmla="*/ 2147483646 h 456"/>
                  <a:gd name="T94" fmla="*/ 2147483646 w 912"/>
                  <a:gd name="T95" fmla="*/ 2147483646 h 456"/>
                  <a:gd name="T96" fmla="*/ 2147483646 w 912"/>
                  <a:gd name="T97" fmla="*/ 214748364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12"/>
                  <a:gd name="T148" fmla="*/ 0 h 456"/>
                  <a:gd name="T149" fmla="*/ 912 w 912"/>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12" h="456">
                    <a:moveTo>
                      <a:pt x="888" y="200"/>
                    </a:moveTo>
                    <a:lnTo>
                      <a:pt x="912" y="256"/>
                    </a:lnTo>
                    <a:lnTo>
                      <a:pt x="880" y="288"/>
                    </a:lnTo>
                    <a:lnTo>
                      <a:pt x="776" y="312"/>
                    </a:lnTo>
                    <a:lnTo>
                      <a:pt x="672" y="288"/>
                    </a:lnTo>
                    <a:lnTo>
                      <a:pt x="616" y="280"/>
                    </a:lnTo>
                    <a:lnTo>
                      <a:pt x="592" y="296"/>
                    </a:lnTo>
                    <a:lnTo>
                      <a:pt x="568" y="296"/>
                    </a:lnTo>
                    <a:lnTo>
                      <a:pt x="544" y="336"/>
                    </a:lnTo>
                    <a:lnTo>
                      <a:pt x="496" y="344"/>
                    </a:lnTo>
                    <a:lnTo>
                      <a:pt x="488" y="392"/>
                    </a:lnTo>
                    <a:lnTo>
                      <a:pt x="448" y="432"/>
                    </a:lnTo>
                    <a:lnTo>
                      <a:pt x="376" y="448"/>
                    </a:lnTo>
                    <a:lnTo>
                      <a:pt x="328" y="456"/>
                    </a:lnTo>
                    <a:lnTo>
                      <a:pt x="312" y="408"/>
                    </a:lnTo>
                    <a:lnTo>
                      <a:pt x="240" y="424"/>
                    </a:lnTo>
                    <a:lnTo>
                      <a:pt x="152" y="408"/>
                    </a:lnTo>
                    <a:lnTo>
                      <a:pt x="120" y="376"/>
                    </a:lnTo>
                    <a:lnTo>
                      <a:pt x="64" y="408"/>
                    </a:lnTo>
                    <a:lnTo>
                      <a:pt x="0" y="408"/>
                    </a:lnTo>
                    <a:lnTo>
                      <a:pt x="0" y="368"/>
                    </a:lnTo>
                    <a:lnTo>
                      <a:pt x="32" y="360"/>
                    </a:lnTo>
                    <a:lnTo>
                      <a:pt x="24" y="312"/>
                    </a:lnTo>
                    <a:lnTo>
                      <a:pt x="72" y="264"/>
                    </a:lnTo>
                    <a:lnTo>
                      <a:pt x="136" y="296"/>
                    </a:lnTo>
                    <a:lnTo>
                      <a:pt x="144" y="232"/>
                    </a:lnTo>
                    <a:lnTo>
                      <a:pt x="168" y="192"/>
                    </a:lnTo>
                    <a:lnTo>
                      <a:pt x="96" y="184"/>
                    </a:lnTo>
                    <a:lnTo>
                      <a:pt x="104" y="152"/>
                    </a:lnTo>
                    <a:lnTo>
                      <a:pt x="256" y="128"/>
                    </a:lnTo>
                    <a:lnTo>
                      <a:pt x="296" y="56"/>
                    </a:lnTo>
                    <a:lnTo>
                      <a:pt x="248" y="40"/>
                    </a:lnTo>
                    <a:lnTo>
                      <a:pt x="248" y="0"/>
                    </a:lnTo>
                    <a:lnTo>
                      <a:pt x="296" y="24"/>
                    </a:lnTo>
                    <a:lnTo>
                      <a:pt x="352" y="16"/>
                    </a:lnTo>
                    <a:lnTo>
                      <a:pt x="384" y="64"/>
                    </a:lnTo>
                    <a:lnTo>
                      <a:pt x="432" y="40"/>
                    </a:lnTo>
                    <a:lnTo>
                      <a:pt x="504" y="72"/>
                    </a:lnTo>
                    <a:lnTo>
                      <a:pt x="520" y="64"/>
                    </a:lnTo>
                    <a:lnTo>
                      <a:pt x="552" y="88"/>
                    </a:lnTo>
                    <a:lnTo>
                      <a:pt x="584" y="56"/>
                    </a:lnTo>
                    <a:lnTo>
                      <a:pt x="608" y="72"/>
                    </a:lnTo>
                    <a:lnTo>
                      <a:pt x="632" y="40"/>
                    </a:lnTo>
                    <a:lnTo>
                      <a:pt x="704" y="48"/>
                    </a:lnTo>
                    <a:lnTo>
                      <a:pt x="752" y="88"/>
                    </a:lnTo>
                    <a:lnTo>
                      <a:pt x="744" y="112"/>
                    </a:lnTo>
                    <a:lnTo>
                      <a:pt x="816" y="152"/>
                    </a:lnTo>
                    <a:lnTo>
                      <a:pt x="848" y="208"/>
                    </a:lnTo>
                    <a:lnTo>
                      <a:pt x="888" y="200"/>
                    </a:lnTo>
                    <a:close/>
                  </a:path>
                </a:pathLst>
              </a:custGeom>
              <a:solidFill>
                <a:srgbClr val="C6CFEB"/>
              </a:solidFill>
              <a:ln w="9525">
                <a:solidFill>
                  <a:schemeClr val="bg1"/>
                </a:solidFill>
                <a:round/>
                <a:headEnd/>
                <a:tailEnd/>
              </a:ln>
            </p:spPr>
            <p:txBody>
              <a:bodyPr/>
              <a:lstStyle/>
              <a:p>
                <a:endParaRPr lang="en-US" sz="1050"/>
              </a:p>
            </p:txBody>
          </p:sp>
          <p:sp>
            <p:nvSpPr>
              <p:cNvPr id="112" name="Freeform 111"/>
              <p:cNvSpPr>
                <a:spLocks/>
              </p:cNvSpPr>
              <p:nvPr/>
            </p:nvSpPr>
            <p:spPr bwMode="auto">
              <a:xfrm>
                <a:off x="4325946" y="3034136"/>
                <a:ext cx="622271" cy="615930"/>
              </a:xfrm>
              <a:custGeom>
                <a:avLst/>
                <a:gdLst>
                  <a:gd name="T0" fmla="*/ 2147483646 w 528"/>
                  <a:gd name="T1" fmla="*/ 2147483646 h 568"/>
                  <a:gd name="T2" fmla="*/ 2147483646 w 528"/>
                  <a:gd name="T3" fmla="*/ 2147483646 h 568"/>
                  <a:gd name="T4" fmla="*/ 2147483646 w 528"/>
                  <a:gd name="T5" fmla="*/ 2147483646 h 568"/>
                  <a:gd name="T6" fmla="*/ 2147483646 w 528"/>
                  <a:gd name="T7" fmla="*/ 2147483646 h 568"/>
                  <a:gd name="T8" fmla="*/ 2147483646 w 528"/>
                  <a:gd name="T9" fmla="*/ 2147483646 h 568"/>
                  <a:gd name="T10" fmla="*/ 2147483646 w 528"/>
                  <a:gd name="T11" fmla="*/ 2147483646 h 568"/>
                  <a:gd name="T12" fmla="*/ 2147483646 w 528"/>
                  <a:gd name="T13" fmla="*/ 2147483646 h 568"/>
                  <a:gd name="T14" fmla="*/ 2147483646 w 528"/>
                  <a:gd name="T15" fmla="*/ 2147483646 h 568"/>
                  <a:gd name="T16" fmla="*/ 2147483646 w 528"/>
                  <a:gd name="T17" fmla="*/ 2147483646 h 568"/>
                  <a:gd name="T18" fmla="*/ 2147483646 w 528"/>
                  <a:gd name="T19" fmla="*/ 2147483646 h 568"/>
                  <a:gd name="T20" fmla="*/ 2147483646 w 528"/>
                  <a:gd name="T21" fmla="*/ 2147483646 h 568"/>
                  <a:gd name="T22" fmla="*/ 2147483646 w 528"/>
                  <a:gd name="T23" fmla="*/ 2147483646 h 568"/>
                  <a:gd name="T24" fmla="*/ 2147483646 w 528"/>
                  <a:gd name="T25" fmla="*/ 2147483646 h 568"/>
                  <a:gd name="T26" fmla="*/ 2147483646 w 528"/>
                  <a:gd name="T27" fmla="*/ 2147483646 h 568"/>
                  <a:gd name="T28" fmla="*/ 2147483646 w 528"/>
                  <a:gd name="T29" fmla="*/ 2147483646 h 568"/>
                  <a:gd name="T30" fmla="*/ 2147483646 w 528"/>
                  <a:gd name="T31" fmla="*/ 2147483646 h 568"/>
                  <a:gd name="T32" fmla="*/ 2147483646 w 528"/>
                  <a:gd name="T33" fmla="*/ 2147483646 h 568"/>
                  <a:gd name="T34" fmla="*/ 2147483646 w 528"/>
                  <a:gd name="T35" fmla="*/ 2147483646 h 568"/>
                  <a:gd name="T36" fmla="*/ 2147483646 w 528"/>
                  <a:gd name="T37" fmla="*/ 2147483646 h 568"/>
                  <a:gd name="T38" fmla="*/ 2147483646 w 528"/>
                  <a:gd name="T39" fmla="*/ 2147483646 h 568"/>
                  <a:gd name="T40" fmla="*/ 2147483646 w 528"/>
                  <a:gd name="T41" fmla="*/ 2147483646 h 568"/>
                  <a:gd name="T42" fmla="*/ 2147483646 w 528"/>
                  <a:gd name="T43" fmla="*/ 2147483646 h 568"/>
                  <a:gd name="T44" fmla="*/ 2147483646 w 528"/>
                  <a:gd name="T45" fmla="*/ 2147483646 h 568"/>
                  <a:gd name="T46" fmla="*/ 0 w 528"/>
                  <a:gd name="T47" fmla="*/ 2147483646 h 568"/>
                  <a:gd name="T48" fmla="*/ 2147483646 w 528"/>
                  <a:gd name="T49" fmla="*/ 2147483646 h 568"/>
                  <a:gd name="T50" fmla="*/ 2147483646 w 528"/>
                  <a:gd name="T51" fmla="*/ 2147483646 h 568"/>
                  <a:gd name="T52" fmla="*/ 2147483646 w 528"/>
                  <a:gd name="T53" fmla="*/ 2147483646 h 568"/>
                  <a:gd name="T54" fmla="*/ 2147483646 w 528"/>
                  <a:gd name="T55" fmla="*/ 2147483646 h 568"/>
                  <a:gd name="T56" fmla="*/ 2147483646 w 528"/>
                  <a:gd name="T57" fmla="*/ 2147483646 h 568"/>
                  <a:gd name="T58" fmla="*/ 2147483646 w 528"/>
                  <a:gd name="T59" fmla="*/ 2147483646 h 568"/>
                  <a:gd name="T60" fmla="*/ 2147483646 w 528"/>
                  <a:gd name="T61" fmla="*/ 2147483646 h 568"/>
                  <a:gd name="T62" fmla="*/ 2147483646 w 528"/>
                  <a:gd name="T63" fmla="*/ 2147483646 h 568"/>
                  <a:gd name="T64" fmla="*/ 2147483646 w 528"/>
                  <a:gd name="T65" fmla="*/ 0 h 568"/>
                  <a:gd name="T66" fmla="*/ 2147483646 w 528"/>
                  <a:gd name="T67" fmla="*/ 2147483646 h 568"/>
                  <a:gd name="T68" fmla="*/ 2147483646 w 528"/>
                  <a:gd name="T69" fmla="*/ 2147483646 h 568"/>
                  <a:gd name="T70" fmla="*/ 2147483646 w 528"/>
                  <a:gd name="T71" fmla="*/ 2147483646 h 5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8"/>
                  <a:gd name="T109" fmla="*/ 0 h 568"/>
                  <a:gd name="T110" fmla="*/ 528 w 528"/>
                  <a:gd name="T111" fmla="*/ 568 h 5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8" h="568">
                    <a:moveTo>
                      <a:pt x="472" y="8"/>
                    </a:moveTo>
                    <a:lnTo>
                      <a:pt x="512" y="32"/>
                    </a:lnTo>
                    <a:lnTo>
                      <a:pt x="528" y="72"/>
                    </a:lnTo>
                    <a:lnTo>
                      <a:pt x="520" y="104"/>
                    </a:lnTo>
                    <a:lnTo>
                      <a:pt x="480" y="104"/>
                    </a:lnTo>
                    <a:lnTo>
                      <a:pt x="504" y="152"/>
                    </a:lnTo>
                    <a:lnTo>
                      <a:pt x="480" y="200"/>
                    </a:lnTo>
                    <a:lnTo>
                      <a:pt x="504" y="240"/>
                    </a:lnTo>
                    <a:lnTo>
                      <a:pt x="488" y="304"/>
                    </a:lnTo>
                    <a:lnTo>
                      <a:pt x="408" y="336"/>
                    </a:lnTo>
                    <a:lnTo>
                      <a:pt x="376" y="384"/>
                    </a:lnTo>
                    <a:lnTo>
                      <a:pt x="376" y="440"/>
                    </a:lnTo>
                    <a:lnTo>
                      <a:pt x="328" y="424"/>
                    </a:lnTo>
                    <a:lnTo>
                      <a:pt x="264" y="472"/>
                    </a:lnTo>
                    <a:lnTo>
                      <a:pt x="272" y="528"/>
                    </a:lnTo>
                    <a:lnTo>
                      <a:pt x="224" y="568"/>
                    </a:lnTo>
                    <a:lnTo>
                      <a:pt x="168" y="560"/>
                    </a:lnTo>
                    <a:lnTo>
                      <a:pt x="112" y="544"/>
                    </a:lnTo>
                    <a:lnTo>
                      <a:pt x="120" y="464"/>
                    </a:lnTo>
                    <a:lnTo>
                      <a:pt x="88" y="432"/>
                    </a:lnTo>
                    <a:lnTo>
                      <a:pt x="104" y="360"/>
                    </a:lnTo>
                    <a:lnTo>
                      <a:pt x="72" y="328"/>
                    </a:lnTo>
                    <a:lnTo>
                      <a:pt x="40" y="280"/>
                    </a:lnTo>
                    <a:lnTo>
                      <a:pt x="0" y="280"/>
                    </a:lnTo>
                    <a:lnTo>
                      <a:pt x="8" y="224"/>
                    </a:lnTo>
                    <a:lnTo>
                      <a:pt x="56" y="192"/>
                    </a:lnTo>
                    <a:lnTo>
                      <a:pt x="40" y="152"/>
                    </a:lnTo>
                    <a:lnTo>
                      <a:pt x="80" y="112"/>
                    </a:lnTo>
                    <a:lnTo>
                      <a:pt x="88" y="64"/>
                    </a:lnTo>
                    <a:lnTo>
                      <a:pt x="136" y="56"/>
                    </a:lnTo>
                    <a:lnTo>
                      <a:pt x="160" y="16"/>
                    </a:lnTo>
                    <a:lnTo>
                      <a:pt x="184" y="16"/>
                    </a:lnTo>
                    <a:lnTo>
                      <a:pt x="208" y="0"/>
                    </a:lnTo>
                    <a:lnTo>
                      <a:pt x="272" y="8"/>
                    </a:lnTo>
                    <a:lnTo>
                      <a:pt x="368" y="32"/>
                    </a:lnTo>
                    <a:lnTo>
                      <a:pt x="472" y="8"/>
                    </a:lnTo>
                    <a:close/>
                  </a:path>
                </a:pathLst>
              </a:custGeom>
              <a:solidFill>
                <a:srgbClr val="C6CFEB"/>
              </a:solidFill>
              <a:ln w="9525">
                <a:solidFill>
                  <a:schemeClr val="bg1"/>
                </a:solidFill>
                <a:round/>
                <a:headEnd/>
                <a:tailEnd/>
              </a:ln>
            </p:spPr>
            <p:txBody>
              <a:bodyPr/>
              <a:lstStyle/>
              <a:p>
                <a:endParaRPr lang="en-US" sz="1050"/>
              </a:p>
            </p:txBody>
          </p:sp>
          <p:sp>
            <p:nvSpPr>
              <p:cNvPr id="113" name="Freeform 112"/>
              <p:cNvSpPr>
                <a:spLocks/>
              </p:cNvSpPr>
              <p:nvPr/>
            </p:nvSpPr>
            <p:spPr bwMode="auto">
              <a:xfrm>
                <a:off x="4325946" y="3355114"/>
                <a:ext cx="754269" cy="754732"/>
              </a:xfrm>
              <a:custGeom>
                <a:avLst/>
                <a:gdLst>
                  <a:gd name="T0" fmla="*/ 2147483646 w 640"/>
                  <a:gd name="T1" fmla="*/ 2147483646 h 696"/>
                  <a:gd name="T2" fmla="*/ 2147483646 w 640"/>
                  <a:gd name="T3" fmla="*/ 2147483646 h 696"/>
                  <a:gd name="T4" fmla="*/ 2147483646 w 640"/>
                  <a:gd name="T5" fmla="*/ 2147483646 h 696"/>
                  <a:gd name="T6" fmla="*/ 2147483646 w 640"/>
                  <a:gd name="T7" fmla="*/ 2147483646 h 696"/>
                  <a:gd name="T8" fmla="*/ 2147483646 w 640"/>
                  <a:gd name="T9" fmla="*/ 2147483646 h 696"/>
                  <a:gd name="T10" fmla="*/ 2147483646 w 640"/>
                  <a:gd name="T11" fmla="*/ 2147483646 h 696"/>
                  <a:gd name="T12" fmla="*/ 2147483646 w 640"/>
                  <a:gd name="T13" fmla="*/ 2147483646 h 696"/>
                  <a:gd name="T14" fmla="*/ 2147483646 w 640"/>
                  <a:gd name="T15" fmla="*/ 2147483646 h 696"/>
                  <a:gd name="T16" fmla="*/ 2147483646 w 640"/>
                  <a:gd name="T17" fmla="*/ 2147483646 h 696"/>
                  <a:gd name="T18" fmla="*/ 2147483646 w 640"/>
                  <a:gd name="T19" fmla="*/ 2147483646 h 696"/>
                  <a:gd name="T20" fmla="*/ 2147483646 w 640"/>
                  <a:gd name="T21" fmla="*/ 2147483646 h 696"/>
                  <a:gd name="T22" fmla="*/ 2147483646 w 640"/>
                  <a:gd name="T23" fmla="*/ 2147483646 h 696"/>
                  <a:gd name="T24" fmla="*/ 2147483646 w 640"/>
                  <a:gd name="T25" fmla="*/ 2147483646 h 696"/>
                  <a:gd name="T26" fmla="*/ 2147483646 w 640"/>
                  <a:gd name="T27" fmla="*/ 2147483646 h 696"/>
                  <a:gd name="T28" fmla="*/ 2147483646 w 640"/>
                  <a:gd name="T29" fmla="*/ 0 h 696"/>
                  <a:gd name="T30" fmla="*/ 2147483646 w 640"/>
                  <a:gd name="T31" fmla="*/ 2147483646 h 696"/>
                  <a:gd name="T32" fmla="*/ 2147483646 w 640"/>
                  <a:gd name="T33" fmla="*/ 2147483646 h 696"/>
                  <a:gd name="T34" fmla="*/ 2147483646 w 640"/>
                  <a:gd name="T35" fmla="*/ 2147483646 h 696"/>
                  <a:gd name="T36" fmla="*/ 2147483646 w 640"/>
                  <a:gd name="T37" fmla="*/ 2147483646 h 696"/>
                  <a:gd name="T38" fmla="*/ 2147483646 w 640"/>
                  <a:gd name="T39" fmla="*/ 2147483646 h 696"/>
                  <a:gd name="T40" fmla="*/ 2147483646 w 640"/>
                  <a:gd name="T41" fmla="*/ 2147483646 h 696"/>
                  <a:gd name="T42" fmla="*/ 2147483646 w 640"/>
                  <a:gd name="T43" fmla="*/ 2147483646 h 696"/>
                  <a:gd name="T44" fmla="*/ 2147483646 w 640"/>
                  <a:gd name="T45" fmla="*/ 2147483646 h 696"/>
                  <a:gd name="T46" fmla="*/ 2147483646 w 640"/>
                  <a:gd name="T47" fmla="*/ 2147483646 h 696"/>
                  <a:gd name="T48" fmla="*/ 2147483646 w 640"/>
                  <a:gd name="T49" fmla="*/ 2147483646 h 696"/>
                  <a:gd name="T50" fmla="*/ 2147483646 w 640"/>
                  <a:gd name="T51" fmla="*/ 2147483646 h 696"/>
                  <a:gd name="T52" fmla="*/ 2147483646 w 640"/>
                  <a:gd name="T53" fmla="*/ 2147483646 h 696"/>
                  <a:gd name="T54" fmla="*/ 2147483646 w 640"/>
                  <a:gd name="T55" fmla="*/ 2147483646 h 696"/>
                  <a:gd name="T56" fmla="*/ 2147483646 w 640"/>
                  <a:gd name="T57" fmla="*/ 2147483646 h 696"/>
                  <a:gd name="T58" fmla="*/ 2147483646 w 640"/>
                  <a:gd name="T59" fmla="*/ 2147483646 h 696"/>
                  <a:gd name="T60" fmla="*/ 2147483646 w 640"/>
                  <a:gd name="T61" fmla="*/ 2147483646 h 696"/>
                  <a:gd name="T62" fmla="*/ 2147483646 w 640"/>
                  <a:gd name="T63" fmla="*/ 2147483646 h 696"/>
                  <a:gd name="T64" fmla="*/ 0 w 640"/>
                  <a:gd name="T65" fmla="*/ 2147483646 h 696"/>
                  <a:gd name="T66" fmla="*/ 2147483646 w 640"/>
                  <a:gd name="T67" fmla="*/ 2147483646 h 696"/>
                  <a:gd name="T68" fmla="*/ 2147483646 w 640"/>
                  <a:gd name="T69" fmla="*/ 2147483646 h 696"/>
                  <a:gd name="T70" fmla="*/ 2147483646 w 640"/>
                  <a:gd name="T71" fmla="*/ 2147483646 h 696"/>
                  <a:gd name="T72" fmla="*/ 2147483646 w 640"/>
                  <a:gd name="T73" fmla="*/ 2147483646 h 696"/>
                  <a:gd name="T74" fmla="*/ 2147483646 w 640"/>
                  <a:gd name="T75" fmla="*/ 2147483646 h 696"/>
                  <a:gd name="T76" fmla="*/ 2147483646 w 640"/>
                  <a:gd name="T77" fmla="*/ 2147483646 h 696"/>
                  <a:gd name="T78" fmla="*/ 2147483646 w 640"/>
                  <a:gd name="T79" fmla="*/ 2147483646 h 696"/>
                  <a:gd name="T80" fmla="*/ 2147483646 w 640"/>
                  <a:gd name="T81" fmla="*/ 2147483646 h 696"/>
                  <a:gd name="T82" fmla="*/ 2147483646 w 640"/>
                  <a:gd name="T83" fmla="*/ 2147483646 h 696"/>
                  <a:gd name="T84" fmla="*/ 2147483646 w 640"/>
                  <a:gd name="T85" fmla="*/ 2147483646 h 696"/>
                  <a:gd name="T86" fmla="*/ 2147483646 w 640"/>
                  <a:gd name="T87" fmla="*/ 2147483646 h 696"/>
                  <a:gd name="T88" fmla="*/ 2147483646 w 640"/>
                  <a:gd name="T89" fmla="*/ 2147483646 h 696"/>
                  <a:gd name="T90" fmla="*/ 2147483646 w 640"/>
                  <a:gd name="T91" fmla="*/ 2147483646 h 696"/>
                  <a:gd name="T92" fmla="*/ 2147483646 w 640"/>
                  <a:gd name="T93" fmla="*/ 2147483646 h 696"/>
                  <a:gd name="T94" fmla="*/ 2147483646 w 640"/>
                  <a:gd name="T95" fmla="*/ 2147483646 h 696"/>
                  <a:gd name="T96" fmla="*/ 2147483646 w 640"/>
                  <a:gd name="T97" fmla="*/ 2147483646 h 696"/>
                  <a:gd name="T98" fmla="*/ 2147483646 w 640"/>
                  <a:gd name="T99" fmla="*/ 2147483646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0"/>
                  <a:gd name="T151" fmla="*/ 0 h 696"/>
                  <a:gd name="T152" fmla="*/ 640 w 64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0" h="696">
                    <a:moveTo>
                      <a:pt x="552" y="640"/>
                    </a:moveTo>
                    <a:lnTo>
                      <a:pt x="472" y="608"/>
                    </a:lnTo>
                    <a:lnTo>
                      <a:pt x="432" y="528"/>
                    </a:lnTo>
                    <a:lnTo>
                      <a:pt x="464" y="520"/>
                    </a:lnTo>
                    <a:lnTo>
                      <a:pt x="464" y="472"/>
                    </a:lnTo>
                    <a:lnTo>
                      <a:pt x="544" y="400"/>
                    </a:lnTo>
                    <a:lnTo>
                      <a:pt x="544" y="368"/>
                    </a:lnTo>
                    <a:lnTo>
                      <a:pt x="592" y="352"/>
                    </a:lnTo>
                    <a:lnTo>
                      <a:pt x="608" y="304"/>
                    </a:lnTo>
                    <a:lnTo>
                      <a:pt x="640" y="288"/>
                    </a:lnTo>
                    <a:lnTo>
                      <a:pt x="600" y="192"/>
                    </a:lnTo>
                    <a:lnTo>
                      <a:pt x="632" y="128"/>
                    </a:lnTo>
                    <a:lnTo>
                      <a:pt x="624" y="80"/>
                    </a:lnTo>
                    <a:lnTo>
                      <a:pt x="608" y="32"/>
                    </a:lnTo>
                    <a:lnTo>
                      <a:pt x="568" y="0"/>
                    </a:lnTo>
                    <a:lnTo>
                      <a:pt x="528" y="24"/>
                    </a:lnTo>
                    <a:lnTo>
                      <a:pt x="488" y="8"/>
                    </a:lnTo>
                    <a:lnTo>
                      <a:pt x="408" y="40"/>
                    </a:lnTo>
                    <a:lnTo>
                      <a:pt x="376" y="88"/>
                    </a:lnTo>
                    <a:lnTo>
                      <a:pt x="376" y="144"/>
                    </a:lnTo>
                    <a:lnTo>
                      <a:pt x="328" y="128"/>
                    </a:lnTo>
                    <a:lnTo>
                      <a:pt x="264" y="176"/>
                    </a:lnTo>
                    <a:lnTo>
                      <a:pt x="272" y="232"/>
                    </a:lnTo>
                    <a:lnTo>
                      <a:pt x="224" y="272"/>
                    </a:lnTo>
                    <a:lnTo>
                      <a:pt x="168" y="264"/>
                    </a:lnTo>
                    <a:lnTo>
                      <a:pt x="112" y="248"/>
                    </a:lnTo>
                    <a:lnTo>
                      <a:pt x="80" y="264"/>
                    </a:lnTo>
                    <a:lnTo>
                      <a:pt x="88" y="288"/>
                    </a:lnTo>
                    <a:lnTo>
                      <a:pt x="56" y="288"/>
                    </a:lnTo>
                    <a:lnTo>
                      <a:pt x="88" y="328"/>
                    </a:lnTo>
                    <a:lnTo>
                      <a:pt x="56" y="344"/>
                    </a:lnTo>
                    <a:lnTo>
                      <a:pt x="40" y="376"/>
                    </a:lnTo>
                    <a:lnTo>
                      <a:pt x="0" y="384"/>
                    </a:lnTo>
                    <a:lnTo>
                      <a:pt x="24" y="448"/>
                    </a:lnTo>
                    <a:lnTo>
                      <a:pt x="72" y="424"/>
                    </a:lnTo>
                    <a:lnTo>
                      <a:pt x="72" y="464"/>
                    </a:lnTo>
                    <a:lnTo>
                      <a:pt x="40" y="488"/>
                    </a:lnTo>
                    <a:lnTo>
                      <a:pt x="56" y="536"/>
                    </a:lnTo>
                    <a:lnTo>
                      <a:pt x="136" y="592"/>
                    </a:lnTo>
                    <a:lnTo>
                      <a:pt x="192" y="584"/>
                    </a:lnTo>
                    <a:lnTo>
                      <a:pt x="256" y="592"/>
                    </a:lnTo>
                    <a:lnTo>
                      <a:pt x="336" y="560"/>
                    </a:lnTo>
                    <a:lnTo>
                      <a:pt x="344" y="616"/>
                    </a:lnTo>
                    <a:lnTo>
                      <a:pt x="328" y="672"/>
                    </a:lnTo>
                    <a:lnTo>
                      <a:pt x="360" y="696"/>
                    </a:lnTo>
                    <a:lnTo>
                      <a:pt x="408" y="680"/>
                    </a:lnTo>
                    <a:lnTo>
                      <a:pt x="464" y="696"/>
                    </a:lnTo>
                    <a:lnTo>
                      <a:pt x="504" y="672"/>
                    </a:lnTo>
                    <a:lnTo>
                      <a:pt x="544" y="664"/>
                    </a:lnTo>
                    <a:lnTo>
                      <a:pt x="552" y="640"/>
                    </a:lnTo>
                    <a:close/>
                  </a:path>
                </a:pathLst>
              </a:custGeom>
              <a:solidFill>
                <a:srgbClr val="4670F8"/>
              </a:solidFill>
              <a:ln w="9525">
                <a:solidFill>
                  <a:schemeClr val="bg1"/>
                </a:solidFill>
                <a:round/>
                <a:headEnd/>
                <a:tailEnd/>
              </a:ln>
            </p:spPr>
            <p:txBody>
              <a:bodyPr/>
              <a:lstStyle/>
              <a:p>
                <a:endParaRPr lang="en-US" sz="1050"/>
              </a:p>
            </p:txBody>
          </p:sp>
          <p:sp>
            <p:nvSpPr>
              <p:cNvPr id="114" name="Freeform 113"/>
              <p:cNvSpPr>
                <a:spLocks/>
              </p:cNvSpPr>
              <p:nvPr/>
            </p:nvSpPr>
            <p:spPr bwMode="auto">
              <a:xfrm>
                <a:off x="3590535" y="3138237"/>
                <a:ext cx="697699" cy="399054"/>
              </a:xfrm>
              <a:custGeom>
                <a:avLst/>
                <a:gdLst>
                  <a:gd name="T0" fmla="*/ 2147483646 w 592"/>
                  <a:gd name="T1" fmla="*/ 2147483646 h 368"/>
                  <a:gd name="T2" fmla="*/ 2147483646 w 592"/>
                  <a:gd name="T3" fmla="*/ 0 h 368"/>
                  <a:gd name="T4" fmla="*/ 2147483646 w 592"/>
                  <a:gd name="T5" fmla="*/ 2147483646 h 368"/>
                  <a:gd name="T6" fmla="*/ 2147483646 w 592"/>
                  <a:gd name="T7" fmla="*/ 2147483646 h 368"/>
                  <a:gd name="T8" fmla="*/ 2147483646 w 592"/>
                  <a:gd name="T9" fmla="*/ 2147483646 h 368"/>
                  <a:gd name="T10" fmla="*/ 2147483646 w 592"/>
                  <a:gd name="T11" fmla="*/ 2147483646 h 368"/>
                  <a:gd name="T12" fmla="*/ 2147483646 w 592"/>
                  <a:gd name="T13" fmla="*/ 2147483646 h 368"/>
                  <a:gd name="T14" fmla="*/ 2147483646 w 592"/>
                  <a:gd name="T15" fmla="*/ 2147483646 h 368"/>
                  <a:gd name="T16" fmla="*/ 2147483646 w 592"/>
                  <a:gd name="T17" fmla="*/ 2147483646 h 368"/>
                  <a:gd name="T18" fmla="*/ 2147483646 w 592"/>
                  <a:gd name="T19" fmla="*/ 2147483646 h 368"/>
                  <a:gd name="T20" fmla="*/ 2147483646 w 592"/>
                  <a:gd name="T21" fmla="*/ 2147483646 h 368"/>
                  <a:gd name="T22" fmla="*/ 2147483646 w 592"/>
                  <a:gd name="T23" fmla="*/ 2147483646 h 368"/>
                  <a:gd name="T24" fmla="*/ 2147483646 w 592"/>
                  <a:gd name="T25" fmla="*/ 2147483646 h 368"/>
                  <a:gd name="T26" fmla="*/ 2147483646 w 592"/>
                  <a:gd name="T27" fmla="*/ 2147483646 h 368"/>
                  <a:gd name="T28" fmla="*/ 2147483646 w 592"/>
                  <a:gd name="T29" fmla="*/ 2147483646 h 368"/>
                  <a:gd name="T30" fmla="*/ 2147483646 w 592"/>
                  <a:gd name="T31" fmla="*/ 2147483646 h 368"/>
                  <a:gd name="T32" fmla="*/ 2147483646 w 592"/>
                  <a:gd name="T33" fmla="*/ 2147483646 h 368"/>
                  <a:gd name="T34" fmla="*/ 2147483646 w 592"/>
                  <a:gd name="T35" fmla="*/ 2147483646 h 368"/>
                  <a:gd name="T36" fmla="*/ 2147483646 w 592"/>
                  <a:gd name="T37" fmla="*/ 2147483646 h 368"/>
                  <a:gd name="T38" fmla="*/ 2147483646 w 592"/>
                  <a:gd name="T39" fmla="*/ 2147483646 h 368"/>
                  <a:gd name="T40" fmla="*/ 2147483646 w 592"/>
                  <a:gd name="T41" fmla="*/ 2147483646 h 368"/>
                  <a:gd name="T42" fmla="*/ 2147483646 w 592"/>
                  <a:gd name="T43" fmla="*/ 2147483646 h 368"/>
                  <a:gd name="T44" fmla="*/ 2147483646 w 592"/>
                  <a:gd name="T45" fmla="*/ 2147483646 h 368"/>
                  <a:gd name="T46" fmla="*/ 2147483646 w 592"/>
                  <a:gd name="T47" fmla="*/ 2147483646 h 368"/>
                  <a:gd name="T48" fmla="*/ 0 w 592"/>
                  <a:gd name="T49" fmla="*/ 2147483646 h 368"/>
                  <a:gd name="T50" fmla="*/ 2147483646 w 592"/>
                  <a:gd name="T51" fmla="*/ 2147483646 h 368"/>
                  <a:gd name="T52" fmla="*/ 2147483646 w 592"/>
                  <a:gd name="T53" fmla="*/ 2147483646 h 368"/>
                  <a:gd name="T54" fmla="*/ 2147483646 w 592"/>
                  <a:gd name="T55" fmla="*/ 2147483646 h 368"/>
                  <a:gd name="T56" fmla="*/ 2147483646 w 592"/>
                  <a:gd name="T57" fmla="*/ 2147483646 h 368"/>
                  <a:gd name="T58" fmla="*/ 2147483646 w 592"/>
                  <a:gd name="T59" fmla="*/ 2147483646 h 368"/>
                  <a:gd name="T60" fmla="*/ 2147483646 w 592"/>
                  <a:gd name="T61" fmla="*/ 2147483646 h 368"/>
                  <a:gd name="T62" fmla="*/ 2147483646 w 592"/>
                  <a:gd name="T63" fmla="*/ 2147483646 h 368"/>
                  <a:gd name="T64" fmla="*/ 2147483646 w 592"/>
                  <a:gd name="T65" fmla="*/ 2147483646 h 368"/>
                  <a:gd name="T66" fmla="*/ 2147483646 w 592"/>
                  <a:gd name="T67" fmla="*/ 2147483646 h 368"/>
                  <a:gd name="T68" fmla="*/ 2147483646 w 592"/>
                  <a:gd name="T69" fmla="*/ 2147483646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2"/>
                  <a:gd name="T106" fmla="*/ 0 h 368"/>
                  <a:gd name="T107" fmla="*/ 592 w 592"/>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2" h="368">
                    <a:moveTo>
                      <a:pt x="280" y="32"/>
                    </a:moveTo>
                    <a:lnTo>
                      <a:pt x="336" y="0"/>
                    </a:lnTo>
                    <a:lnTo>
                      <a:pt x="368" y="32"/>
                    </a:lnTo>
                    <a:lnTo>
                      <a:pt x="456" y="48"/>
                    </a:lnTo>
                    <a:lnTo>
                      <a:pt x="528" y="32"/>
                    </a:lnTo>
                    <a:lnTo>
                      <a:pt x="544" y="80"/>
                    </a:lnTo>
                    <a:lnTo>
                      <a:pt x="592" y="72"/>
                    </a:lnTo>
                    <a:lnTo>
                      <a:pt x="584" y="136"/>
                    </a:lnTo>
                    <a:lnTo>
                      <a:pt x="544" y="144"/>
                    </a:lnTo>
                    <a:lnTo>
                      <a:pt x="536" y="168"/>
                    </a:lnTo>
                    <a:lnTo>
                      <a:pt x="480" y="176"/>
                    </a:lnTo>
                    <a:lnTo>
                      <a:pt x="480" y="272"/>
                    </a:lnTo>
                    <a:lnTo>
                      <a:pt x="432" y="288"/>
                    </a:lnTo>
                    <a:lnTo>
                      <a:pt x="392" y="344"/>
                    </a:lnTo>
                    <a:lnTo>
                      <a:pt x="328" y="312"/>
                    </a:lnTo>
                    <a:lnTo>
                      <a:pt x="312" y="352"/>
                    </a:lnTo>
                    <a:lnTo>
                      <a:pt x="248" y="368"/>
                    </a:lnTo>
                    <a:lnTo>
                      <a:pt x="184" y="336"/>
                    </a:lnTo>
                    <a:lnTo>
                      <a:pt x="184" y="304"/>
                    </a:lnTo>
                    <a:lnTo>
                      <a:pt x="128" y="280"/>
                    </a:lnTo>
                    <a:lnTo>
                      <a:pt x="120" y="248"/>
                    </a:lnTo>
                    <a:lnTo>
                      <a:pt x="80" y="240"/>
                    </a:lnTo>
                    <a:lnTo>
                      <a:pt x="40" y="184"/>
                    </a:lnTo>
                    <a:lnTo>
                      <a:pt x="16" y="184"/>
                    </a:lnTo>
                    <a:lnTo>
                      <a:pt x="0" y="152"/>
                    </a:lnTo>
                    <a:lnTo>
                      <a:pt x="56" y="120"/>
                    </a:lnTo>
                    <a:lnTo>
                      <a:pt x="56" y="88"/>
                    </a:lnTo>
                    <a:lnTo>
                      <a:pt x="88" y="80"/>
                    </a:lnTo>
                    <a:lnTo>
                      <a:pt x="80" y="40"/>
                    </a:lnTo>
                    <a:lnTo>
                      <a:pt x="176" y="8"/>
                    </a:lnTo>
                    <a:lnTo>
                      <a:pt x="160" y="40"/>
                    </a:lnTo>
                    <a:lnTo>
                      <a:pt x="192" y="40"/>
                    </a:lnTo>
                    <a:lnTo>
                      <a:pt x="248" y="80"/>
                    </a:lnTo>
                    <a:lnTo>
                      <a:pt x="280" y="48"/>
                    </a:lnTo>
                    <a:lnTo>
                      <a:pt x="280" y="32"/>
                    </a:lnTo>
                    <a:close/>
                  </a:path>
                </a:pathLst>
              </a:custGeom>
              <a:solidFill>
                <a:srgbClr val="C6CFEB"/>
              </a:solidFill>
              <a:ln w="9525">
                <a:solidFill>
                  <a:schemeClr val="bg1"/>
                </a:solidFill>
                <a:round/>
                <a:headEnd/>
                <a:tailEnd/>
              </a:ln>
            </p:spPr>
            <p:txBody>
              <a:bodyPr/>
              <a:lstStyle/>
              <a:p>
                <a:endParaRPr lang="en-US" sz="1050"/>
              </a:p>
            </p:txBody>
          </p:sp>
          <p:sp>
            <p:nvSpPr>
              <p:cNvPr id="115" name="Freeform 114"/>
              <p:cNvSpPr>
                <a:spLocks/>
              </p:cNvSpPr>
              <p:nvPr/>
            </p:nvSpPr>
            <p:spPr bwMode="auto">
              <a:xfrm>
                <a:off x="3647104" y="3198963"/>
                <a:ext cx="820267" cy="685331"/>
              </a:xfrm>
              <a:custGeom>
                <a:avLst/>
                <a:gdLst>
                  <a:gd name="T0" fmla="*/ 2147483646 w 696"/>
                  <a:gd name="T1" fmla="*/ 2147483646 h 632"/>
                  <a:gd name="T2" fmla="*/ 2147483646 w 696"/>
                  <a:gd name="T3" fmla="*/ 2147483646 h 632"/>
                  <a:gd name="T4" fmla="*/ 2147483646 w 696"/>
                  <a:gd name="T5" fmla="*/ 2147483646 h 632"/>
                  <a:gd name="T6" fmla="*/ 2147483646 w 696"/>
                  <a:gd name="T7" fmla="*/ 2147483646 h 632"/>
                  <a:gd name="T8" fmla="*/ 2147483646 w 696"/>
                  <a:gd name="T9" fmla="*/ 2147483646 h 632"/>
                  <a:gd name="T10" fmla="*/ 2147483646 w 696"/>
                  <a:gd name="T11" fmla="*/ 2147483646 h 632"/>
                  <a:gd name="T12" fmla="*/ 2147483646 w 696"/>
                  <a:gd name="T13" fmla="*/ 2147483646 h 632"/>
                  <a:gd name="T14" fmla="*/ 2147483646 w 696"/>
                  <a:gd name="T15" fmla="*/ 2147483646 h 632"/>
                  <a:gd name="T16" fmla="*/ 2147483646 w 696"/>
                  <a:gd name="T17" fmla="*/ 2147483646 h 632"/>
                  <a:gd name="T18" fmla="*/ 2147483646 w 696"/>
                  <a:gd name="T19" fmla="*/ 2147483646 h 632"/>
                  <a:gd name="T20" fmla="*/ 2147483646 w 696"/>
                  <a:gd name="T21" fmla="*/ 2147483646 h 632"/>
                  <a:gd name="T22" fmla="*/ 2147483646 w 696"/>
                  <a:gd name="T23" fmla="*/ 2147483646 h 632"/>
                  <a:gd name="T24" fmla="*/ 2147483646 w 696"/>
                  <a:gd name="T25" fmla="*/ 2147483646 h 632"/>
                  <a:gd name="T26" fmla="*/ 2147483646 w 696"/>
                  <a:gd name="T27" fmla="*/ 2147483646 h 632"/>
                  <a:gd name="T28" fmla="*/ 2147483646 w 696"/>
                  <a:gd name="T29" fmla="*/ 0 h 632"/>
                  <a:gd name="T30" fmla="*/ 2147483646 w 696"/>
                  <a:gd name="T31" fmla="*/ 2147483646 h 632"/>
                  <a:gd name="T32" fmla="*/ 2147483646 w 696"/>
                  <a:gd name="T33" fmla="*/ 2147483646 h 632"/>
                  <a:gd name="T34" fmla="*/ 2147483646 w 696"/>
                  <a:gd name="T35" fmla="*/ 2147483646 h 632"/>
                  <a:gd name="T36" fmla="*/ 2147483646 w 696"/>
                  <a:gd name="T37" fmla="*/ 2147483646 h 632"/>
                  <a:gd name="T38" fmla="*/ 2147483646 w 696"/>
                  <a:gd name="T39" fmla="*/ 2147483646 h 632"/>
                  <a:gd name="T40" fmla="*/ 2147483646 w 696"/>
                  <a:gd name="T41" fmla="*/ 2147483646 h 632"/>
                  <a:gd name="T42" fmla="*/ 2147483646 w 696"/>
                  <a:gd name="T43" fmla="*/ 2147483646 h 632"/>
                  <a:gd name="T44" fmla="*/ 2147483646 w 696"/>
                  <a:gd name="T45" fmla="*/ 2147483646 h 632"/>
                  <a:gd name="T46" fmla="*/ 2147483646 w 696"/>
                  <a:gd name="T47" fmla="*/ 2147483646 h 632"/>
                  <a:gd name="T48" fmla="*/ 2147483646 w 696"/>
                  <a:gd name="T49" fmla="*/ 2147483646 h 632"/>
                  <a:gd name="T50" fmla="*/ 2147483646 w 696"/>
                  <a:gd name="T51" fmla="*/ 2147483646 h 632"/>
                  <a:gd name="T52" fmla="*/ 2147483646 w 696"/>
                  <a:gd name="T53" fmla="*/ 2147483646 h 632"/>
                  <a:gd name="T54" fmla="*/ 2147483646 w 696"/>
                  <a:gd name="T55" fmla="*/ 2147483646 h 632"/>
                  <a:gd name="T56" fmla="*/ 2147483646 w 696"/>
                  <a:gd name="T57" fmla="*/ 2147483646 h 632"/>
                  <a:gd name="T58" fmla="*/ 2147483646 w 696"/>
                  <a:gd name="T59" fmla="*/ 2147483646 h 632"/>
                  <a:gd name="T60" fmla="*/ 2147483646 w 696"/>
                  <a:gd name="T61" fmla="*/ 2147483646 h 632"/>
                  <a:gd name="T62" fmla="*/ 2147483646 w 696"/>
                  <a:gd name="T63" fmla="*/ 2147483646 h 632"/>
                  <a:gd name="T64" fmla="*/ 2147483646 w 696"/>
                  <a:gd name="T65" fmla="*/ 2147483646 h 632"/>
                  <a:gd name="T66" fmla="*/ 2147483646 w 696"/>
                  <a:gd name="T67" fmla="*/ 2147483646 h 632"/>
                  <a:gd name="T68" fmla="*/ 2147483646 w 696"/>
                  <a:gd name="T69" fmla="*/ 2147483646 h 632"/>
                  <a:gd name="T70" fmla="*/ 2147483646 w 696"/>
                  <a:gd name="T71" fmla="*/ 2147483646 h 632"/>
                  <a:gd name="T72" fmla="*/ 2147483646 w 696"/>
                  <a:gd name="T73" fmla="*/ 2147483646 h 632"/>
                  <a:gd name="T74" fmla="*/ 2147483646 w 696"/>
                  <a:gd name="T75" fmla="*/ 2147483646 h 632"/>
                  <a:gd name="T76" fmla="*/ 2147483646 w 696"/>
                  <a:gd name="T77" fmla="*/ 2147483646 h 632"/>
                  <a:gd name="T78" fmla="*/ 2147483646 w 696"/>
                  <a:gd name="T79" fmla="*/ 2147483646 h 632"/>
                  <a:gd name="T80" fmla="*/ 2147483646 w 696"/>
                  <a:gd name="T81" fmla="*/ 2147483646 h 632"/>
                  <a:gd name="T82" fmla="*/ 2147483646 w 696"/>
                  <a:gd name="T83" fmla="*/ 2147483646 h 632"/>
                  <a:gd name="T84" fmla="*/ 2147483646 w 696"/>
                  <a:gd name="T85" fmla="*/ 2147483646 h 632"/>
                  <a:gd name="T86" fmla="*/ 2147483646 w 696"/>
                  <a:gd name="T87" fmla="*/ 2147483646 h 632"/>
                  <a:gd name="T88" fmla="*/ 2147483646 w 696"/>
                  <a:gd name="T89" fmla="*/ 2147483646 h 632"/>
                  <a:gd name="T90" fmla="*/ 0 w 696"/>
                  <a:gd name="T91" fmla="*/ 2147483646 h 632"/>
                  <a:gd name="T92" fmla="*/ 2147483646 w 696"/>
                  <a:gd name="T93" fmla="*/ 2147483646 h 632"/>
                  <a:gd name="T94" fmla="*/ 2147483646 w 696"/>
                  <a:gd name="T95" fmla="*/ 2147483646 h 632"/>
                  <a:gd name="T96" fmla="*/ 2147483646 w 696"/>
                  <a:gd name="T97" fmla="*/ 2147483646 h 632"/>
                  <a:gd name="T98" fmla="*/ 2147483646 w 696"/>
                  <a:gd name="T99" fmla="*/ 2147483646 h 6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96"/>
                  <a:gd name="T151" fmla="*/ 0 h 632"/>
                  <a:gd name="T152" fmla="*/ 696 w 696"/>
                  <a:gd name="T153" fmla="*/ 632 h 6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96" h="632">
                    <a:moveTo>
                      <a:pt x="80" y="224"/>
                    </a:moveTo>
                    <a:lnTo>
                      <a:pt x="136" y="248"/>
                    </a:lnTo>
                    <a:lnTo>
                      <a:pt x="136" y="280"/>
                    </a:lnTo>
                    <a:lnTo>
                      <a:pt x="200" y="312"/>
                    </a:lnTo>
                    <a:lnTo>
                      <a:pt x="264" y="296"/>
                    </a:lnTo>
                    <a:lnTo>
                      <a:pt x="280" y="256"/>
                    </a:lnTo>
                    <a:lnTo>
                      <a:pt x="344" y="280"/>
                    </a:lnTo>
                    <a:lnTo>
                      <a:pt x="384" y="232"/>
                    </a:lnTo>
                    <a:lnTo>
                      <a:pt x="432" y="216"/>
                    </a:lnTo>
                    <a:lnTo>
                      <a:pt x="432" y="120"/>
                    </a:lnTo>
                    <a:lnTo>
                      <a:pt x="488" y="112"/>
                    </a:lnTo>
                    <a:lnTo>
                      <a:pt x="488" y="80"/>
                    </a:lnTo>
                    <a:lnTo>
                      <a:pt x="536" y="80"/>
                    </a:lnTo>
                    <a:lnTo>
                      <a:pt x="544" y="8"/>
                    </a:lnTo>
                    <a:lnTo>
                      <a:pt x="616" y="0"/>
                    </a:lnTo>
                    <a:lnTo>
                      <a:pt x="624" y="40"/>
                    </a:lnTo>
                    <a:lnTo>
                      <a:pt x="584" y="72"/>
                    </a:lnTo>
                    <a:lnTo>
                      <a:pt x="576" y="128"/>
                    </a:lnTo>
                    <a:lnTo>
                      <a:pt x="616" y="128"/>
                    </a:lnTo>
                    <a:lnTo>
                      <a:pt x="680" y="208"/>
                    </a:lnTo>
                    <a:lnTo>
                      <a:pt x="664" y="272"/>
                    </a:lnTo>
                    <a:lnTo>
                      <a:pt x="696" y="312"/>
                    </a:lnTo>
                    <a:lnTo>
                      <a:pt x="688" y="384"/>
                    </a:lnTo>
                    <a:lnTo>
                      <a:pt x="656" y="408"/>
                    </a:lnTo>
                    <a:lnTo>
                      <a:pt x="664" y="432"/>
                    </a:lnTo>
                    <a:lnTo>
                      <a:pt x="632" y="432"/>
                    </a:lnTo>
                    <a:lnTo>
                      <a:pt x="664" y="472"/>
                    </a:lnTo>
                    <a:lnTo>
                      <a:pt x="632" y="488"/>
                    </a:lnTo>
                    <a:lnTo>
                      <a:pt x="616" y="520"/>
                    </a:lnTo>
                    <a:lnTo>
                      <a:pt x="576" y="520"/>
                    </a:lnTo>
                    <a:lnTo>
                      <a:pt x="600" y="592"/>
                    </a:lnTo>
                    <a:lnTo>
                      <a:pt x="544" y="608"/>
                    </a:lnTo>
                    <a:lnTo>
                      <a:pt x="496" y="584"/>
                    </a:lnTo>
                    <a:lnTo>
                      <a:pt x="456" y="632"/>
                    </a:lnTo>
                    <a:lnTo>
                      <a:pt x="440" y="608"/>
                    </a:lnTo>
                    <a:lnTo>
                      <a:pt x="448" y="568"/>
                    </a:lnTo>
                    <a:lnTo>
                      <a:pt x="392" y="576"/>
                    </a:lnTo>
                    <a:lnTo>
                      <a:pt x="368" y="552"/>
                    </a:lnTo>
                    <a:lnTo>
                      <a:pt x="272" y="544"/>
                    </a:lnTo>
                    <a:lnTo>
                      <a:pt x="248" y="536"/>
                    </a:lnTo>
                    <a:lnTo>
                      <a:pt x="184" y="568"/>
                    </a:lnTo>
                    <a:lnTo>
                      <a:pt x="144" y="480"/>
                    </a:lnTo>
                    <a:lnTo>
                      <a:pt x="88" y="488"/>
                    </a:lnTo>
                    <a:lnTo>
                      <a:pt x="72" y="472"/>
                    </a:lnTo>
                    <a:lnTo>
                      <a:pt x="64" y="424"/>
                    </a:lnTo>
                    <a:lnTo>
                      <a:pt x="0" y="360"/>
                    </a:lnTo>
                    <a:lnTo>
                      <a:pt x="56" y="344"/>
                    </a:lnTo>
                    <a:lnTo>
                      <a:pt x="88" y="288"/>
                    </a:lnTo>
                    <a:lnTo>
                      <a:pt x="56" y="256"/>
                    </a:lnTo>
                    <a:lnTo>
                      <a:pt x="80" y="224"/>
                    </a:lnTo>
                    <a:close/>
                  </a:path>
                </a:pathLst>
              </a:custGeom>
              <a:solidFill>
                <a:srgbClr val="4670F8"/>
              </a:solidFill>
              <a:ln w="9525">
                <a:solidFill>
                  <a:schemeClr val="bg1"/>
                </a:solidFill>
                <a:round/>
                <a:headEnd/>
                <a:tailEnd/>
              </a:ln>
            </p:spPr>
            <p:txBody>
              <a:bodyPr/>
              <a:lstStyle/>
              <a:p>
                <a:endParaRPr lang="en-US" sz="1050"/>
              </a:p>
            </p:txBody>
          </p:sp>
          <p:sp>
            <p:nvSpPr>
              <p:cNvPr id="116" name="Freeform 115"/>
              <p:cNvSpPr>
                <a:spLocks/>
              </p:cNvSpPr>
              <p:nvPr/>
            </p:nvSpPr>
            <p:spPr bwMode="auto">
              <a:xfrm>
                <a:off x="3647104" y="3710792"/>
                <a:ext cx="839124" cy="850158"/>
              </a:xfrm>
              <a:custGeom>
                <a:avLst/>
                <a:gdLst>
                  <a:gd name="T0" fmla="*/ 2147483646 w 712"/>
                  <a:gd name="T1" fmla="*/ 0 h 784"/>
                  <a:gd name="T2" fmla="*/ 2147483646 w 712"/>
                  <a:gd name="T3" fmla="*/ 2147483646 h 784"/>
                  <a:gd name="T4" fmla="*/ 2147483646 w 712"/>
                  <a:gd name="T5" fmla="*/ 2147483646 h 784"/>
                  <a:gd name="T6" fmla="*/ 2147483646 w 712"/>
                  <a:gd name="T7" fmla="*/ 2147483646 h 784"/>
                  <a:gd name="T8" fmla="*/ 2147483646 w 712"/>
                  <a:gd name="T9" fmla="*/ 2147483646 h 784"/>
                  <a:gd name="T10" fmla="*/ 2147483646 w 712"/>
                  <a:gd name="T11" fmla="*/ 2147483646 h 784"/>
                  <a:gd name="T12" fmla="*/ 2147483646 w 712"/>
                  <a:gd name="T13" fmla="*/ 2147483646 h 784"/>
                  <a:gd name="T14" fmla="*/ 2147483646 w 712"/>
                  <a:gd name="T15" fmla="*/ 2147483646 h 784"/>
                  <a:gd name="T16" fmla="*/ 2147483646 w 712"/>
                  <a:gd name="T17" fmla="*/ 2147483646 h 784"/>
                  <a:gd name="T18" fmla="*/ 2147483646 w 712"/>
                  <a:gd name="T19" fmla="*/ 2147483646 h 784"/>
                  <a:gd name="T20" fmla="*/ 2147483646 w 712"/>
                  <a:gd name="T21" fmla="*/ 2147483646 h 784"/>
                  <a:gd name="T22" fmla="*/ 2147483646 w 712"/>
                  <a:gd name="T23" fmla="*/ 2147483646 h 784"/>
                  <a:gd name="T24" fmla="*/ 2147483646 w 712"/>
                  <a:gd name="T25" fmla="*/ 2147483646 h 784"/>
                  <a:gd name="T26" fmla="*/ 2147483646 w 712"/>
                  <a:gd name="T27" fmla="*/ 2147483646 h 784"/>
                  <a:gd name="T28" fmla="*/ 2147483646 w 712"/>
                  <a:gd name="T29" fmla="*/ 2147483646 h 784"/>
                  <a:gd name="T30" fmla="*/ 2147483646 w 712"/>
                  <a:gd name="T31" fmla="*/ 2147483646 h 784"/>
                  <a:gd name="T32" fmla="*/ 2147483646 w 712"/>
                  <a:gd name="T33" fmla="*/ 2147483646 h 784"/>
                  <a:gd name="T34" fmla="*/ 2147483646 w 712"/>
                  <a:gd name="T35" fmla="*/ 2147483646 h 784"/>
                  <a:gd name="T36" fmla="*/ 2147483646 w 712"/>
                  <a:gd name="T37" fmla="*/ 2147483646 h 784"/>
                  <a:gd name="T38" fmla="*/ 2147483646 w 712"/>
                  <a:gd name="T39" fmla="*/ 2147483646 h 784"/>
                  <a:gd name="T40" fmla="*/ 2147483646 w 712"/>
                  <a:gd name="T41" fmla="*/ 2147483646 h 784"/>
                  <a:gd name="T42" fmla="*/ 2147483646 w 712"/>
                  <a:gd name="T43" fmla="*/ 2147483646 h 784"/>
                  <a:gd name="T44" fmla="*/ 2147483646 w 712"/>
                  <a:gd name="T45" fmla="*/ 2147483646 h 784"/>
                  <a:gd name="T46" fmla="*/ 2147483646 w 712"/>
                  <a:gd name="T47" fmla="*/ 2147483646 h 784"/>
                  <a:gd name="T48" fmla="*/ 2147483646 w 712"/>
                  <a:gd name="T49" fmla="*/ 2147483646 h 784"/>
                  <a:gd name="T50" fmla="*/ 2147483646 w 712"/>
                  <a:gd name="T51" fmla="*/ 2147483646 h 784"/>
                  <a:gd name="T52" fmla="*/ 2147483646 w 712"/>
                  <a:gd name="T53" fmla="*/ 2147483646 h 784"/>
                  <a:gd name="T54" fmla="*/ 2147483646 w 712"/>
                  <a:gd name="T55" fmla="*/ 2147483646 h 784"/>
                  <a:gd name="T56" fmla="*/ 2147483646 w 712"/>
                  <a:gd name="T57" fmla="*/ 2147483646 h 784"/>
                  <a:gd name="T58" fmla="*/ 2147483646 w 712"/>
                  <a:gd name="T59" fmla="*/ 2147483646 h 784"/>
                  <a:gd name="T60" fmla="*/ 2147483646 w 712"/>
                  <a:gd name="T61" fmla="*/ 2147483646 h 784"/>
                  <a:gd name="T62" fmla="*/ 2147483646 w 712"/>
                  <a:gd name="T63" fmla="*/ 2147483646 h 784"/>
                  <a:gd name="T64" fmla="*/ 2147483646 w 712"/>
                  <a:gd name="T65" fmla="*/ 2147483646 h 784"/>
                  <a:gd name="T66" fmla="*/ 2147483646 w 712"/>
                  <a:gd name="T67" fmla="*/ 2147483646 h 784"/>
                  <a:gd name="T68" fmla="*/ 2147483646 w 712"/>
                  <a:gd name="T69" fmla="*/ 2147483646 h 784"/>
                  <a:gd name="T70" fmla="*/ 2147483646 w 712"/>
                  <a:gd name="T71" fmla="*/ 2147483646 h 784"/>
                  <a:gd name="T72" fmla="*/ 2147483646 w 712"/>
                  <a:gd name="T73" fmla="*/ 2147483646 h 784"/>
                  <a:gd name="T74" fmla="*/ 2147483646 w 712"/>
                  <a:gd name="T75" fmla="*/ 2147483646 h 784"/>
                  <a:gd name="T76" fmla="*/ 2147483646 w 712"/>
                  <a:gd name="T77" fmla="*/ 2147483646 h 784"/>
                  <a:gd name="T78" fmla="*/ 2147483646 w 712"/>
                  <a:gd name="T79" fmla="*/ 2147483646 h 784"/>
                  <a:gd name="T80" fmla="*/ 2147483646 w 712"/>
                  <a:gd name="T81" fmla="*/ 2147483646 h 784"/>
                  <a:gd name="T82" fmla="*/ 2147483646 w 712"/>
                  <a:gd name="T83" fmla="*/ 2147483646 h 784"/>
                  <a:gd name="T84" fmla="*/ 2147483646 w 712"/>
                  <a:gd name="T85" fmla="*/ 2147483646 h 784"/>
                  <a:gd name="T86" fmla="*/ 2147483646 w 712"/>
                  <a:gd name="T87" fmla="*/ 2147483646 h 784"/>
                  <a:gd name="T88" fmla="*/ 2147483646 w 712"/>
                  <a:gd name="T89" fmla="*/ 2147483646 h 784"/>
                  <a:gd name="T90" fmla="*/ 0 w 712"/>
                  <a:gd name="T91" fmla="*/ 2147483646 h 784"/>
                  <a:gd name="T92" fmla="*/ 2147483646 w 712"/>
                  <a:gd name="T93" fmla="*/ 2147483646 h 784"/>
                  <a:gd name="T94" fmla="*/ 2147483646 w 712"/>
                  <a:gd name="T95" fmla="*/ 0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2"/>
                  <a:gd name="T145" fmla="*/ 0 h 784"/>
                  <a:gd name="T146" fmla="*/ 712 w 712"/>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2" h="784">
                    <a:moveTo>
                      <a:pt x="72" y="0"/>
                    </a:moveTo>
                    <a:lnTo>
                      <a:pt x="96" y="24"/>
                    </a:lnTo>
                    <a:lnTo>
                      <a:pt x="144" y="8"/>
                    </a:lnTo>
                    <a:lnTo>
                      <a:pt x="184" y="96"/>
                    </a:lnTo>
                    <a:lnTo>
                      <a:pt x="248" y="64"/>
                    </a:lnTo>
                    <a:lnTo>
                      <a:pt x="272" y="72"/>
                    </a:lnTo>
                    <a:lnTo>
                      <a:pt x="368" y="80"/>
                    </a:lnTo>
                    <a:lnTo>
                      <a:pt x="392" y="112"/>
                    </a:lnTo>
                    <a:lnTo>
                      <a:pt x="448" y="96"/>
                    </a:lnTo>
                    <a:lnTo>
                      <a:pt x="440" y="144"/>
                    </a:lnTo>
                    <a:lnTo>
                      <a:pt x="456" y="160"/>
                    </a:lnTo>
                    <a:lnTo>
                      <a:pt x="496" y="112"/>
                    </a:lnTo>
                    <a:lnTo>
                      <a:pt x="544" y="136"/>
                    </a:lnTo>
                    <a:lnTo>
                      <a:pt x="600" y="120"/>
                    </a:lnTo>
                    <a:lnTo>
                      <a:pt x="648" y="96"/>
                    </a:lnTo>
                    <a:lnTo>
                      <a:pt x="648" y="136"/>
                    </a:lnTo>
                    <a:lnTo>
                      <a:pt x="616" y="160"/>
                    </a:lnTo>
                    <a:lnTo>
                      <a:pt x="632" y="208"/>
                    </a:lnTo>
                    <a:lnTo>
                      <a:pt x="712" y="264"/>
                    </a:lnTo>
                    <a:lnTo>
                      <a:pt x="704" y="328"/>
                    </a:lnTo>
                    <a:lnTo>
                      <a:pt x="648" y="344"/>
                    </a:lnTo>
                    <a:lnTo>
                      <a:pt x="640" y="392"/>
                    </a:lnTo>
                    <a:lnTo>
                      <a:pt x="576" y="408"/>
                    </a:lnTo>
                    <a:lnTo>
                      <a:pt x="568" y="456"/>
                    </a:lnTo>
                    <a:lnTo>
                      <a:pt x="520" y="480"/>
                    </a:lnTo>
                    <a:lnTo>
                      <a:pt x="520" y="528"/>
                    </a:lnTo>
                    <a:lnTo>
                      <a:pt x="456" y="552"/>
                    </a:lnTo>
                    <a:lnTo>
                      <a:pt x="448" y="616"/>
                    </a:lnTo>
                    <a:lnTo>
                      <a:pt x="472" y="688"/>
                    </a:lnTo>
                    <a:lnTo>
                      <a:pt x="448" y="784"/>
                    </a:lnTo>
                    <a:lnTo>
                      <a:pt x="432" y="776"/>
                    </a:lnTo>
                    <a:lnTo>
                      <a:pt x="384" y="704"/>
                    </a:lnTo>
                    <a:lnTo>
                      <a:pt x="328" y="656"/>
                    </a:lnTo>
                    <a:lnTo>
                      <a:pt x="304" y="472"/>
                    </a:lnTo>
                    <a:lnTo>
                      <a:pt x="272" y="432"/>
                    </a:lnTo>
                    <a:lnTo>
                      <a:pt x="272" y="384"/>
                    </a:lnTo>
                    <a:lnTo>
                      <a:pt x="200" y="400"/>
                    </a:lnTo>
                    <a:lnTo>
                      <a:pt x="152" y="344"/>
                    </a:lnTo>
                    <a:lnTo>
                      <a:pt x="184" y="336"/>
                    </a:lnTo>
                    <a:lnTo>
                      <a:pt x="184" y="312"/>
                    </a:lnTo>
                    <a:lnTo>
                      <a:pt x="136" y="280"/>
                    </a:lnTo>
                    <a:lnTo>
                      <a:pt x="128" y="208"/>
                    </a:lnTo>
                    <a:lnTo>
                      <a:pt x="56" y="208"/>
                    </a:lnTo>
                    <a:lnTo>
                      <a:pt x="16" y="176"/>
                    </a:lnTo>
                    <a:lnTo>
                      <a:pt x="32" y="128"/>
                    </a:lnTo>
                    <a:lnTo>
                      <a:pt x="0" y="56"/>
                    </a:lnTo>
                    <a:lnTo>
                      <a:pt x="32" y="16"/>
                    </a:lnTo>
                    <a:lnTo>
                      <a:pt x="72" y="0"/>
                    </a:lnTo>
                    <a:close/>
                  </a:path>
                </a:pathLst>
              </a:custGeom>
              <a:solidFill>
                <a:srgbClr val="C6CFEB"/>
              </a:solidFill>
              <a:ln w="9525">
                <a:solidFill>
                  <a:schemeClr val="bg1"/>
                </a:solidFill>
                <a:round/>
                <a:headEnd/>
                <a:tailEnd/>
              </a:ln>
            </p:spPr>
            <p:txBody>
              <a:bodyPr/>
              <a:lstStyle/>
              <a:p>
                <a:endParaRPr lang="en-US" sz="1050"/>
              </a:p>
            </p:txBody>
          </p:sp>
          <p:sp>
            <p:nvSpPr>
              <p:cNvPr id="117" name="Freeform 116"/>
              <p:cNvSpPr>
                <a:spLocks/>
              </p:cNvSpPr>
              <p:nvPr/>
            </p:nvSpPr>
            <p:spPr bwMode="auto">
              <a:xfrm>
                <a:off x="4175093" y="3962369"/>
                <a:ext cx="697699" cy="598580"/>
              </a:xfrm>
              <a:custGeom>
                <a:avLst/>
                <a:gdLst>
                  <a:gd name="T0" fmla="*/ 0 w 592"/>
                  <a:gd name="T1" fmla="*/ 2147483646 h 552"/>
                  <a:gd name="T2" fmla="*/ 2147483646 w 592"/>
                  <a:gd name="T3" fmla="*/ 2147483646 h 552"/>
                  <a:gd name="T4" fmla="*/ 0 w 592"/>
                  <a:gd name="T5" fmla="*/ 2147483646 h 552"/>
                  <a:gd name="T6" fmla="*/ 2147483646 w 592"/>
                  <a:gd name="T7" fmla="*/ 2147483646 h 552"/>
                  <a:gd name="T8" fmla="*/ 2147483646 w 592"/>
                  <a:gd name="T9" fmla="*/ 2147483646 h 552"/>
                  <a:gd name="T10" fmla="*/ 2147483646 w 592"/>
                  <a:gd name="T11" fmla="*/ 2147483646 h 552"/>
                  <a:gd name="T12" fmla="*/ 2147483646 w 592"/>
                  <a:gd name="T13" fmla="*/ 2147483646 h 552"/>
                  <a:gd name="T14" fmla="*/ 2147483646 w 592"/>
                  <a:gd name="T15" fmla="*/ 2147483646 h 552"/>
                  <a:gd name="T16" fmla="*/ 2147483646 w 592"/>
                  <a:gd name="T17" fmla="*/ 2147483646 h 552"/>
                  <a:gd name="T18" fmla="*/ 2147483646 w 592"/>
                  <a:gd name="T19" fmla="*/ 2147483646 h 552"/>
                  <a:gd name="T20" fmla="*/ 2147483646 w 592"/>
                  <a:gd name="T21" fmla="*/ 2147483646 h 552"/>
                  <a:gd name="T22" fmla="*/ 2147483646 w 592"/>
                  <a:gd name="T23" fmla="*/ 2147483646 h 552"/>
                  <a:gd name="T24" fmla="*/ 2147483646 w 592"/>
                  <a:gd name="T25" fmla="*/ 2147483646 h 552"/>
                  <a:gd name="T26" fmla="*/ 2147483646 w 592"/>
                  <a:gd name="T27" fmla="*/ 2147483646 h 552"/>
                  <a:gd name="T28" fmla="*/ 2147483646 w 592"/>
                  <a:gd name="T29" fmla="*/ 0 h 552"/>
                  <a:gd name="T30" fmla="*/ 2147483646 w 592"/>
                  <a:gd name="T31" fmla="*/ 2147483646 h 552"/>
                  <a:gd name="T32" fmla="*/ 2147483646 w 592"/>
                  <a:gd name="T33" fmla="*/ 2147483646 h 552"/>
                  <a:gd name="T34" fmla="*/ 2147483646 w 592"/>
                  <a:gd name="T35" fmla="*/ 2147483646 h 552"/>
                  <a:gd name="T36" fmla="*/ 2147483646 w 592"/>
                  <a:gd name="T37" fmla="*/ 2147483646 h 552"/>
                  <a:gd name="T38" fmla="*/ 2147483646 w 592"/>
                  <a:gd name="T39" fmla="*/ 2147483646 h 552"/>
                  <a:gd name="T40" fmla="*/ 2147483646 w 592"/>
                  <a:gd name="T41" fmla="*/ 2147483646 h 552"/>
                  <a:gd name="T42" fmla="*/ 2147483646 w 592"/>
                  <a:gd name="T43" fmla="*/ 2147483646 h 552"/>
                  <a:gd name="T44" fmla="*/ 2147483646 w 592"/>
                  <a:gd name="T45" fmla="*/ 2147483646 h 552"/>
                  <a:gd name="T46" fmla="*/ 2147483646 w 592"/>
                  <a:gd name="T47" fmla="*/ 2147483646 h 552"/>
                  <a:gd name="T48" fmla="*/ 2147483646 w 592"/>
                  <a:gd name="T49" fmla="*/ 2147483646 h 552"/>
                  <a:gd name="T50" fmla="*/ 2147483646 w 592"/>
                  <a:gd name="T51" fmla="*/ 2147483646 h 552"/>
                  <a:gd name="T52" fmla="*/ 2147483646 w 592"/>
                  <a:gd name="T53" fmla="*/ 2147483646 h 552"/>
                  <a:gd name="T54" fmla="*/ 2147483646 w 592"/>
                  <a:gd name="T55" fmla="*/ 2147483646 h 552"/>
                  <a:gd name="T56" fmla="*/ 2147483646 w 592"/>
                  <a:gd name="T57" fmla="*/ 2147483646 h 552"/>
                  <a:gd name="T58" fmla="*/ 2147483646 w 592"/>
                  <a:gd name="T59" fmla="*/ 2147483646 h 552"/>
                  <a:gd name="T60" fmla="*/ 2147483646 w 592"/>
                  <a:gd name="T61" fmla="*/ 2147483646 h 552"/>
                  <a:gd name="T62" fmla="*/ 0 w 592"/>
                  <a:gd name="T63" fmla="*/ 2147483646 h 5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2"/>
                  <a:gd name="T97" fmla="*/ 0 h 552"/>
                  <a:gd name="T98" fmla="*/ 592 w 592"/>
                  <a:gd name="T99" fmla="*/ 552 h 5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2" h="552">
                    <a:moveTo>
                      <a:pt x="0" y="552"/>
                    </a:moveTo>
                    <a:lnTo>
                      <a:pt x="24" y="456"/>
                    </a:lnTo>
                    <a:lnTo>
                      <a:pt x="0" y="384"/>
                    </a:lnTo>
                    <a:lnTo>
                      <a:pt x="8" y="320"/>
                    </a:lnTo>
                    <a:lnTo>
                      <a:pt x="72" y="296"/>
                    </a:lnTo>
                    <a:lnTo>
                      <a:pt x="72" y="248"/>
                    </a:lnTo>
                    <a:lnTo>
                      <a:pt x="120" y="224"/>
                    </a:lnTo>
                    <a:lnTo>
                      <a:pt x="128" y="176"/>
                    </a:lnTo>
                    <a:lnTo>
                      <a:pt x="192" y="160"/>
                    </a:lnTo>
                    <a:lnTo>
                      <a:pt x="200" y="112"/>
                    </a:lnTo>
                    <a:lnTo>
                      <a:pt x="256" y="96"/>
                    </a:lnTo>
                    <a:lnTo>
                      <a:pt x="264" y="32"/>
                    </a:lnTo>
                    <a:lnTo>
                      <a:pt x="320" y="24"/>
                    </a:lnTo>
                    <a:lnTo>
                      <a:pt x="384" y="32"/>
                    </a:lnTo>
                    <a:lnTo>
                      <a:pt x="464" y="0"/>
                    </a:lnTo>
                    <a:lnTo>
                      <a:pt x="472" y="56"/>
                    </a:lnTo>
                    <a:lnTo>
                      <a:pt x="456" y="112"/>
                    </a:lnTo>
                    <a:lnTo>
                      <a:pt x="488" y="136"/>
                    </a:lnTo>
                    <a:lnTo>
                      <a:pt x="536" y="120"/>
                    </a:lnTo>
                    <a:lnTo>
                      <a:pt x="592" y="136"/>
                    </a:lnTo>
                    <a:lnTo>
                      <a:pt x="592" y="176"/>
                    </a:lnTo>
                    <a:lnTo>
                      <a:pt x="544" y="216"/>
                    </a:lnTo>
                    <a:lnTo>
                      <a:pt x="504" y="208"/>
                    </a:lnTo>
                    <a:lnTo>
                      <a:pt x="520" y="240"/>
                    </a:lnTo>
                    <a:lnTo>
                      <a:pt x="472" y="256"/>
                    </a:lnTo>
                    <a:lnTo>
                      <a:pt x="536" y="312"/>
                    </a:lnTo>
                    <a:lnTo>
                      <a:pt x="464" y="328"/>
                    </a:lnTo>
                    <a:lnTo>
                      <a:pt x="480" y="464"/>
                    </a:lnTo>
                    <a:lnTo>
                      <a:pt x="400" y="488"/>
                    </a:lnTo>
                    <a:lnTo>
                      <a:pt x="264" y="480"/>
                    </a:lnTo>
                    <a:lnTo>
                      <a:pt x="136" y="504"/>
                    </a:lnTo>
                    <a:lnTo>
                      <a:pt x="0" y="552"/>
                    </a:lnTo>
                    <a:close/>
                  </a:path>
                </a:pathLst>
              </a:custGeom>
              <a:solidFill>
                <a:srgbClr val="4670F8"/>
              </a:solidFill>
              <a:ln w="9525">
                <a:solidFill>
                  <a:schemeClr val="bg1"/>
                </a:solidFill>
                <a:round/>
                <a:headEnd/>
                <a:tailEnd/>
              </a:ln>
            </p:spPr>
            <p:txBody>
              <a:bodyPr/>
              <a:lstStyle/>
              <a:p>
                <a:endParaRPr lang="en-US" sz="1050"/>
              </a:p>
            </p:txBody>
          </p:sp>
          <p:sp>
            <p:nvSpPr>
              <p:cNvPr id="118" name="Freeform 117"/>
              <p:cNvSpPr>
                <a:spLocks/>
              </p:cNvSpPr>
              <p:nvPr/>
            </p:nvSpPr>
            <p:spPr bwMode="auto">
              <a:xfrm>
                <a:off x="4721938" y="4049120"/>
                <a:ext cx="791982" cy="572555"/>
              </a:xfrm>
              <a:custGeom>
                <a:avLst/>
                <a:gdLst>
                  <a:gd name="T0" fmla="*/ 2147483646 w 672"/>
                  <a:gd name="T1" fmla="*/ 2147483646 h 528"/>
                  <a:gd name="T2" fmla="*/ 0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0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2147483646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72"/>
                  <a:gd name="T118" fmla="*/ 0 h 528"/>
                  <a:gd name="T119" fmla="*/ 672 w 672"/>
                  <a:gd name="T120" fmla="*/ 528 h 5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72" h="528">
                    <a:moveTo>
                      <a:pt x="16" y="384"/>
                    </a:moveTo>
                    <a:lnTo>
                      <a:pt x="0" y="248"/>
                    </a:lnTo>
                    <a:lnTo>
                      <a:pt x="72" y="232"/>
                    </a:lnTo>
                    <a:lnTo>
                      <a:pt x="8" y="176"/>
                    </a:lnTo>
                    <a:lnTo>
                      <a:pt x="56" y="160"/>
                    </a:lnTo>
                    <a:lnTo>
                      <a:pt x="40" y="128"/>
                    </a:lnTo>
                    <a:lnTo>
                      <a:pt x="80" y="136"/>
                    </a:lnTo>
                    <a:lnTo>
                      <a:pt x="128" y="96"/>
                    </a:lnTo>
                    <a:lnTo>
                      <a:pt x="128" y="56"/>
                    </a:lnTo>
                    <a:lnTo>
                      <a:pt x="208" y="24"/>
                    </a:lnTo>
                    <a:lnTo>
                      <a:pt x="216" y="0"/>
                    </a:lnTo>
                    <a:lnTo>
                      <a:pt x="264" y="32"/>
                    </a:lnTo>
                    <a:lnTo>
                      <a:pt x="288" y="16"/>
                    </a:lnTo>
                    <a:lnTo>
                      <a:pt x="336" y="56"/>
                    </a:lnTo>
                    <a:lnTo>
                      <a:pt x="336" y="88"/>
                    </a:lnTo>
                    <a:lnTo>
                      <a:pt x="432" y="112"/>
                    </a:lnTo>
                    <a:lnTo>
                      <a:pt x="416" y="176"/>
                    </a:lnTo>
                    <a:lnTo>
                      <a:pt x="456" y="224"/>
                    </a:lnTo>
                    <a:lnTo>
                      <a:pt x="424" y="240"/>
                    </a:lnTo>
                    <a:lnTo>
                      <a:pt x="440" y="288"/>
                    </a:lnTo>
                    <a:lnTo>
                      <a:pt x="488" y="312"/>
                    </a:lnTo>
                    <a:lnTo>
                      <a:pt x="536" y="304"/>
                    </a:lnTo>
                    <a:lnTo>
                      <a:pt x="608" y="336"/>
                    </a:lnTo>
                    <a:lnTo>
                      <a:pt x="672" y="408"/>
                    </a:lnTo>
                    <a:lnTo>
                      <a:pt x="656" y="480"/>
                    </a:lnTo>
                    <a:lnTo>
                      <a:pt x="592" y="440"/>
                    </a:lnTo>
                    <a:lnTo>
                      <a:pt x="552" y="512"/>
                    </a:lnTo>
                    <a:lnTo>
                      <a:pt x="472" y="472"/>
                    </a:lnTo>
                    <a:lnTo>
                      <a:pt x="432" y="472"/>
                    </a:lnTo>
                    <a:lnTo>
                      <a:pt x="416" y="488"/>
                    </a:lnTo>
                    <a:lnTo>
                      <a:pt x="384" y="472"/>
                    </a:lnTo>
                    <a:lnTo>
                      <a:pt x="376" y="504"/>
                    </a:lnTo>
                    <a:lnTo>
                      <a:pt x="336" y="480"/>
                    </a:lnTo>
                    <a:lnTo>
                      <a:pt x="296" y="528"/>
                    </a:lnTo>
                    <a:lnTo>
                      <a:pt x="248" y="488"/>
                    </a:lnTo>
                    <a:lnTo>
                      <a:pt x="256" y="448"/>
                    </a:lnTo>
                    <a:lnTo>
                      <a:pt x="160" y="392"/>
                    </a:lnTo>
                    <a:lnTo>
                      <a:pt x="64" y="376"/>
                    </a:lnTo>
                    <a:lnTo>
                      <a:pt x="16" y="384"/>
                    </a:lnTo>
                    <a:close/>
                  </a:path>
                </a:pathLst>
              </a:custGeom>
              <a:solidFill>
                <a:srgbClr val="4670F8"/>
              </a:solidFill>
              <a:ln w="9525">
                <a:solidFill>
                  <a:schemeClr val="bg1"/>
                </a:solidFill>
                <a:round/>
                <a:headEnd/>
                <a:tailEnd/>
              </a:ln>
            </p:spPr>
            <p:txBody>
              <a:bodyPr/>
              <a:lstStyle/>
              <a:p>
                <a:endParaRPr lang="en-US" sz="1050"/>
              </a:p>
            </p:txBody>
          </p:sp>
          <p:sp>
            <p:nvSpPr>
              <p:cNvPr id="119" name="Freeform 118"/>
              <p:cNvSpPr>
                <a:spLocks/>
              </p:cNvSpPr>
              <p:nvPr/>
            </p:nvSpPr>
            <p:spPr bwMode="auto">
              <a:xfrm>
                <a:off x="5117929" y="3979720"/>
                <a:ext cx="546845" cy="511830"/>
              </a:xfrm>
              <a:custGeom>
                <a:avLst/>
                <a:gdLst>
                  <a:gd name="T0" fmla="*/ 2147483646 w 464"/>
                  <a:gd name="T1" fmla="*/ 2147483646 h 472"/>
                  <a:gd name="T2" fmla="*/ 2147483646 w 464"/>
                  <a:gd name="T3" fmla="*/ 2147483646 h 472"/>
                  <a:gd name="T4" fmla="*/ 2147483646 w 464"/>
                  <a:gd name="T5" fmla="*/ 2147483646 h 472"/>
                  <a:gd name="T6" fmla="*/ 2147483646 w 464"/>
                  <a:gd name="T7" fmla="*/ 2147483646 h 472"/>
                  <a:gd name="T8" fmla="*/ 2147483646 w 464"/>
                  <a:gd name="T9" fmla="*/ 2147483646 h 472"/>
                  <a:gd name="T10" fmla="*/ 2147483646 w 464"/>
                  <a:gd name="T11" fmla="*/ 2147483646 h 472"/>
                  <a:gd name="T12" fmla="*/ 2147483646 w 464"/>
                  <a:gd name="T13" fmla="*/ 2147483646 h 472"/>
                  <a:gd name="T14" fmla="*/ 2147483646 w 464"/>
                  <a:gd name="T15" fmla="*/ 2147483646 h 472"/>
                  <a:gd name="T16" fmla="*/ 2147483646 w 464"/>
                  <a:gd name="T17" fmla="*/ 2147483646 h 472"/>
                  <a:gd name="T18" fmla="*/ 0 w 464"/>
                  <a:gd name="T19" fmla="*/ 2147483646 h 472"/>
                  <a:gd name="T20" fmla="*/ 0 w 464"/>
                  <a:gd name="T21" fmla="*/ 2147483646 h 472"/>
                  <a:gd name="T22" fmla="*/ 2147483646 w 464"/>
                  <a:gd name="T23" fmla="*/ 2147483646 h 472"/>
                  <a:gd name="T24" fmla="*/ 2147483646 w 464"/>
                  <a:gd name="T25" fmla="*/ 0 h 472"/>
                  <a:gd name="T26" fmla="*/ 2147483646 w 464"/>
                  <a:gd name="T27" fmla="*/ 2147483646 h 472"/>
                  <a:gd name="T28" fmla="*/ 2147483646 w 464"/>
                  <a:gd name="T29" fmla="*/ 2147483646 h 472"/>
                  <a:gd name="T30" fmla="*/ 2147483646 w 464"/>
                  <a:gd name="T31" fmla="*/ 2147483646 h 472"/>
                  <a:gd name="T32" fmla="*/ 2147483646 w 464"/>
                  <a:gd name="T33" fmla="*/ 2147483646 h 472"/>
                  <a:gd name="T34" fmla="*/ 2147483646 w 464"/>
                  <a:gd name="T35" fmla="*/ 2147483646 h 472"/>
                  <a:gd name="T36" fmla="*/ 2147483646 w 464"/>
                  <a:gd name="T37" fmla="*/ 2147483646 h 472"/>
                  <a:gd name="T38" fmla="*/ 2147483646 w 464"/>
                  <a:gd name="T39" fmla="*/ 2147483646 h 472"/>
                  <a:gd name="T40" fmla="*/ 2147483646 w 464"/>
                  <a:gd name="T41" fmla="*/ 2147483646 h 472"/>
                  <a:gd name="T42" fmla="*/ 2147483646 w 464"/>
                  <a:gd name="T43" fmla="*/ 2147483646 h 472"/>
                  <a:gd name="T44" fmla="*/ 2147483646 w 464"/>
                  <a:gd name="T45" fmla="*/ 2147483646 h 472"/>
                  <a:gd name="T46" fmla="*/ 2147483646 w 464"/>
                  <a:gd name="T47" fmla="*/ 2147483646 h 472"/>
                  <a:gd name="T48" fmla="*/ 2147483646 w 464"/>
                  <a:gd name="T49" fmla="*/ 2147483646 h 472"/>
                  <a:gd name="T50" fmla="*/ 2147483646 w 464"/>
                  <a:gd name="T51" fmla="*/ 2147483646 h 472"/>
                  <a:gd name="T52" fmla="*/ 2147483646 w 464"/>
                  <a:gd name="T53" fmla="*/ 2147483646 h 472"/>
                  <a:gd name="T54" fmla="*/ 2147483646 w 464"/>
                  <a:gd name="T55" fmla="*/ 2147483646 h 472"/>
                  <a:gd name="T56" fmla="*/ 2147483646 w 464"/>
                  <a:gd name="T57" fmla="*/ 2147483646 h 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4"/>
                  <a:gd name="T88" fmla="*/ 0 h 472"/>
                  <a:gd name="T89" fmla="*/ 464 w 464"/>
                  <a:gd name="T90" fmla="*/ 472 h 4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4" h="472">
                    <a:moveTo>
                      <a:pt x="336" y="472"/>
                    </a:moveTo>
                    <a:lnTo>
                      <a:pt x="272" y="400"/>
                    </a:lnTo>
                    <a:lnTo>
                      <a:pt x="200" y="368"/>
                    </a:lnTo>
                    <a:lnTo>
                      <a:pt x="152" y="376"/>
                    </a:lnTo>
                    <a:lnTo>
                      <a:pt x="104" y="352"/>
                    </a:lnTo>
                    <a:lnTo>
                      <a:pt x="88" y="304"/>
                    </a:lnTo>
                    <a:lnTo>
                      <a:pt x="120" y="288"/>
                    </a:lnTo>
                    <a:lnTo>
                      <a:pt x="80" y="240"/>
                    </a:lnTo>
                    <a:lnTo>
                      <a:pt x="96" y="176"/>
                    </a:lnTo>
                    <a:lnTo>
                      <a:pt x="0" y="152"/>
                    </a:lnTo>
                    <a:lnTo>
                      <a:pt x="0" y="120"/>
                    </a:lnTo>
                    <a:lnTo>
                      <a:pt x="56" y="32"/>
                    </a:lnTo>
                    <a:lnTo>
                      <a:pt x="112" y="0"/>
                    </a:lnTo>
                    <a:lnTo>
                      <a:pt x="136" y="80"/>
                    </a:lnTo>
                    <a:lnTo>
                      <a:pt x="184" y="128"/>
                    </a:lnTo>
                    <a:lnTo>
                      <a:pt x="360" y="112"/>
                    </a:lnTo>
                    <a:lnTo>
                      <a:pt x="392" y="48"/>
                    </a:lnTo>
                    <a:lnTo>
                      <a:pt x="424" y="48"/>
                    </a:lnTo>
                    <a:lnTo>
                      <a:pt x="432" y="112"/>
                    </a:lnTo>
                    <a:lnTo>
                      <a:pt x="464" y="152"/>
                    </a:lnTo>
                    <a:lnTo>
                      <a:pt x="456" y="216"/>
                    </a:lnTo>
                    <a:lnTo>
                      <a:pt x="464" y="320"/>
                    </a:lnTo>
                    <a:lnTo>
                      <a:pt x="464" y="384"/>
                    </a:lnTo>
                    <a:lnTo>
                      <a:pt x="432" y="400"/>
                    </a:lnTo>
                    <a:lnTo>
                      <a:pt x="440" y="456"/>
                    </a:lnTo>
                    <a:lnTo>
                      <a:pt x="408" y="472"/>
                    </a:lnTo>
                    <a:lnTo>
                      <a:pt x="400" y="416"/>
                    </a:lnTo>
                    <a:lnTo>
                      <a:pt x="376" y="464"/>
                    </a:lnTo>
                    <a:lnTo>
                      <a:pt x="336" y="472"/>
                    </a:lnTo>
                    <a:close/>
                  </a:path>
                </a:pathLst>
              </a:custGeom>
              <a:solidFill>
                <a:srgbClr val="4670F8"/>
              </a:solidFill>
              <a:ln w="9525">
                <a:solidFill>
                  <a:schemeClr val="bg1"/>
                </a:solidFill>
                <a:round/>
                <a:headEnd/>
                <a:tailEnd/>
              </a:ln>
            </p:spPr>
            <p:txBody>
              <a:bodyPr/>
              <a:lstStyle/>
              <a:p>
                <a:endParaRPr lang="en-US" sz="1050"/>
              </a:p>
            </p:txBody>
          </p:sp>
          <p:sp>
            <p:nvSpPr>
              <p:cNvPr id="120" name="Freeform 119"/>
              <p:cNvSpPr>
                <a:spLocks/>
              </p:cNvSpPr>
              <p:nvPr/>
            </p:nvSpPr>
            <p:spPr bwMode="auto">
              <a:xfrm>
                <a:off x="5655345" y="4049120"/>
                <a:ext cx="641128" cy="581230"/>
              </a:xfrm>
              <a:custGeom>
                <a:avLst/>
                <a:gdLst>
                  <a:gd name="T0" fmla="*/ 2147483646 w 544"/>
                  <a:gd name="T1" fmla="*/ 2147483646 h 536"/>
                  <a:gd name="T2" fmla="*/ 0 w 544"/>
                  <a:gd name="T3" fmla="*/ 2147483646 h 536"/>
                  <a:gd name="T4" fmla="*/ 2147483646 w 544"/>
                  <a:gd name="T5" fmla="*/ 2147483646 h 536"/>
                  <a:gd name="T6" fmla="*/ 2147483646 w 544"/>
                  <a:gd name="T7" fmla="*/ 2147483646 h 536"/>
                  <a:gd name="T8" fmla="*/ 2147483646 w 544"/>
                  <a:gd name="T9" fmla="*/ 2147483646 h 536"/>
                  <a:gd name="T10" fmla="*/ 2147483646 w 544"/>
                  <a:gd name="T11" fmla="*/ 2147483646 h 536"/>
                  <a:gd name="T12" fmla="*/ 2147483646 w 544"/>
                  <a:gd name="T13" fmla="*/ 2147483646 h 536"/>
                  <a:gd name="T14" fmla="*/ 2147483646 w 544"/>
                  <a:gd name="T15" fmla="*/ 2147483646 h 536"/>
                  <a:gd name="T16" fmla="*/ 2147483646 w 544"/>
                  <a:gd name="T17" fmla="*/ 2147483646 h 536"/>
                  <a:gd name="T18" fmla="*/ 2147483646 w 544"/>
                  <a:gd name="T19" fmla="*/ 0 h 536"/>
                  <a:gd name="T20" fmla="*/ 2147483646 w 544"/>
                  <a:gd name="T21" fmla="*/ 2147483646 h 536"/>
                  <a:gd name="T22" fmla="*/ 2147483646 w 544"/>
                  <a:gd name="T23" fmla="*/ 2147483646 h 536"/>
                  <a:gd name="T24" fmla="*/ 2147483646 w 544"/>
                  <a:gd name="T25" fmla="*/ 2147483646 h 536"/>
                  <a:gd name="T26" fmla="*/ 2147483646 w 544"/>
                  <a:gd name="T27" fmla="*/ 2147483646 h 536"/>
                  <a:gd name="T28" fmla="*/ 2147483646 w 544"/>
                  <a:gd name="T29" fmla="*/ 2147483646 h 536"/>
                  <a:gd name="T30" fmla="*/ 2147483646 w 544"/>
                  <a:gd name="T31" fmla="*/ 2147483646 h 536"/>
                  <a:gd name="T32" fmla="*/ 2147483646 w 544"/>
                  <a:gd name="T33" fmla="*/ 2147483646 h 536"/>
                  <a:gd name="T34" fmla="*/ 2147483646 w 544"/>
                  <a:gd name="T35" fmla="*/ 2147483646 h 536"/>
                  <a:gd name="T36" fmla="*/ 2147483646 w 544"/>
                  <a:gd name="T37" fmla="*/ 2147483646 h 536"/>
                  <a:gd name="T38" fmla="*/ 2147483646 w 544"/>
                  <a:gd name="T39" fmla="*/ 2147483646 h 536"/>
                  <a:gd name="T40" fmla="*/ 2147483646 w 544"/>
                  <a:gd name="T41" fmla="*/ 2147483646 h 536"/>
                  <a:gd name="T42" fmla="*/ 2147483646 w 544"/>
                  <a:gd name="T43" fmla="*/ 2147483646 h 536"/>
                  <a:gd name="T44" fmla="*/ 2147483646 w 544"/>
                  <a:gd name="T45" fmla="*/ 2147483646 h 536"/>
                  <a:gd name="T46" fmla="*/ 2147483646 w 544"/>
                  <a:gd name="T47" fmla="*/ 2147483646 h 536"/>
                  <a:gd name="T48" fmla="*/ 2147483646 w 544"/>
                  <a:gd name="T49" fmla="*/ 2147483646 h 536"/>
                  <a:gd name="T50" fmla="*/ 2147483646 w 544"/>
                  <a:gd name="T51" fmla="*/ 2147483646 h 536"/>
                  <a:gd name="T52" fmla="*/ 2147483646 w 544"/>
                  <a:gd name="T53" fmla="*/ 2147483646 h 536"/>
                  <a:gd name="T54" fmla="*/ 2147483646 w 544"/>
                  <a:gd name="T55" fmla="*/ 2147483646 h 536"/>
                  <a:gd name="T56" fmla="*/ 2147483646 w 544"/>
                  <a:gd name="T57" fmla="*/ 2147483646 h 536"/>
                  <a:gd name="T58" fmla="*/ 2147483646 w 544"/>
                  <a:gd name="T59" fmla="*/ 2147483646 h 536"/>
                  <a:gd name="T60" fmla="*/ 2147483646 w 544"/>
                  <a:gd name="T61" fmla="*/ 2147483646 h 536"/>
                  <a:gd name="T62" fmla="*/ 2147483646 w 544"/>
                  <a:gd name="T63" fmla="*/ 2147483646 h 536"/>
                  <a:gd name="T64" fmla="*/ 2147483646 w 544"/>
                  <a:gd name="T65" fmla="*/ 2147483646 h 536"/>
                  <a:gd name="T66" fmla="*/ 2147483646 w 544"/>
                  <a:gd name="T67" fmla="*/ 2147483646 h 536"/>
                  <a:gd name="T68" fmla="*/ 2147483646 w 544"/>
                  <a:gd name="T69" fmla="*/ 2147483646 h 536"/>
                  <a:gd name="T70" fmla="*/ 2147483646 w 544"/>
                  <a:gd name="T71" fmla="*/ 2147483646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8" y="256"/>
                    </a:moveTo>
                    <a:lnTo>
                      <a:pt x="0" y="152"/>
                    </a:lnTo>
                    <a:lnTo>
                      <a:pt x="8" y="88"/>
                    </a:lnTo>
                    <a:lnTo>
                      <a:pt x="88" y="104"/>
                    </a:lnTo>
                    <a:lnTo>
                      <a:pt x="152" y="64"/>
                    </a:lnTo>
                    <a:lnTo>
                      <a:pt x="256" y="80"/>
                    </a:lnTo>
                    <a:lnTo>
                      <a:pt x="328" y="32"/>
                    </a:lnTo>
                    <a:lnTo>
                      <a:pt x="392" y="8"/>
                    </a:lnTo>
                    <a:lnTo>
                      <a:pt x="440" y="24"/>
                    </a:lnTo>
                    <a:lnTo>
                      <a:pt x="464" y="0"/>
                    </a:lnTo>
                    <a:lnTo>
                      <a:pt x="512" y="8"/>
                    </a:lnTo>
                    <a:lnTo>
                      <a:pt x="512" y="48"/>
                    </a:lnTo>
                    <a:lnTo>
                      <a:pt x="464" y="48"/>
                    </a:lnTo>
                    <a:lnTo>
                      <a:pt x="456" y="72"/>
                    </a:lnTo>
                    <a:lnTo>
                      <a:pt x="384" y="104"/>
                    </a:lnTo>
                    <a:lnTo>
                      <a:pt x="408" y="224"/>
                    </a:lnTo>
                    <a:lnTo>
                      <a:pt x="456" y="288"/>
                    </a:lnTo>
                    <a:lnTo>
                      <a:pt x="456" y="336"/>
                    </a:lnTo>
                    <a:lnTo>
                      <a:pt x="528" y="384"/>
                    </a:lnTo>
                    <a:lnTo>
                      <a:pt x="544" y="456"/>
                    </a:lnTo>
                    <a:lnTo>
                      <a:pt x="480" y="488"/>
                    </a:lnTo>
                    <a:lnTo>
                      <a:pt x="472" y="536"/>
                    </a:lnTo>
                    <a:lnTo>
                      <a:pt x="448" y="520"/>
                    </a:lnTo>
                    <a:lnTo>
                      <a:pt x="424" y="536"/>
                    </a:lnTo>
                    <a:lnTo>
                      <a:pt x="424" y="496"/>
                    </a:lnTo>
                    <a:lnTo>
                      <a:pt x="360" y="520"/>
                    </a:lnTo>
                    <a:lnTo>
                      <a:pt x="352" y="480"/>
                    </a:lnTo>
                    <a:lnTo>
                      <a:pt x="312" y="488"/>
                    </a:lnTo>
                    <a:lnTo>
                      <a:pt x="288" y="464"/>
                    </a:lnTo>
                    <a:lnTo>
                      <a:pt x="248" y="440"/>
                    </a:lnTo>
                    <a:lnTo>
                      <a:pt x="216" y="464"/>
                    </a:lnTo>
                    <a:lnTo>
                      <a:pt x="168" y="392"/>
                    </a:lnTo>
                    <a:lnTo>
                      <a:pt x="96" y="416"/>
                    </a:lnTo>
                    <a:lnTo>
                      <a:pt x="48" y="328"/>
                    </a:lnTo>
                    <a:lnTo>
                      <a:pt x="48" y="272"/>
                    </a:lnTo>
                    <a:lnTo>
                      <a:pt x="8" y="256"/>
                    </a:lnTo>
                    <a:close/>
                  </a:path>
                </a:pathLst>
              </a:custGeom>
              <a:solidFill>
                <a:srgbClr val="9950A8"/>
              </a:solidFill>
              <a:ln w="9525">
                <a:solidFill>
                  <a:schemeClr val="bg1"/>
                </a:solidFill>
                <a:round/>
                <a:headEnd/>
                <a:tailEnd/>
              </a:ln>
            </p:spPr>
            <p:txBody>
              <a:bodyPr/>
              <a:lstStyle/>
              <a:p>
                <a:endParaRPr lang="en-US" sz="1050"/>
              </a:p>
            </p:txBody>
          </p:sp>
          <p:sp>
            <p:nvSpPr>
              <p:cNvPr id="121" name="Freeform 120"/>
              <p:cNvSpPr>
                <a:spLocks/>
              </p:cNvSpPr>
              <p:nvPr/>
            </p:nvSpPr>
            <p:spPr bwMode="auto">
              <a:xfrm>
                <a:off x="6107906" y="4049120"/>
                <a:ext cx="546845" cy="581230"/>
              </a:xfrm>
              <a:custGeom>
                <a:avLst/>
                <a:gdLst>
                  <a:gd name="T0" fmla="*/ 2147483646 w 464"/>
                  <a:gd name="T1" fmla="*/ 2147483646 h 536"/>
                  <a:gd name="T2" fmla="*/ 2147483646 w 464"/>
                  <a:gd name="T3" fmla="*/ 2147483646 h 536"/>
                  <a:gd name="T4" fmla="*/ 2147483646 w 464"/>
                  <a:gd name="T5" fmla="*/ 2147483646 h 536"/>
                  <a:gd name="T6" fmla="*/ 2147483646 w 464"/>
                  <a:gd name="T7" fmla="*/ 2147483646 h 536"/>
                  <a:gd name="T8" fmla="*/ 2147483646 w 464"/>
                  <a:gd name="T9" fmla="*/ 2147483646 h 536"/>
                  <a:gd name="T10" fmla="*/ 0 w 464"/>
                  <a:gd name="T11" fmla="*/ 2147483646 h 536"/>
                  <a:gd name="T12" fmla="*/ 2147483646 w 464"/>
                  <a:gd name="T13" fmla="*/ 2147483646 h 536"/>
                  <a:gd name="T14" fmla="*/ 2147483646 w 464"/>
                  <a:gd name="T15" fmla="*/ 2147483646 h 536"/>
                  <a:gd name="T16" fmla="*/ 2147483646 w 464"/>
                  <a:gd name="T17" fmla="*/ 2147483646 h 536"/>
                  <a:gd name="T18" fmla="*/ 2147483646 w 464"/>
                  <a:gd name="T19" fmla="*/ 2147483646 h 536"/>
                  <a:gd name="T20" fmla="*/ 2147483646 w 464"/>
                  <a:gd name="T21" fmla="*/ 2147483646 h 536"/>
                  <a:gd name="T22" fmla="*/ 2147483646 w 464"/>
                  <a:gd name="T23" fmla="*/ 2147483646 h 536"/>
                  <a:gd name="T24" fmla="*/ 2147483646 w 464"/>
                  <a:gd name="T25" fmla="*/ 2147483646 h 536"/>
                  <a:gd name="T26" fmla="*/ 2147483646 w 464"/>
                  <a:gd name="T27" fmla="*/ 2147483646 h 536"/>
                  <a:gd name="T28" fmla="*/ 2147483646 w 464"/>
                  <a:gd name="T29" fmla="*/ 2147483646 h 536"/>
                  <a:gd name="T30" fmla="*/ 2147483646 w 464"/>
                  <a:gd name="T31" fmla="*/ 0 h 536"/>
                  <a:gd name="T32" fmla="*/ 2147483646 w 464"/>
                  <a:gd name="T33" fmla="*/ 2147483646 h 536"/>
                  <a:gd name="T34" fmla="*/ 2147483646 w 464"/>
                  <a:gd name="T35" fmla="*/ 2147483646 h 536"/>
                  <a:gd name="T36" fmla="*/ 2147483646 w 464"/>
                  <a:gd name="T37" fmla="*/ 2147483646 h 536"/>
                  <a:gd name="T38" fmla="*/ 2147483646 w 464"/>
                  <a:gd name="T39" fmla="*/ 2147483646 h 536"/>
                  <a:gd name="T40" fmla="*/ 2147483646 w 464"/>
                  <a:gd name="T41" fmla="*/ 2147483646 h 536"/>
                  <a:gd name="T42" fmla="*/ 2147483646 w 464"/>
                  <a:gd name="T43" fmla="*/ 2147483646 h 536"/>
                  <a:gd name="T44" fmla="*/ 2147483646 w 464"/>
                  <a:gd name="T45" fmla="*/ 2147483646 h 536"/>
                  <a:gd name="T46" fmla="*/ 2147483646 w 464"/>
                  <a:gd name="T47" fmla="*/ 2147483646 h 536"/>
                  <a:gd name="T48" fmla="*/ 2147483646 w 464"/>
                  <a:gd name="T49" fmla="*/ 2147483646 h 536"/>
                  <a:gd name="T50" fmla="*/ 2147483646 w 464"/>
                  <a:gd name="T51" fmla="*/ 2147483646 h 536"/>
                  <a:gd name="T52" fmla="*/ 2147483646 w 464"/>
                  <a:gd name="T53" fmla="*/ 2147483646 h 536"/>
                  <a:gd name="T54" fmla="*/ 2147483646 w 464"/>
                  <a:gd name="T55" fmla="*/ 2147483646 h 536"/>
                  <a:gd name="T56" fmla="*/ 2147483646 w 464"/>
                  <a:gd name="T57" fmla="*/ 2147483646 h 536"/>
                  <a:gd name="T58" fmla="*/ 2147483646 w 464"/>
                  <a:gd name="T59" fmla="*/ 2147483646 h 536"/>
                  <a:gd name="T60" fmla="*/ 2147483646 w 464"/>
                  <a:gd name="T61" fmla="*/ 2147483646 h 536"/>
                  <a:gd name="T62" fmla="*/ 2147483646 w 464"/>
                  <a:gd name="T63" fmla="*/ 2147483646 h 536"/>
                  <a:gd name="T64" fmla="*/ 2147483646 w 464"/>
                  <a:gd name="T65" fmla="*/ 2147483646 h 536"/>
                  <a:gd name="T66" fmla="*/ 2147483646 w 464"/>
                  <a:gd name="T67" fmla="*/ 2147483646 h 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536"/>
                  <a:gd name="T104" fmla="*/ 464 w 464"/>
                  <a:gd name="T105" fmla="*/ 536 h 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536">
                    <a:moveTo>
                      <a:pt x="160" y="456"/>
                    </a:moveTo>
                    <a:lnTo>
                      <a:pt x="144" y="384"/>
                    </a:lnTo>
                    <a:lnTo>
                      <a:pt x="72" y="336"/>
                    </a:lnTo>
                    <a:lnTo>
                      <a:pt x="72" y="288"/>
                    </a:lnTo>
                    <a:lnTo>
                      <a:pt x="24" y="224"/>
                    </a:lnTo>
                    <a:lnTo>
                      <a:pt x="0" y="104"/>
                    </a:lnTo>
                    <a:lnTo>
                      <a:pt x="72" y="72"/>
                    </a:lnTo>
                    <a:lnTo>
                      <a:pt x="80" y="48"/>
                    </a:lnTo>
                    <a:lnTo>
                      <a:pt x="128" y="48"/>
                    </a:lnTo>
                    <a:lnTo>
                      <a:pt x="152" y="56"/>
                    </a:lnTo>
                    <a:lnTo>
                      <a:pt x="152" y="88"/>
                    </a:lnTo>
                    <a:lnTo>
                      <a:pt x="152" y="120"/>
                    </a:lnTo>
                    <a:lnTo>
                      <a:pt x="200" y="88"/>
                    </a:lnTo>
                    <a:lnTo>
                      <a:pt x="208" y="40"/>
                    </a:lnTo>
                    <a:lnTo>
                      <a:pt x="280" y="32"/>
                    </a:lnTo>
                    <a:lnTo>
                      <a:pt x="312" y="0"/>
                    </a:lnTo>
                    <a:lnTo>
                      <a:pt x="344" y="32"/>
                    </a:lnTo>
                    <a:lnTo>
                      <a:pt x="424" y="40"/>
                    </a:lnTo>
                    <a:lnTo>
                      <a:pt x="400" y="96"/>
                    </a:lnTo>
                    <a:lnTo>
                      <a:pt x="432" y="200"/>
                    </a:lnTo>
                    <a:lnTo>
                      <a:pt x="408" y="232"/>
                    </a:lnTo>
                    <a:lnTo>
                      <a:pt x="440" y="280"/>
                    </a:lnTo>
                    <a:lnTo>
                      <a:pt x="440" y="360"/>
                    </a:lnTo>
                    <a:lnTo>
                      <a:pt x="392" y="400"/>
                    </a:lnTo>
                    <a:lnTo>
                      <a:pt x="448" y="424"/>
                    </a:lnTo>
                    <a:lnTo>
                      <a:pt x="464" y="480"/>
                    </a:lnTo>
                    <a:lnTo>
                      <a:pt x="464" y="512"/>
                    </a:lnTo>
                    <a:lnTo>
                      <a:pt x="432" y="504"/>
                    </a:lnTo>
                    <a:lnTo>
                      <a:pt x="384" y="528"/>
                    </a:lnTo>
                    <a:lnTo>
                      <a:pt x="320" y="512"/>
                    </a:lnTo>
                    <a:lnTo>
                      <a:pt x="304" y="536"/>
                    </a:lnTo>
                    <a:lnTo>
                      <a:pt x="248" y="520"/>
                    </a:lnTo>
                    <a:lnTo>
                      <a:pt x="232" y="496"/>
                    </a:lnTo>
                    <a:lnTo>
                      <a:pt x="160" y="456"/>
                    </a:lnTo>
                    <a:close/>
                  </a:path>
                </a:pathLst>
              </a:custGeom>
              <a:solidFill>
                <a:srgbClr val="9950A8"/>
              </a:solidFill>
              <a:ln w="9525">
                <a:solidFill>
                  <a:schemeClr val="bg1"/>
                </a:solidFill>
                <a:round/>
                <a:headEnd/>
                <a:tailEnd/>
              </a:ln>
            </p:spPr>
            <p:txBody>
              <a:bodyPr/>
              <a:lstStyle/>
              <a:p>
                <a:endParaRPr lang="en-US" sz="1050"/>
              </a:p>
            </p:txBody>
          </p:sp>
          <p:sp>
            <p:nvSpPr>
              <p:cNvPr id="122" name="Freeform 121"/>
              <p:cNvSpPr>
                <a:spLocks/>
              </p:cNvSpPr>
              <p:nvPr/>
            </p:nvSpPr>
            <p:spPr bwMode="auto">
              <a:xfrm>
                <a:off x="3449109" y="3901644"/>
                <a:ext cx="716555" cy="806782"/>
              </a:xfrm>
              <a:custGeom>
                <a:avLst/>
                <a:gdLst>
                  <a:gd name="T0" fmla="*/ 2147483646 w 608"/>
                  <a:gd name="T1" fmla="*/ 0 h 744"/>
                  <a:gd name="T2" fmla="*/ 2147483646 w 608"/>
                  <a:gd name="T3" fmla="*/ 2147483646 h 744"/>
                  <a:gd name="T4" fmla="*/ 2147483646 w 608"/>
                  <a:gd name="T5" fmla="*/ 2147483646 h 744"/>
                  <a:gd name="T6" fmla="*/ 2147483646 w 608"/>
                  <a:gd name="T7" fmla="*/ 2147483646 h 744"/>
                  <a:gd name="T8" fmla="*/ 2147483646 w 608"/>
                  <a:gd name="T9" fmla="*/ 2147483646 h 744"/>
                  <a:gd name="T10" fmla="*/ 2147483646 w 608"/>
                  <a:gd name="T11" fmla="*/ 2147483646 h 744"/>
                  <a:gd name="T12" fmla="*/ 2147483646 w 608"/>
                  <a:gd name="T13" fmla="*/ 2147483646 h 744"/>
                  <a:gd name="T14" fmla="*/ 2147483646 w 608"/>
                  <a:gd name="T15" fmla="*/ 2147483646 h 744"/>
                  <a:gd name="T16" fmla="*/ 2147483646 w 608"/>
                  <a:gd name="T17" fmla="*/ 2147483646 h 744"/>
                  <a:gd name="T18" fmla="*/ 2147483646 w 608"/>
                  <a:gd name="T19" fmla="*/ 2147483646 h 744"/>
                  <a:gd name="T20" fmla="*/ 2147483646 w 608"/>
                  <a:gd name="T21" fmla="*/ 2147483646 h 744"/>
                  <a:gd name="T22" fmla="*/ 2147483646 w 608"/>
                  <a:gd name="T23" fmla="*/ 2147483646 h 744"/>
                  <a:gd name="T24" fmla="*/ 2147483646 w 608"/>
                  <a:gd name="T25" fmla="*/ 2147483646 h 744"/>
                  <a:gd name="T26" fmla="*/ 2147483646 w 608"/>
                  <a:gd name="T27" fmla="*/ 2147483646 h 744"/>
                  <a:gd name="T28" fmla="*/ 2147483646 w 608"/>
                  <a:gd name="T29" fmla="*/ 2147483646 h 744"/>
                  <a:gd name="T30" fmla="*/ 2147483646 w 608"/>
                  <a:gd name="T31" fmla="*/ 2147483646 h 744"/>
                  <a:gd name="T32" fmla="*/ 2147483646 w 608"/>
                  <a:gd name="T33" fmla="*/ 2147483646 h 744"/>
                  <a:gd name="T34" fmla="*/ 2147483646 w 608"/>
                  <a:gd name="T35" fmla="*/ 2147483646 h 744"/>
                  <a:gd name="T36" fmla="*/ 2147483646 w 608"/>
                  <a:gd name="T37" fmla="*/ 2147483646 h 744"/>
                  <a:gd name="T38" fmla="*/ 2147483646 w 608"/>
                  <a:gd name="T39" fmla="*/ 2147483646 h 744"/>
                  <a:gd name="T40" fmla="*/ 2147483646 w 608"/>
                  <a:gd name="T41" fmla="*/ 2147483646 h 744"/>
                  <a:gd name="T42" fmla="*/ 2147483646 w 608"/>
                  <a:gd name="T43" fmla="*/ 2147483646 h 744"/>
                  <a:gd name="T44" fmla="*/ 2147483646 w 608"/>
                  <a:gd name="T45" fmla="*/ 2147483646 h 744"/>
                  <a:gd name="T46" fmla="*/ 2147483646 w 608"/>
                  <a:gd name="T47" fmla="*/ 2147483646 h 744"/>
                  <a:gd name="T48" fmla="*/ 2147483646 w 608"/>
                  <a:gd name="T49" fmla="*/ 2147483646 h 744"/>
                  <a:gd name="T50" fmla="*/ 2147483646 w 608"/>
                  <a:gd name="T51" fmla="*/ 2147483646 h 744"/>
                  <a:gd name="T52" fmla="*/ 2147483646 w 608"/>
                  <a:gd name="T53" fmla="*/ 2147483646 h 744"/>
                  <a:gd name="T54" fmla="*/ 2147483646 w 608"/>
                  <a:gd name="T55" fmla="*/ 2147483646 h 744"/>
                  <a:gd name="T56" fmla="*/ 2147483646 w 608"/>
                  <a:gd name="T57" fmla="*/ 2147483646 h 744"/>
                  <a:gd name="T58" fmla="*/ 0 w 608"/>
                  <a:gd name="T59" fmla="*/ 2147483646 h 744"/>
                  <a:gd name="T60" fmla="*/ 2147483646 w 608"/>
                  <a:gd name="T61" fmla="*/ 2147483646 h 744"/>
                  <a:gd name="T62" fmla="*/ 2147483646 w 608"/>
                  <a:gd name="T63" fmla="*/ 2147483646 h 744"/>
                  <a:gd name="T64" fmla="*/ 2147483646 w 608"/>
                  <a:gd name="T65" fmla="*/ 2147483646 h 744"/>
                  <a:gd name="T66" fmla="*/ 2147483646 w 608"/>
                  <a:gd name="T67" fmla="*/ 2147483646 h 744"/>
                  <a:gd name="T68" fmla="*/ 2147483646 w 608"/>
                  <a:gd name="T69" fmla="*/ 2147483646 h 744"/>
                  <a:gd name="T70" fmla="*/ 2147483646 w 608"/>
                  <a:gd name="T71" fmla="*/ 2147483646 h 744"/>
                  <a:gd name="T72" fmla="*/ 2147483646 w 608"/>
                  <a:gd name="T73" fmla="*/ 0 h 7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744"/>
                  <a:gd name="T113" fmla="*/ 608 w 608"/>
                  <a:gd name="T114" fmla="*/ 744 h 7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744">
                    <a:moveTo>
                      <a:pt x="184" y="0"/>
                    </a:moveTo>
                    <a:lnTo>
                      <a:pt x="224" y="32"/>
                    </a:lnTo>
                    <a:lnTo>
                      <a:pt x="296" y="32"/>
                    </a:lnTo>
                    <a:lnTo>
                      <a:pt x="304" y="104"/>
                    </a:lnTo>
                    <a:lnTo>
                      <a:pt x="352" y="136"/>
                    </a:lnTo>
                    <a:lnTo>
                      <a:pt x="352" y="160"/>
                    </a:lnTo>
                    <a:lnTo>
                      <a:pt x="320" y="168"/>
                    </a:lnTo>
                    <a:lnTo>
                      <a:pt x="368" y="224"/>
                    </a:lnTo>
                    <a:lnTo>
                      <a:pt x="440" y="208"/>
                    </a:lnTo>
                    <a:lnTo>
                      <a:pt x="440" y="256"/>
                    </a:lnTo>
                    <a:lnTo>
                      <a:pt x="472" y="296"/>
                    </a:lnTo>
                    <a:lnTo>
                      <a:pt x="496" y="480"/>
                    </a:lnTo>
                    <a:lnTo>
                      <a:pt x="552" y="528"/>
                    </a:lnTo>
                    <a:lnTo>
                      <a:pt x="600" y="600"/>
                    </a:lnTo>
                    <a:lnTo>
                      <a:pt x="608" y="672"/>
                    </a:lnTo>
                    <a:lnTo>
                      <a:pt x="552" y="704"/>
                    </a:lnTo>
                    <a:lnTo>
                      <a:pt x="424" y="704"/>
                    </a:lnTo>
                    <a:lnTo>
                      <a:pt x="312" y="744"/>
                    </a:lnTo>
                    <a:lnTo>
                      <a:pt x="200" y="712"/>
                    </a:lnTo>
                    <a:lnTo>
                      <a:pt x="152" y="720"/>
                    </a:lnTo>
                    <a:lnTo>
                      <a:pt x="144" y="640"/>
                    </a:lnTo>
                    <a:lnTo>
                      <a:pt x="184" y="608"/>
                    </a:lnTo>
                    <a:lnTo>
                      <a:pt x="120" y="512"/>
                    </a:lnTo>
                    <a:lnTo>
                      <a:pt x="96" y="472"/>
                    </a:lnTo>
                    <a:lnTo>
                      <a:pt x="56" y="456"/>
                    </a:lnTo>
                    <a:lnTo>
                      <a:pt x="104" y="392"/>
                    </a:lnTo>
                    <a:lnTo>
                      <a:pt x="72" y="336"/>
                    </a:lnTo>
                    <a:lnTo>
                      <a:pt x="32" y="328"/>
                    </a:lnTo>
                    <a:lnTo>
                      <a:pt x="32" y="280"/>
                    </a:lnTo>
                    <a:lnTo>
                      <a:pt x="0" y="272"/>
                    </a:lnTo>
                    <a:lnTo>
                      <a:pt x="16" y="240"/>
                    </a:lnTo>
                    <a:lnTo>
                      <a:pt x="48" y="224"/>
                    </a:lnTo>
                    <a:lnTo>
                      <a:pt x="48" y="200"/>
                    </a:lnTo>
                    <a:lnTo>
                      <a:pt x="88" y="176"/>
                    </a:lnTo>
                    <a:lnTo>
                      <a:pt x="96" y="104"/>
                    </a:lnTo>
                    <a:lnTo>
                      <a:pt x="144" y="104"/>
                    </a:lnTo>
                    <a:lnTo>
                      <a:pt x="184" y="0"/>
                    </a:lnTo>
                    <a:close/>
                  </a:path>
                </a:pathLst>
              </a:custGeom>
              <a:solidFill>
                <a:srgbClr val="4670F8"/>
              </a:solidFill>
              <a:ln w="9525">
                <a:solidFill>
                  <a:schemeClr val="bg1"/>
                </a:solidFill>
                <a:round/>
                <a:headEnd/>
                <a:tailEnd/>
              </a:ln>
            </p:spPr>
            <p:txBody>
              <a:bodyPr/>
              <a:lstStyle/>
              <a:p>
                <a:endParaRPr lang="en-US" sz="1050"/>
              </a:p>
            </p:txBody>
          </p:sp>
          <p:sp>
            <p:nvSpPr>
              <p:cNvPr id="123" name="Freeform 122"/>
              <p:cNvSpPr>
                <a:spLocks/>
              </p:cNvSpPr>
              <p:nvPr/>
            </p:nvSpPr>
            <p:spPr bwMode="auto">
              <a:xfrm>
                <a:off x="6541611" y="4552275"/>
                <a:ext cx="942835" cy="624606"/>
              </a:xfrm>
              <a:custGeom>
                <a:avLst/>
                <a:gdLst>
                  <a:gd name="T0" fmla="*/ 2147483646 w 800"/>
                  <a:gd name="T1" fmla="*/ 2147483646 h 576"/>
                  <a:gd name="T2" fmla="*/ 0 w 800"/>
                  <a:gd name="T3" fmla="*/ 2147483646 h 576"/>
                  <a:gd name="T4" fmla="*/ 2147483646 w 800"/>
                  <a:gd name="T5" fmla="*/ 2147483646 h 576"/>
                  <a:gd name="T6" fmla="*/ 2147483646 w 800"/>
                  <a:gd name="T7" fmla="*/ 2147483646 h 576"/>
                  <a:gd name="T8" fmla="*/ 2147483646 w 800"/>
                  <a:gd name="T9" fmla="*/ 2147483646 h 576"/>
                  <a:gd name="T10" fmla="*/ 2147483646 w 800"/>
                  <a:gd name="T11" fmla="*/ 2147483646 h 576"/>
                  <a:gd name="T12" fmla="*/ 2147483646 w 800"/>
                  <a:gd name="T13" fmla="*/ 2147483646 h 576"/>
                  <a:gd name="T14" fmla="*/ 2147483646 w 800"/>
                  <a:gd name="T15" fmla="*/ 2147483646 h 576"/>
                  <a:gd name="T16" fmla="*/ 2147483646 w 800"/>
                  <a:gd name="T17" fmla="*/ 2147483646 h 576"/>
                  <a:gd name="T18" fmla="*/ 2147483646 w 800"/>
                  <a:gd name="T19" fmla="*/ 2147483646 h 576"/>
                  <a:gd name="T20" fmla="*/ 2147483646 w 800"/>
                  <a:gd name="T21" fmla="*/ 2147483646 h 576"/>
                  <a:gd name="T22" fmla="*/ 2147483646 w 800"/>
                  <a:gd name="T23" fmla="*/ 2147483646 h 576"/>
                  <a:gd name="T24" fmla="*/ 2147483646 w 800"/>
                  <a:gd name="T25" fmla="*/ 2147483646 h 576"/>
                  <a:gd name="T26" fmla="*/ 2147483646 w 800"/>
                  <a:gd name="T27" fmla="*/ 2147483646 h 576"/>
                  <a:gd name="T28" fmla="*/ 2147483646 w 800"/>
                  <a:gd name="T29" fmla="*/ 2147483646 h 576"/>
                  <a:gd name="T30" fmla="*/ 2147483646 w 800"/>
                  <a:gd name="T31" fmla="*/ 2147483646 h 576"/>
                  <a:gd name="T32" fmla="*/ 2147483646 w 800"/>
                  <a:gd name="T33" fmla="*/ 2147483646 h 576"/>
                  <a:gd name="T34" fmla="*/ 2147483646 w 800"/>
                  <a:gd name="T35" fmla="*/ 2147483646 h 576"/>
                  <a:gd name="T36" fmla="*/ 2147483646 w 800"/>
                  <a:gd name="T37" fmla="*/ 2147483646 h 576"/>
                  <a:gd name="T38" fmla="*/ 2147483646 w 800"/>
                  <a:gd name="T39" fmla="*/ 2147483646 h 576"/>
                  <a:gd name="T40" fmla="*/ 2147483646 w 800"/>
                  <a:gd name="T41" fmla="*/ 2147483646 h 576"/>
                  <a:gd name="T42" fmla="*/ 2147483646 w 800"/>
                  <a:gd name="T43" fmla="*/ 2147483646 h 576"/>
                  <a:gd name="T44" fmla="*/ 2147483646 w 800"/>
                  <a:gd name="T45" fmla="*/ 2147483646 h 576"/>
                  <a:gd name="T46" fmla="*/ 2147483646 w 800"/>
                  <a:gd name="T47" fmla="*/ 2147483646 h 576"/>
                  <a:gd name="T48" fmla="*/ 2147483646 w 800"/>
                  <a:gd name="T49" fmla="*/ 2147483646 h 576"/>
                  <a:gd name="T50" fmla="*/ 2147483646 w 800"/>
                  <a:gd name="T51" fmla="*/ 2147483646 h 576"/>
                  <a:gd name="T52" fmla="*/ 2147483646 w 800"/>
                  <a:gd name="T53" fmla="*/ 2147483646 h 576"/>
                  <a:gd name="T54" fmla="*/ 2147483646 w 800"/>
                  <a:gd name="T55" fmla="*/ 2147483646 h 576"/>
                  <a:gd name="T56" fmla="*/ 2147483646 w 800"/>
                  <a:gd name="T57" fmla="*/ 2147483646 h 576"/>
                  <a:gd name="T58" fmla="*/ 2147483646 w 800"/>
                  <a:gd name="T59" fmla="*/ 2147483646 h 576"/>
                  <a:gd name="T60" fmla="*/ 2147483646 w 800"/>
                  <a:gd name="T61" fmla="*/ 2147483646 h 576"/>
                  <a:gd name="T62" fmla="*/ 2147483646 w 800"/>
                  <a:gd name="T63" fmla="*/ 2147483646 h 576"/>
                  <a:gd name="T64" fmla="*/ 2147483646 w 800"/>
                  <a:gd name="T65" fmla="*/ 2147483646 h 576"/>
                  <a:gd name="T66" fmla="*/ 2147483646 w 800"/>
                  <a:gd name="T67" fmla="*/ 0 h 576"/>
                  <a:gd name="T68" fmla="*/ 2147483646 w 800"/>
                  <a:gd name="T69" fmla="*/ 2147483646 h 576"/>
                  <a:gd name="T70" fmla="*/ 2147483646 w 800"/>
                  <a:gd name="T71" fmla="*/ 2147483646 h 576"/>
                  <a:gd name="T72" fmla="*/ 2147483646 w 800"/>
                  <a:gd name="T73" fmla="*/ 2147483646 h 576"/>
                  <a:gd name="T74" fmla="*/ 2147483646 w 800"/>
                  <a:gd name="T75" fmla="*/ 2147483646 h 576"/>
                  <a:gd name="T76" fmla="*/ 2147483646 w 800"/>
                  <a:gd name="T77" fmla="*/ 2147483646 h 576"/>
                  <a:gd name="T78" fmla="*/ 2147483646 w 800"/>
                  <a:gd name="T79" fmla="*/ 2147483646 h 576"/>
                  <a:gd name="T80" fmla="*/ 2147483646 w 800"/>
                  <a:gd name="T81" fmla="*/ 2147483646 h 576"/>
                  <a:gd name="T82" fmla="*/ 2147483646 w 800"/>
                  <a:gd name="T83" fmla="*/ 2147483646 h 576"/>
                  <a:gd name="T84" fmla="*/ 2147483646 w 800"/>
                  <a:gd name="T85" fmla="*/ 2147483646 h 576"/>
                  <a:gd name="T86" fmla="*/ 2147483646 w 800"/>
                  <a:gd name="T87" fmla="*/ 2147483646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0"/>
                  <a:gd name="T133" fmla="*/ 0 h 576"/>
                  <a:gd name="T134" fmla="*/ 800 w 800"/>
                  <a:gd name="T135" fmla="*/ 576 h 5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0" h="576">
                    <a:moveTo>
                      <a:pt x="96" y="48"/>
                    </a:moveTo>
                    <a:lnTo>
                      <a:pt x="64" y="40"/>
                    </a:lnTo>
                    <a:lnTo>
                      <a:pt x="16" y="64"/>
                    </a:lnTo>
                    <a:lnTo>
                      <a:pt x="0" y="136"/>
                    </a:lnTo>
                    <a:lnTo>
                      <a:pt x="40" y="168"/>
                    </a:lnTo>
                    <a:lnTo>
                      <a:pt x="80" y="160"/>
                    </a:lnTo>
                    <a:lnTo>
                      <a:pt x="56" y="208"/>
                    </a:lnTo>
                    <a:lnTo>
                      <a:pt x="104" y="240"/>
                    </a:lnTo>
                    <a:lnTo>
                      <a:pt x="72" y="256"/>
                    </a:lnTo>
                    <a:lnTo>
                      <a:pt x="88" y="392"/>
                    </a:lnTo>
                    <a:lnTo>
                      <a:pt x="56" y="464"/>
                    </a:lnTo>
                    <a:lnTo>
                      <a:pt x="104" y="496"/>
                    </a:lnTo>
                    <a:lnTo>
                      <a:pt x="168" y="488"/>
                    </a:lnTo>
                    <a:lnTo>
                      <a:pt x="208" y="576"/>
                    </a:lnTo>
                    <a:lnTo>
                      <a:pt x="232" y="512"/>
                    </a:lnTo>
                    <a:lnTo>
                      <a:pt x="264" y="552"/>
                    </a:lnTo>
                    <a:lnTo>
                      <a:pt x="288" y="536"/>
                    </a:lnTo>
                    <a:lnTo>
                      <a:pt x="400" y="544"/>
                    </a:lnTo>
                    <a:lnTo>
                      <a:pt x="400" y="512"/>
                    </a:lnTo>
                    <a:lnTo>
                      <a:pt x="456" y="464"/>
                    </a:lnTo>
                    <a:lnTo>
                      <a:pt x="464" y="424"/>
                    </a:lnTo>
                    <a:lnTo>
                      <a:pt x="432" y="392"/>
                    </a:lnTo>
                    <a:lnTo>
                      <a:pt x="424" y="352"/>
                    </a:lnTo>
                    <a:lnTo>
                      <a:pt x="456" y="312"/>
                    </a:lnTo>
                    <a:lnTo>
                      <a:pt x="496" y="304"/>
                    </a:lnTo>
                    <a:lnTo>
                      <a:pt x="544" y="320"/>
                    </a:lnTo>
                    <a:lnTo>
                      <a:pt x="504" y="352"/>
                    </a:lnTo>
                    <a:lnTo>
                      <a:pt x="512" y="416"/>
                    </a:lnTo>
                    <a:lnTo>
                      <a:pt x="536" y="408"/>
                    </a:lnTo>
                    <a:lnTo>
                      <a:pt x="544" y="392"/>
                    </a:lnTo>
                    <a:lnTo>
                      <a:pt x="560" y="424"/>
                    </a:lnTo>
                    <a:lnTo>
                      <a:pt x="536" y="456"/>
                    </a:lnTo>
                    <a:lnTo>
                      <a:pt x="496" y="480"/>
                    </a:lnTo>
                    <a:lnTo>
                      <a:pt x="496" y="504"/>
                    </a:lnTo>
                    <a:lnTo>
                      <a:pt x="472" y="512"/>
                    </a:lnTo>
                    <a:lnTo>
                      <a:pt x="456" y="504"/>
                    </a:lnTo>
                    <a:lnTo>
                      <a:pt x="440" y="520"/>
                    </a:lnTo>
                    <a:lnTo>
                      <a:pt x="424" y="544"/>
                    </a:lnTo>
                    <a:lnTo>
                      <a:pt x="400" y="552"/>
                    </a:lnTo>
                    <a:lnTo>
                      <a:pt x="400" y="568"/>
                    </a:lnTo>
                    <a:lnTo>
                      <a:pt x="432" y="552"/>
                    </a:lnTo>
                    <a:lnTo>
                      <a:pt x="456" y="528"/>
                    </a:lnTo>
                    <a:lnTo>
                      <a:pt x="472" y="520"/>
                    </a:lnTo>
                    <a:lnTo>
                      <a:pt x="488" y="528"/>
                    </a:lnTo>
                    <a:lnTo>
                      <a:pt x="472" y="544"/>
                    </a:lnTo>
                    <a:lnTo>
                      <a:pt x="488" y="544"/>
                    </a:lnTo>
                    <a:lnTo>
                      <a:pt x="496" y="520"/>
                    </a:lnTo>
                    <a:lnTo>
                      <a:pt x="512" y="496"/>
                    </a:lnTo>
                    <a:lnTo>
                      <a:pt x="528" y="480"/>
                    </a:lnTo>
                    <a:lnTo>
                      <a:pt x="552" y="456"/>
                    </a:lnTo>
                    <a:lnTo>
                      <a:pt x="576" y="448"/>
                    </a:lnTo>
                    <a:lnTo>
                      <a:pt x="632" y="432"/>
                    </a:lnTo>
                    <a:lnTo>
                      <a:pt x="704" y="424"/>
                    </a:lnTo>
                    <a:lnTo>
                      <a:pt x="744" y="416"/>
                    </a:lnTo>
                    <a:lnTo>
                      <a:pt x="768" y="408"/>
                    </a:lnTo>
                    <a:lnTo>
                      <a:pt x="776" y="376"/>
                    </a:lnTo>
                    <a:lnTo>
                      <a:pt x="784" y="344"/>
                    </a:lnTo>
                    <a:lnTo>
                      <a:pt x="800" y="272"/>
                    </a:lnTo>
                    <a:lnTo>
                      <a:pt x="800" y="232"/>
                    </a:lnTo>
                    <a:lnTo>
                      <a:pt x="800" y="192"/>
                    </a:lnTo>
                    <a:lnTo>
                      <a:pt x="792" y="184"/>
                    </a:lnTo>
                    <a:lnTo>
                      <a:pt x="768" y="152"/>
                    </a:lnTo>
                    <a:lnTo>
                      <a:pt x="800" y="136"/>
                    </a:lnTo>
                    <a:lnTo>
                      <a:pt x="800" y="88"/>
                    </a:lnTo>
                    <a:lnTo>
                      <a:pt x="776" y="56"/>
                    </a:lnTo>
                    <a:lnTo>
                      <a:pt x="736" y="16"/>
                    </a:lnTo>
                    <a:lnTo>
                      <a:pt x="656" y="8"/>
                    </a:lnTo>
                    <a:lnTo>
                      <a:pt x="608" y="0"/>
                    </a:lnTo>
                    <a:lnTo>
                      <a:pt x="576" y="16"/>
                    </a:lnTo>
                    <a:lnTo>
                      <a:pt x="552" y="48"/>
                    </a:lnTo>
                    <a:lnTo>
                      <a:pt x="496" y="72"/>
                    </a:lnTo>
                    <a:lnTo>
                      <a:pt x="488" y="96"/>
                    </a:lnTo>
                    <a:lnTo>
                      <a:pt x="464" y="88"/>
                    </a:lnTo>
                    <a:lnTo>
                      <a:pt x="448" y="128"/>
                    </a:lnTo>
                    <a:lnTo>
                      <a:pt x="392" y="96"/>
                    </a:lnTo>
                    <a:lnTo>
                      <a:pt x="376" y="88"/>
                    </a:lnTo>
                    <a:lnTo>
                      <a:pt x="376" y="120"/>
                    </a:lnTo>
                    <a:lnTo>
                      <a:pt x="368" y="128"/>
                    </a:lnTo>
                    <a:lnTo>
                      <a:pt x="392" y="152"/>
                    </a:lnTo>
                    <a:lnTo>
                      <a:pt x="368" y="168"/>
                    </a:lnTo>
                    <a:lnTo>
                      <a:pt x="312" y="152"/>
                    </a:lnTo>
                    <a:lnTo>
                      <a:pt x="272" y="152"/>
                    </a:lnTo>
                    <a:lnTo>
                      <a:pt x="200" y="112"/>
                    </a:lnTo>
                    <a:lnTo>
                      <a:pt x="168" y="104"/>
                    </a:lnTo>
                    <a:lnTo>
                      <a:pt x="136" y="56"/>
                    </a:lnTo>
                    <a:lnTo>
                      <a:pt x="136" y="16"/>
                    </a:lnTo>
                    <a:lnTo>
                      <a:pt x="96" y="32"/>
                    </a:lnTo>
                    <a:lnTo>
                      <a:pt x="96" y="48"/>
                    </a:lnTo>
                    <a:close/>
                  </a:path>
                </a:pathLst>
              </a:custGeom>
              <a:solidFill>
                <a:srgbClr val="9950A8"/>
              </a:solidFill>
              <a:ln w="9525">
                <a:solidFill>
                  <a:schemeClr val="bg1"/>
                </a:solidFill>
                <a:round/>
                <a:headEnd/>
                <a:tailEnd/>
              </a:ln>
            </p:spPr>
            <p:txBody>
              <a:bodyPr/>
              <a:lstStyle/>
              <a:p>
                <a:endParaRPr lang="en-US" sz="1050"/>
              </a:p>
            </p:txBody>
          </p:sp>
          <p:sp>
            <p:nvSpPr>
              <p:cNvPr id="124" name="Freeform 123"/>
              <p:cNvSpPr>
                <a:spLocks/>
              </p:cNvSpPr>
              <p:nvPr/>
            </p:nvSpPr>
            <p:spPr bwMode="auto">
              <a:xfrm>
                <a:off x="6004194" y="4543600"/>
                <a:ext cx="659985" cy="546530"/>
              </a:xfrm>
              <a:custGeom>
                <a:avLst/>
                <a:gdLst>
                  <a:gd name="T0" fmla="*/ 2147483646 w 560"/>
                  <a:gd name="T1" fmla="*/ 2147483646 h 504"/>
                  <a:gd name="T2" fmla="*/ 2147483646 w 560"/>
                  <a:gd name="T3" fmla="*/ 2147483646 h 504"/>
                  <a:gd name="T4" fmla="*/ 2147483646 w 560"/>
                  <a:gd name="T5" fmla="*/ 2147483646 h 504"/>
                  <a:gd name="T6" fmla="*/ 2147483646 w 560"/>
                  <a:gd name="T7" fmla="*/ 2147483646 h 504"/>
                  <a:gd name="T8" fmla="*/ 2147483646 w 560"/>
                  <a:gd name="T9" fmla="*/ 2147483646 h 504"/>
                  <a:gd name="T10" fmla="*/ 2147483646 w 560"/>
                  <a:gd name="T11" fmla="*/ 2147483646 h 504"/>
                  <a:gd name="T12" fmla="*/ 2147483646 w 560"/>
                  <a:gd name="T13" fmla="*/ 2147483646 h 504"/>
                  <a:gd name="T14" fmla="*/ 2147483646 w 560"/>
                  <a:gd name="T15" fmla="*/ 2147483646 h 504"/>
                  <a:gd name="T16" fmla="*/ 2147483646 w 560"/>
                  <a:gd name="T17" fmla="*/ 2147483646 h 504"/>
                  <a:gd name="T18" fmla="*/ 2147483646 w 560"/>
                  <a:gd name="T19" fmla="*/ 2147483646 h 504"/>
                  <a:gd name="T20" fmla="*/ 2147483646 w 560"/>
                  <a:gd name="T21" fmla="*/ 2147483646 h 504"/>
                  <a:gd name="T22" fmla="*/ 2147483646 w 560"/>
                  <a:gd name="T23" fmla="*/ 2147483646 h 504"/>
                  <a:gd name="T24" fmla="*/ 2147483646 w 560"/>
                  <a:gd name="T25" fmla="*/ 2147483646 h 504"/>
                  <a:gd name="T26" fmla="*/ 2147483646 w 560"/>
                  <a:gd name="T27" fmla="*/ 0 h 504"/>
                  <a:gd name="T28" fmla="*/ 2147483646 w 560"/>
                  <a:gd name="T29" fmla="*/ 2147483646 h 504"/>
                  <a:gd name="T30" fmla="*/ 2147483646 w 560"/>
                  <a:gd name="T31" fmla="*/ 2147483646 h 504"/>
                  <a:gd name="T32" fmla="*/ 2147483646 w 560"/>
                  <a:gd name="T33" fmla="*/ 2147483646 h 504"/>
                  <a:gd name="T34" fmla="*/ 2147483646 w 560"/>
                  <a:gd name="T35" fmla="*/ 2147483646 h 504"/>
                  <a:gd name="T36" fmla="*/ 2147483646 w 560"/>
                  <a:gd name="T37" fmla="*/ 2147483646 h 504"/>
                  <a:gd name="T38" fmla="*/ 2147483646 w 560"/>
                  <a:gd name="T39" fmla="*/ 2147483646 h 504"/>
                  <a:gd name="T40" fmla="*/ 2147483646 w 560"/>
                  <a:gd name="T41" fmla="*/ 2147483646 h 504"/>
                  <a:gd name="T42" fmla="*/ 0 w 560"/>
                  <a:gd name="T43" fmla="*/ 2147483646 h 504"/>
                  <a:gd name="T44" fmla="*/ 2147483646 w 560"/>
                  <a:gd name="T45" fmla="*/ 2147483646 h 504"/>
                  <a:gd name="T46" fmla="*/ 2147483646 w 560"/>
                  <a:gd name="T47" fmla="*/ 2147483646 h 504"/>
                  <a:gd name="T48" fmla="*/ 2147483646 w 560"/>
                  <a:gd name="T49" fmla="*/ 2147483646 h 504"/>
                  <a:gd name="T50" fmla="*/ 2147483646 w 560"/>
                  <a:gd name="T51" fmla="*/ 2147483646 h 504"/>
                  <a:gd name="T52" fmla="*/ 2147483646 w 560"/>
                  <a:gd name="T53" fmla="*/ 2147483646 h 504"/>
                  <a:gd name="T54" fmla="*/ 2147483646 w 560"/>
                  <a:gd name="T55" fmla="*/ 2147483646 h 504"/>
                  <a:gd name="T56" fmla="*/ 2147483646 w 560"/>
                  <a:gd name="T57" fmla="*/ 2147483646 h 504"/>
                  <a:gd name="T58" fmla="*/ 2147483646 w 560"/>
                  <a:gd name="T59" fmla="*/ 2147483646 h 504"/>
                  <a:gd name="T60" fmla="*/ 2147483646 w 560"/>
                  <a:gd name="T61" fmla="*/ 2147483646 h 504"/>
                  <a:gd name="T62" fmla="*/ 2147483646 w 560"/>
                  <a:gd name="T63" fmla="*/ 2147483646 h 504"/>
                  <a:gd name="T64" fmla="*/ 2147483646 w 560"/>
                  <a:gd name="T65" fmla="*/ 2147483646 h 504"/>
                  <a:gd name="T66" fmla="*/ 2147483646 w 560"/>
                  <a:gd name="T67" fmla="*/ 2147483646 h 504"/>
                  <a:gd name="T68" fmla="*/ 2147483646 w 560"/>
                  <a:gd name="T69" fmla="*/ 2147483646 h 504"/>
                  <a:gd name="T70" fmla="*/ 2147483646 w 560"/>
                  <a:gd name="T71" fmla="*/ 2147483646 h 504"/>
                  <a:gd name="T72" fmla="*/ 2147483646 w 560"/>
                  <a:gd name="T73" fmla="*/ 2147483646 h 504"/>
                  <a:gd name="T74" fmla="*/ 2147483646 w 560"/>
                  <a:gd name="T75" fmla="*/ 2147483646 h 504"/>
                  <a:gd name="T76" fmla="*/ 2147483646 w 560"/>
                  <a:gd name="T77" fmla="*/ 2147483646 h 504"/>
                  <a:gd name="T78" fmla="*/ 2147483646 w 560"/>
                  <a:gd name="T79" fmla="*/ 2147483646 h 5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0"/>
                  <a:gd name="T121" fmla="*/ 0 h 504"/>
                  <a:gd name="T122" fmla="*/ 560 w 560"/>
                  <a:gd name="T123" fmla="*/ 504 h 5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0" h="504">
                    <a:moveTo>
                      <a:pt x="512" y="472"/>
                    </a:moveTo>
                    <a:lnTo>
                      <a:pt x="544" y="400"/>
                    </a:lnTo>
                    <a:lnTo>
                      <a:pt x="528" y="264"/>
                    </a:lnTo>
                    <a:lnTo>
                      <a:pt x="560" y="248"/>
                    </a:lnTo>
                    <a:lnTo>
                      <a:pt x="512" y="216"/>
                    </a:lnTo>
                    <a:lnTo>
                      <a:pt x="536" y="168"/>
                    </a:lnTo>
                    <a:lnTo>
                      <a:pt x="496" y="176"/>
                    </a:lnTo>
                    <a:lnTo>
                      <a:pt x="456" y="144"/>
                    </a:lnTo>
                    <a:lnTo>
                      <a:pt x="472" y="72"/>
                    </a:lnTo>
                    <a:lnTo>
                      <a:pt x="408" y="56"/>
                    </a:lnTo>
                    <a:lnTo>
                      <a:pt x="392" y="80"/>
                    </a:lnTo>
                    <a:lnTo>
                      <a:pt x="336" y="64"/>
                    </a:lnTo>
                    <a:lnTo>
                      <a:pt x="320" y="40"/>
                    </a:lnTo>
                    <a:lnTo>
                      <a:pt x="248" y="0"/>
                    </a:lnTo>
                    <a:lnTo>
                      <a:pt x="184" y="32"/>
                    </a:lnTo>
                    <a:lnTo>
                      <a:pt x="176" y="80"/>
                    </a:lnTo>
                    <a:lnTo>
                      <a:pt x="168" y="136"/>
                    </a:lnTo>
                    <a:lnTo>
                      <a:pt x="144" y="152"/>
                    </a:lnTo>
                    <a:lnTo>
                      <a:pt x="160" y="200"/>
                    </a:lnTo>
                    <a:lnTo>
                      <a:pt x="136" y="216"/>
                    </a:lnTo>
                    <a:lnTo>
                      <a:pt x="64" y="184"/>
                    </a:lnTo>
                    <a:lnTo>
                      <a:pt x="0" y="256"/>
                    </a:lnTo>
                    <a:lnTo>
                      <a:pt x="24" y="280"/>
                    </a:lnTo>
                    <a:lnTo>
                      <a:pt x="64" y="256"/>
                    </a:lnTo>
                    <a:lnTo>
                      <a:pt x="80" y="328"/>
                    </a:lnTo>
                    <a:lnTo>
                      <a:pt x="120" y="360"/>
                    </a:lnTo>
                    <a:lnTo>
                      <a:pt x="88" y="432"/>
                    </a:lnTo>
                    <a:lnTo>
                      <a:pt x="104" y="496"/>
                    </a:lnTo>
                    <a:lnTo>
                      <a:pt x="144" y="488"/>
                    </a:lnTo>
                    <a:lnTo>
                      <a:pt x="152" y="456"/>
                    </a:lnTo>
                    <a:lnTo>
                      <a:pt x="184" y="448"/>
                    </a:lnTo>
                    <a:lnTo>
                      <a:pt x="216" y="488"/>
                    </a:lnTo>
                    <a:lnTo>
                      <a:pt x="232" y="448"/>
                    </a:lnTo>
                    <a:lnTo>
                      <a:pt x="272" y="480"/>
                    </a:lnTo>
                    <a:lnTo>
                      <a:pt x="344" y="496"/>
                    </a:lnTo>
                    <a:lnTo>
                      <a:pt x="392" y="456"/>
                    </a:lnTo>
                    <a:lnTo>
                      <a:pt x="408" y="496"/>
                    </a:lnTo>
                    <a:lnTo>
                      <a:pt x="464" y="480"/>
                    </a:lnTo>
                    <a:lnTo>
                      <a:pt x="496" y="504"/>
                    </a:lnTo>
                    <a:lnTo>
                      <a:pt x="512" y="472"/>
                    </a:lnTo>
                    <a:close/>
                  </a:path>
                </a:pathLst>
              </a:custGeom>
              <a:solidFill>
                <a:srgbClr val="9950A8"/>
              </a:solidFill>
              <a:ln w="9525">
                <a:solidFill>
                  <a:schemeClr val="bg1"/>
                </a:solidFill>
                <a:round/>
                <a:headEnd/>
                <a:tailEnd/>
              </a:ln>
            </p:spPr>
            <p:txBody>
              <a:bodyPr/>
              <a:lstStyle/>
              <a:p>
                <a:endParaRPr lang="en-US" sz="1050"/>
              </a:p>
            </p:txBody>
          </p:sp>
          <p:sp>
            <p:nvSpPr>
              <p:cNvPr id="125" name="Freeform 124"/>
              <p:cNvSpPr>
                <a:spLocks/>
              </p:cNvSpPr>
              <p:nvPr/>
            </p:nvSpPr>
            <p:spPr bwMode="auto">
              <a:xfrm>
                <a:off x="5495062" y="4326723"/>
                <a:ext cx="716555" cy="780757"/>
              </a:xfrm>
              <a:custGeom>
                <a:avLst/>
                <a:gdLst>
                  <a:gd name="T0" fmla="*/ 2147483646 w 608"/>
                  <a:gd name="T1" fmla="*/ 2147483646 h 720"/>
                  <a:gd name="T2" fmla="*/ 2147483646 w 608"/>
                  <a:gd name="T3" fmla="*/ 2147483646 h 720"/>
                  <a:gd name="T4" fmla="*/ 2147483646 w 608"/>
                  <a:gd name="T5" fmla="*/ 2147483646 h 720"/>
                  <a:gd name="T6" fmla="*/ 2147483646 w 608"/>
                  <a:gd name="T7" fmla="*/ 2147483646 h 720"/>
                  <a:gd name="T8" fmla="*/ 2147483646 w 608"/>
                  <a:gd name="T9" fmla="*/ 2147483646 h 720"/>
                  <a:gd name="T10" fmla="*/ 2147483646 w 608"/>
                  <a:gd name="T11" fmla="*/ 2147483646 h 720"/>
                  <a:gd name="T12" fmla="*/ 2147483646 w 608"/>
                  <a:gd name="T13" fmla="*/ 2147483646 h 720"/>
                  <a:gd name="T14" fmla="*/ 2147483646 w 608"/>
                  <a:gd name="T15" fmla="*/ 2147483646 h 720"/>
                  <a:gd name="T16" fmla="*/ 2147483646 w 608"/>
                  <a:gd name="T17" fmla="*/ 2147483646 h 720"/>
                  <a:gd name="T18" fmla="*/ 2147483646 w 608"/>
                  <a:gd name="T19" fmla="*/ 2147483646 h 720"/>
                  <a:gd name="T20" fmla="*/ 2147483646 w 608"/>
                  <a:gd name="T21" fmla="*/ 2147483646 h 720"/>
                  <a:gd name="T22" fmla="*/ 2147483646 w 608"/>
                  <a:gd name="T23" fmla="*/ 2147483646 h 720"/>
                  <a:gd name="T24" fmla="*/ 2147483646 w 608"/>
                  <a:gd name="T25" fmla="*/ 2147483646 h 720"/>
                  <a:gd name="T26" fmla="*/ 2147483646 w 608"/>
                  <a:gd name="T27" fmla="*/ 2147483646 h 720"/>
                  <a:gd name="T28" fmla="*/ 2147483646 w 608"/>
                  <a:gd name="T29" fmla="*/ 2147483646 h 720"/>
                  <a:gd name="T30" fmla="*/ 2147483646 w 608"/>
                  <a:gd name="T31" fmla="*/ 2147483646 h 720"/>
                  <a:gd name="T32" fmla="*/ 2147483646 w 608"/>
                  <a:gd name="T33" fmla="*/ 2147483646 h 720"/>
                  <a:gd name="T34" fmla="*/ 2147483646 w 608"/>
                  <a:gd name="T35" fmla="*/ 2147483646 h 720"/>
                  <a:gd name="T36" fmla="*/ 2147483646 w 608"/>
                  <a:gd name="T37" fmla="*/ 2147483646 h 720"/>
                  <a:gd name="T38" fmla="*/ 2147483646 w 608"/>
                  <a:gd name="T39" fmla="*/ 2147483646 h 720"/>
                  <a:gd name="T40" fmla="*/ 2147483646 w 608"/>
                  <a:gd name="T41" fmla="*/ 2147483646 h 720"/>
                  <a:gd name="T42" fmla="*/ 2147483646 w 608"/>
                  <a:gd name="T43" fmla="*/ 2147483646 h 720"/>
                  <a:gd name="T44" fmla="*/ 2147483646 w 608"/>
                  <a:gd name="T45" fmla="*/ 2147483646 h 720"/>
                  <a:gd name="T46" fmla="*/ 2147483646 w 608"/>
                  <a:gd name="T47" fmla="*/ 2147483646 h 720"/>
                  <a:gd name="T48" fmla="*/ 2147483646 w 608"/>
                  <a:gd name="T49" fmla="*/ 2147483646 h 720"/>
                  <a:gd name="T50" fmla="*/ 2147483646 w 608"/>
                  <a:gd name="T51" fmla="*/ 2147483646 h 720"/>
                  <a:gd name="T52" fmla="*/ 2147483646 w 608"/>
                  <a:gd name="T53" fmla="*/ 0 h 720"/>
                  <a:gd name="T54" fmla="*/ 2147483646 w 608"/>
                  <a:gd name="T55" fmla="*/ 2147483646 h 720"/>
                  <a:gd name="T56" fmla="*/ 2147483646 w 608"/>
                  <a:gd name="T57" fmla="*/ 2147483646 h 720"/>
                  <a:gd name="T58" fmla="*/ 2147483646 w 608"/>
                  <a:gd name="T59" fmla="*/ 2147483646 h 720"/>
                  <a:gd name="T60" fmla="*/ 2147483646 w 608"/>
                  <a:gd name="T61" fmla="*/ 2147483646 h 720"/>
                  <a:gd name="T62" fmla="*/ 2147483646 w 608"/>
                  <a:gd name="T63" fmla="*/ 2147483646 h 720"/>
                  <a:gd name="T64" fmla="*/ 2147483646 w 608"/>
                  <a:gd name="T65" fmla="*/ 2147483646 h 720"/>
                  <a:gd name="T66" fmla="*/ 2147483646 w 608"/>
                  <a:gd name="T67" fmla="*/ 2147483646 h 720"/>
                  <a:gd name="T68" fmla="*/ 0 w 608"/>
                  <a:gd name="T69" fmla="*/ 2147483646 h 720"/>
                  <a:gd name="T70" fmla="*/ 2147483646 w 608"/>
                  <a:gd name="T71" fmla="*/ 2147483646 h 720"/>
                  <a:gd name="T72" fmla="*/ 2147483646 w 608"/>
                  <a:gd name="T73" fmla="*/ 2147483646 h 720"/>
                  <a:gd name="T74" fmla="*/ 2147483646 w 608"/>
                  <a:gd name="T75" fmla="*/ 2147483646 h 720"/>
                  <a:gd name="T76" fmla="*/ 2147483646 w 608"/>
                  <a:gd name="T77" fmla="*/ 2147483646 h 720"/>
                  <a:gd name="T78" fmla="*/ 2147483646 w 608"/>
                  <a:gd name="T79" fmla="*/ 2147483646 h 720"/>
                  <a:gd name="T80" fmla="*/ 2147483646 w 608"/>
                  <a:gd name="T81" fmla="*/ 2147483646 h 720"/>
                  <a:gd name="T82" fmla="*/ 2147483646 w 608"/>
                  <a:gd name="T83" fmla="*/ 2147483646 h 720"/>
                  <a:gd name="T84" fmla="*/ 2147483646 w 608"/>
                  <a:gd name="T85" fmla="*/ 2147483646 h 720"/>
                  <a:gd name="T86" fmla="*/ 2147483646 w 608"/>
                  <a:gd name="T87" fmla="*/ 2147483646 h 720"/>
                  <a:gd name="T88" fmla="*/ 2147483646 w 608"/>
                  <a:gd name="T89" fmla="*/ 2147483646 h 720"/>
                  <a:gd name="T90" fmla="*/ 2147483646 w 608"/>
                  <a:gd name="T91" fmla="*/ 2147483646 h 720"/>
                  <a:gd name="T92" fmla="*/ 2147483646 w 608"/>
                  <a:gd name="T93" fmla="*/ 2147483646 h 720"/>
                  <a:gd name="T94" fmla="*/ 2147483646 w 608"/>
                  <a:gd name="T95" fmla="*/ 2147483646 h 720"/>
                  <a:gd name="T96" fmla="*/ 2147483646 w 608"/>
                  <a:gd name="T97" fmla="*/ 2147483646 h 720"/>
                  <a:gd name="T98" fmla="*/ 2147483646 w 608"/>
                  <a:gd name="T99" fmla="*/ 2147483646 h 720"/>
                  <a:gd name="T100" fmla="*/ 2147483646 w 608"/>
                  <a:gd name="T101" fmla="*/ 2147483646 h 720"/>
                  <a:gd name="T102" fmla="*/ 2147483646 w 608"/>
                  <a:gd name="T103" fmla="*/ 2147483646 h 720"/>
                  <a:gd name="T104" fmla="*/ 2147483646 w 608"/>
                  <a:gd name="T105" fmla="*/ 2147483646 h 720"/>
                  <a:gd name="T106" fmla="*/ 2147483646 w 608"/>
                  <a:gd name="T107" fmla="*/ 2147483646 h 7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8"/>
                  <a:gd name="T163" fmla="*/ 0 h 720"/>
                  <a:gd name="T164" fmla="*/ 608 w 608"/>
                  <a:gd name="T165" fmla="*/ 720 h 7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8" h="720">
                    <a:moveTo>
                      <a:pt x="544" y="696"/>
                    </a:moveTo>
                    <a:lnTo>
                      <a:pt x="520" y="640"/>
                    </a:lnTo>
                    <a:lnTo>
                      <a:pt x="552" y="560"/>
                    </a:lnTo>
                    <a:lnTo>
                      <a:pt x="512" y="536"/>
                    </a:lnTo>
                    <a:lnTo>
                      <a:pt x="496" y="456"/>
                    </a:lnTo>
                    <a:lnTo>
                      <a:pt x="456" y="480"/>
                    </a:lnTo>
                    <a:lnTo>
                      <a:pt x="432" y="456"/>
                    </a:lnTo>
                    <a:lnTo>
                      <a:pt x="496" y="384"/>
                    </a:lnTo>
                    <a:lnTo>
                      <a:pt x="576" y="416"/>
                    </a:lnTo>
                    <a:lnTo>
                      <a:pt x="592" y="400"/>
                    </a:lnTo>
                    <a:lnTo>
                      <a:pt x="576" y="352"/>
                    </a:lnTo>
                    <a:lnTo>
                      <a:pt x="600" y="336"/>
                    </a:lnTo>
                    <a:lnTo>
                      <a:pt x="608" y="280"/>
                    </a:lnTo>
                    <a:lnTo>
                      <a:pt x="592" y="264"/>
                    </a:lnTo>
                    <a:lnTo>
                      <a:pt x="560" y="280"/>
                    </a:lnTo>
                    <a:lnTo>
                      <a:pt x="560" y="240"/>
                    </a:lnTo>
                    <a:lnTo>
                      <a:pt x="496" y="264"/>
                    </a:lnTo>
                    <a:lnTo>
                      <a:pt x="488" y="224"/>
                    </a:lnTo>
                    <a:lnTo>
                      <a:pt x="456" y="240"/>
                    </a:lnTo>
                    <a:lnTo>
                      <a:pt x="432" y="208"/>
                    </a:lnTo>
                    <a:lnTo>
                      <a:pt x="384" y="184"/>
                    </a:lnTo>
                    <a:lnTo>
                      <a:pt x="352" y="208"/>
                    </a:lnTo>
                    <a:lnTo>
                      <a:pt x="304" y="136"/>
                    </a:lnTo>
                    <a:lnTo>
                      <a:pt x="240" y="160"/>
                    </a:lnTo>
                    <a:lnTo>
                      <a:pt x="184" y="72"/>
                    </a:lnTo>
                    <a:lnTo>
                      <a:pt x="192" y="16"/>
                    </a:lnTo>
                    <a:lnTo>
                      <a:pt x="144" y="0"/>
                    </a:lnTo>
                    <a:lnTo>
                      <a:pt x="144" y="64"/>
                    </a:lnTo>
                    <a:lnTo>
                      <a:pt x="112" y="80"/>
                    </a:lnTo>
                    <a:lnTo>
                      <a:pt x="120" y="136"/>
                    </a:lnTo>
                    <a:lnTo>
                      <a:pt x="88" y="152"/>
                    </a:lnTo>
                    <a:lnTo>
                      <a:pt x="80" y="96"/>
                    </a:lnTo>
                    <a:lnTo>
                      <a:pt x="56" y="144"/>
                    </a:lnTo>
                    <a:lnTo>
                      <a:pt x="16" y="152"/>
                    </a:lnTo>
                    <a:lnTo>
                      <a:pt x="0" y="224"/>
                    </a:lnTo>
                    <a:lnTo>
                      <a:pt x="32" y="256"/>
                    </a:lnTo>
                    <a:lnTo>
                      <a:pt x="40" y="320"/>
                    </a:lnTo>
                    <a:lnTo>
                      <a:pt x="72" y="344"/>
                    </a:lnTo>
                    <a:lnTo>
                      <a:pt x="72" y="408"/>
                    </a:lnTo>
                    <a:lnTo>
                      <a:pt x="112" y="416"/>
                    </a:lnTo>
                    <a:lnTo>
                      <a:pt x="112" y="448"/>
                    </a:lnTo>
                    <a:lnTo>
                      <a:pt x="168" y="440"/>
                    </a:lnTo>
                    <a:lnTo>
                      <a:pt x="184" y="512"/>
                    </a:lnTo>
                    <a:lnTo>
                      <a:pt x="232" y="528"/>
                    </a:lnTo>
                    <a:lnTo>
                      <a:pt x="248" y="568"/>
                    </a:lnTo>
                    <a:lnTo>
                      <a:pt x="216" y="576"/>
                    </a:lnTo>
                    <a:lnTo>
                      <a:pt x="256" y="640"/>
                    </a:lnTo>
                    <a:lnTo>
                      <a:pt x="288" y="688"/>
                    </a:lnTo>
                    <a:lnTo>
                      <a:pt x="368" y="664"/>
                    </a:lnTo>
                    <a:lnTo>
                      <a:pt x="440" y="696"/>
                    </a:lnTo>
                    <a:lnTo>
                      <a:pt x="472" y="664"/>
                    </a:lnTo>
                    <a:lnTo>
                      <a:pt x="504" y="672"/>
                    </a:lnTo>
                    <a:lnTo>
                      <a:pt x="504" y="720"/>
                    </a:lnTo>
                    <a:lnTo>
                      <a:pt x="544" y="696"/>
                    </a:lnTo>
                    <a:close/>
                  </a:path>
                </a:pathLst>
              </a:custGeom>
              <a:solidFill>
                <a:srgbClr val="9950A8"/>
              </a:solidFill>
              <a:ln w="9525">
                <a:solidFill>
                  <a:schemeClr val="bg1"/>
                </a:solidFill>
                <a:round/>
                <a:headEnd/>
                <a:tailEnd/>
              </a:ln>
            </p:spPr>
            <p:txBody>
              <a:bodyPr/>
              <a:lstStyle/>
              <a:p>
                <a:endParaRPr lang="en-US" sz="1050"/>
              </a:p>
            </p:txBody>
          </p:sp>
          <p:sp>
            <p:nvSpPr>
              <p:cNvPr id="126" name="Freeform 125"/>
              <p:cNvSpPr>
                <a:spLocks/>
              </p:cNvSpPr>
              <p:nvPr/>
            </p:nvSpPr>
            <p:spPr bwMode="auto">
              <a:xfrm>
                <a:off x="6155048" y="5055429"/>
                <a:ext cx="933408" cy="754732"/>
              </a:xfrm>
              <a:custGeom>
                <a:avLst/>
                <a:gdLst>
                  <a:gd name="T0" fmla="*/ 2147483646 w 792"/>
                  <a:gd name="T1" fmla="*/ 2147483646 h 696"/>
                  <a:gd name="T2" fmla="*/ 2147483646 w 792"/>
                  <a:gd name="T3" fmla="*/ 2147483646 h 696"/>
                  <a:gd name="T4" fmla="*/ 2147483646 w 792"/>
                  <a:gd name="T5" fmla="*/ 2147483646 h 696"/>
                  <a:gd name="T6" fmla="*/ 2147483646 w 792"/>
                  <a:gd name="T7" fmla="*/ 2147483646 h 696"/>
                  <a:gd name="T8" fmla="*/ 2147483646 w 792"/>
                  <a:gd name="T9" fmla="*/ 2147483646 h 696"/>
                  <a:gd name="T10" fmla="*/ 2147483646 w 792"/>
                  <a:gd name="T11" fmla="*/ 2147483646 h 696"/>
                  <a:gd name="T12" fmla="*/ 2147483646 w 792"/>
                  <a:gd name="T13" fmla="*/ 2147483646 h 696"/>
                  <a:gd name="T14" fmla="*/ 2147483646 w 792"/>
                  <a:gd name="T15" fmla="*/ 0 h 696"/>
                  <a:gd name="T16" fmla="*/ 2147483646 w 792"/>
                  <a:gd name="T17" fmla="*/ 2147483646 h 696"/>
                  <a:gd name="T18" fmla="*/ 2147483646 w 792"/>
                  <a:gd name="T19" fmla="*/ 2147483646 h 696"/>
                  <a:gd name="T20" fmla="*/ 2147483646 w 792"/>
                  <a:gd name="T21" fmla="*/ 2147483646 h 696"/>
                  <a:gd name="T22" fmla="*/ 2147483646 w 792"/>
                  <a:gd name="T23" fmla="*/ 2147483646 h 696"/>
                  <a:gd name="T24" fmla="*/ 2147483646 w 792"/>
                  <a:gd name="T25" fmla="*/ 2147483646 h 696"/>
                  <a:gd name="T26" fmla="*/ 2147483646 w 792"/>
                  <a:gd name="T27" fmla="*/ 2147483646 h 696"/>
                  <a:gd name="T28" fmla="*/ 2147483646 w 792"/>
                  <a:gd name="T29" fmla="*/ 2147483646 h 696"/>
                  <a:gd name="T30" fmla="*/ 2147483646 w 792"/>
                  <a:gd name="T31" fmla="*/ 2147483646 h 696"/>
                  <a:gd name="T32" fmla="*/ 2147483646 w 792"/>
                  <a:gd name="T33" fmla="*/ 2147483646 h 696"/>
                  <a:gd name="T34" fmla="*/ 2147483646 w 792"/>
                  <a:gd name="T35" fmla="*/ 2147483646 h 696"/>
                  <a:gd name="T36" fmla="*/ 2147483646 w 792"/>
                  <a:gd name="T37" fmla="*/ 2147483646 h 696"/>
                  <a:gd name="T38" fmla="*/ 2147483646 w 792"/>
                  <a:gd name="T39" fmla="*/ 2147483646 h 696"/>
                  <a:gd name="T40" fmla="*/ 2147483646 w 792"/>
                  <a:gd name="T41" fmla="*/ 2147483646 h 696"/>
                  <a:gd name="T42" fmla="*/ 2147483646 w 792"/>
                  <a:gd name="T43" fmla="*/ 2147483646 h 696"/>
                  <a:gd name="T44" fmla="*/ 2147483646 w 792"/>
                  <a:gd name="T45" fmla="*/ 2147483646 h 696"/>
                  <a:gd name="T46" fmla="*/ 0 w 792"/>
                  <a:gd name="T47" fmla="*/ 2147483646 h 696"/>
                  <a:gd name="T48" fmla="*/ 2147483646 w 792"/>
                  <a:gd name="T49" fmla="*/ 2147483646 h 696"/>
                  <a:gd name="T50" fmla="*/ 2147483646 w 792"/>
                  <a:gd name="T51" fmla="*/ 2147483646 h 696"/>
                  <a:gd name="T52" fmla="*/ 2147483646 w 792"/>
                  <a:gd name="T53" fmla="*/ 2147483646 h 696"/>
                  <a:gd name="T54" fmla="*/ 2147483646 w 792"/>
                  <a:gd name="T55" fmla="*/ 2147483646 h 696"/>
                  <a:gd name="T56" fmla="*/ 2147483646 w 792"/>
                  <a:gd name="T57" fmla="*/ 2147483646 h 696"/>
                  <a:gd name="T58" fmla="*/ 2147483646 w 792"/>
                  <a:gd name="T59" fmla="*/ 2147483646 h 696"/>
                  <a:gd name="T60" fmla="*/ 2147483646 w 792"/>
                  <a:gd name="T61" fmla="*/ 2147483646 h 696"/>
                  <a:gd name="T62" fmla="*/ 2147483646 w 792"/>
                  <a:gd name="T63" fmla="*/ 2147483646 h 696"/>
                  <a:gd name="T64" fmla="*/ 2147483646 w 792"/>
                  <a:gd name="T65" fmla="*/ 2147483646 h 696"/>
                  <a:gd name="T66" fmla="*/ 2147483646 w 792"/>
                  <a:gd name="T67" fmla="*/ 2147483646 h 696"/>
                  <a:gd name="T68" fmla="*/ 2147483646 w 792"/>
                  <a:gd name="T69" fmla="*/ 2147483646 h 696"/>
                  <a:gd name="T70" fmla="*/ 2147483646 w 792"/>
                  <a:gd name="T71" fmla="*/ 2147483646 h 696"/>
                  <a:gd name="T72" fmla="*/ 2147483646 w 792"/>
                  <a:gd name="T73" fmla="*/ 2147483646 h 696"/>
                  <a:gd name="T74" fmla="*/ 2147483646 w 792"/>
                  <a:gd name="T75" fmla="*/ 2147483646 h 696"/>
                  <a:gd name="T76" fmla="*/ 2147483646 w 792"/>
                  <a:gd name="T77" fmla="*/ 2147483646 h 696"/>
                  <a:gd name="T78" fmla="*/ 2147483646 w 792"/>
                  <a:gd name="T79" fmla="*/ 2147483646 h 696"/>
                  <a:gd name="T80" fmla="*/ 2147483646 w 792"/>
                  <a:gd name="T81" fmla="*/ 2147483646 h 696"/>
                  <a:gd name="T82" fmla="*/ 2147483646 w 792"/>
                  <a:gd name="T83" fmla="*/ 2147483646 h 696"/>
                  <a:gd name="T84" fmla="*/ 2147483646 w 792"/>
                  <a:gd name="T85" fmla="*/ 2147483646 h 696"/>
                  <a:gd name="T86" fmla="*/ 2147483646 w 792"/>
                  <a:gd name="T87" fmla="*/ 2147483646 h 696"/>
                  <a:gd name="T88" fmla="*/ 2147483646 w 792"/>
                  <a:gd name="T89" fmla="*/ 2147483646 h 696"/>
                  <a:gd name="T90" fmla="*/ 2147483646 w 792"/>
                  <a:gd name="T91" fmla="*/ 2147483646 h 696"/>
                  <a:gd name="T92" fmla="*/ 2147483646 w 792"/>
                  <a:gd name="T93" fmla="*/ 2147483646 h 696"/>
                  <a:gd name="T94" fmla="*/ 2147483646 w 792"/>
                  <a:gd name="T95" fmla="*/ 2147483646 h 696"/>
                  <a:gd name="T96" fmla="*/ 2147483646 w 792"/>
                  <a:gd name="T97" fmla="*/ 2147483646 h 696"/>
                  <a:gd name="T98" fmla="*/ 2147483646 w 792"/>
                  <a:gd name="T99" fmla="*/ 2147483646 h 696"/>
                  <a:gd name="T100" fmla="*/ 2147483646 w 792"/>
                  <a:gd name="T101" fmla="*/ 2147483646 h 696"/>
                  <a:gd name="T102" fmla="*/ 2147483646 w 792"/>
                  <a:gd name="T103" fmla="*/ 2147483646 h 696"/>
                  <a:gd name="T104" fmla="*/ 2147483646 w 792"/>
                  <a:gd name="T105" fmla="*/ 2147483646 h 696"/>
                  <a:gd name="T106" fmla="*/ 2147483646 w 792"/>
                  <a:gd name="T107" fmla="*/ 2147483646 h 696"/>
                  <a:gd name="T108" fmla="*/ 2147483646 w 792"/>
                  <a:gd name="T109" fmla="*/ 2147483646 h 696"/>
                  <a:gd name="T110" fmla="*/ 2147483646 w 792"/>
                  <a:gd name="T111" fmla="*/ 2147483646 h 696"/>
                  <a:gd name="T112" fmla="*/ 2147483646 w 792"/>
                  <a:gd name="T113" fmla="*/ 2147483646 h 696"/>
                  <a:gd name="T114" fmla="*/ 2147483646 w 792"/>
                  <a:gd name="T115" fmla="*/ 2147483646 h 696"/>
                  <a:gd name="T116" fmla="*/ 2147483646 w 792"/>
                  <a:gd name="T117" fmla="*/ 2147483646 h 696"/>
                  <a:gd name="T118" fmla="*/ 2147483646 w 792"/>
                  <a:gd name="T119" fmla="*/ 2147483646 h 696"/>
                  <a:gd name="T120" fmla="*/ 2147483646 w 792"/>
                  <a:gd name="T121" fmla="*/ 2147483646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696"/>
                  <a:gd name="T185" fmla="*/ 792 w 792"/>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696">
                    <a:moveTo>
                      <a:pt x="728" y="80"/>
                    </a:moveTo>
                    <a:lnTo>
                      <a:pt x="616" y="72"/>
                    </a:lnTo>
                    <a:lnTo>
                      <a:pt x="592" y="88"/>
                    </a:lnTo>
                    <a:lnTo>
                      <a:pt x="560" y="48"/>
                    </a:lnTo>
                    <a:lnTo>
                      <a:pt x="536" y="112"/>
                    </a:lnTo>
                    <a:lnTo>
                      <a:pt x="496" y="24"/>
                    </a:lnTo>
                    <a:lnTo>
                      <a:pt x="432" y="32"/>
                    </a:lnTo>
                    <a:lnTo>
                      <a:pt x="384" y="0"/>
                    </a:lnTo>
                    <a:lnTo>
                      <a:pt x="368" y="32"/>
                    </a:lnTo>
                    <a:lnTo>
                      <a:pt x="336" y="8"/>
                    </a:lnTo>
                    <a:lnTo>
                      <a:pt x="280" y="24"/>
                    </a:lnTo>
                    <a:lnTo>
                      <a:pt x="320" y="88"/>
                    </a:lnTo>
                    <a:lnTo>
                      <a:pt x="368" y="96"/>
                    </a:lnTo>
                    <a:lnTo>
                      <a:pt x="360" y="184"/>
                    </a:lnTo>
                    <a:lnTo>
                      <a:pt x="400" y="192"/>
                    </a:lnTo>
                    <a:lnTo>
                      <a:pt x="416" y="240"/>
                    </a:lnTo>
                    <a:lnTo>
                      <a:pt x="360" y="304"/>
                    </a:lnTo>
                    <a:lnTo>
                      <a:pt x="344" y="368"/>
                    </a:lnTo>
                    <a:lnTo>
                      <a:pt x="256" y="376"/>
                    </a:lnTo>
                    <a:lnTo>
                      <a:pt x="224" y="408"/>
                    </a:lnTo>
                    <a:lnTo>
                      <a:pt x="168" y="408"/>
                    </a:lnTo>
                    <a:lnTo>
                      <a:pt x="104" y="448"/>
                    </a:lnTo>
                    <a:lnTo>
                      <a:pt x="24" y="448"/>
                    </a:lnTo>
                    <a:lnTo>
                      <a:pt x="0" y="480"/>
                    </a:lnTo>
                    <a:lnTo>
                      <a:pt x="72" y="512"/>
                    </a:lnTo>
                    <a:lnTo>
                      <a:pt x="80" y="528"/>
                    </a:lnTo>
                    <a:lnTo>
                      <a:pt x="184" y="528"/>
                    </a:lnTo>
                    <a:lnTo>
                      <a:pt x="200" y="496"/>
                    </a:lnTo>
                    <a:lnTo>
                      <a:pt x="224" y="536"/>
                    </a:lnTo>
                    <a:lnTo>
                      <a:pt x="240" y="560"/>
                    </a:lnTo>
                    <a:lnTo>
                      <a:pt x="296" y="552"/>
                    </a:lnTo>
                    <a:lnTo>
                      <a:pt x="328" y="528"/>
                    </a:lnTo>
                    <a:lnTo>
                      <a:pt x="352" y="560"/>
                    </a:lnTo>
                    <a:lnTo>
                      <a:pt x="360" y="616"/>
                    </a:lnTo>
                    <a:lnTo>
                      <a:pt x="416" y="656"/>
                    </a:lnTo>
                    <a:lnTo>
                      <a:pt x="488" y="688"/>
                    </a:lnTo>
                    <a:lnTo>
                      <a:pt x="560" y="688"/>
                    </a:lnTo>
                    <a:lnTo>
                      <a:pt x="656" y="696"/>
                    </a:lnTo>
                    <a:lnTo>
                      <a:pt x="656" y="648"/>
                    </a:lnTo>
                    <a:lnTo>
                      <a:pt x="672" y="576"/>
                    </a:lnTo>
                    <a:lnTo>
                      <a:pt x="688" y="512"/>
                    </a:lnTo>
                    <a:lnTo>
                      <a:pt x="664" y="448"/>
                    </a:lnTo>
                    <a:lnTo>
                      <a:pt x="688" y="408"/>
                    </a:lnTo>
                    <a:lnTo>
                      <a:pt x="696" y="376"/>
                    </a:lnTo>
                    <a:lnTo>
                      <a:pt x="656" y="360"/>
                    </a:lnTo>
                    <a:lnTo>
                      <a:pt x="656" y="312"/>
                    </a:lnTo>
                    <a:lnTo>
                      <a:pt x="688" y="288"/>
                    </a:lnTo>
                    <a:lnTo>
                      <a:pt x="696" y="264"/>
                    </a:lnTo>
                    <a:lnTo>
                      <a:pt x="720" y="232"/>
                    </a:lnTo>
                    <a:lnTo>
                      <a:pt x="752" y="192"/>
                    </a:lnTo>
                    <a:lnTo>
                      <a:pt x="768" y="144"/>
                    </a:lnTo>
                    <a:lnTo>
                      <a:pt x="792" y="112"/>
                    </a:lnTo>
                    <a:lnTo>
                      <a:pt x="768" y="128"/>
                    </a:lnTo>
                    <a:lnTo>
                      <a:pt x="736" y="168"/>
                    </a:lnTo>
                    <a:lnTo>
                      <a:pt x="712" y="208"/>
                    </a:lnTo>
                    <a:lnTo>
                      <a:pt x="712" y="152"/>
                    </a:lnTo>
                    <a:lnTo>
                      <a:pt x="696" y="144"/>
                    </a:lnTo>
                    <a:lnTo>
                      <a:pt x="720" y="128"/>
                    </a:lnTo>
                    <a:lnTo>
                      <a:pt x="704" y="96"/>
                    </a:lnTo>
                    <a:lnTo>
                      <a:pt x="720" y="96"/>
                    </a:lnTo>
                    <a:lnTo>
                      <a:pt x="728" y="80"/>
                    </a:lnTo>
                    <a:close/>
                  </a:path>
                </a:pathLst>
              </a:custGeom>
              <a:solidFill>
                <a:srgbClr val="C6CFEB"/>
              </a:solidFill>
              <a:ln w="9525">
                <a:solidFill>
                  <a:schemeClr val="bg1"/>
                </a:solidFill>
                <a:round/>
                <a:headEnd/>
                <a:tailEnd/>
              </a:ln>
            </p:spPr>
            <p:txBody>
              <a:bodyPr/>
              <a:lstStyle/>
              <a:p>
                <a:endParaRPr lang="en-US" sz="1050"/>
              </a:p>
            </p:txBody>
          </p:sp>
          <p:sp>
            <p:nvSpPr>
              <p:cNvPr id="127" name="Freeform 126"/>
              <p:cNvSpPr>
                <a:spLocks/>
              </p:cNvSpPr>
              <p:nvPr/>
            </p:nvSpPr>
            <p:spPr bwMode="auto">
              <a:xfrm>
                <a:off x="5589346" y="5020729"/>
                <a:ext cx="1055976" cy="364353"/>
              </a:xfrm>
              <a:custGeom>
                <a:avLst/>
                <a:gdLst>
                  <a:gd name="T0" fmla="*/ 2147483646 w 896"/>
                  <a:gd name="T1" fmla="*/ 2147483646 h 336"/>
                  <a:gd name="T2" fmla="*/ 2147483646 w 896"/>
                  <a:gd name="T3" fmla="*/ 2147483646 h 336"/>
                  <a:gd name="T4" fmla="*/ 2147483646 w 896"/>
                  <a:gd name="T5" fmla="*/ 2147483646 h 336"/>
                  <a:gd name="T6" fmla="*/ 2147483646 w 896"/>
                  <a:gd name="T7" fmla="*/ 2147483646 h 336"/>
                  <a:gd name="T8" fmla="*/ 2147483646 w 896"/>
                  <a:gd name="T9" fmla="*/ 2147483646 h 336"/>
                  <a:gd name="T10" fmla="*/ 2147483646 w 896"/>
                  <a:gd name="T11" fmla="*/ 2147483646 h 336"/>
                  <a:gd name="T12" fmla="*/ 2147483646 w 896"/>
                  <a:gd name="T13" fmla="*/ 2147483646 h 336"/>
                  <a:gd name="T14" fmla="*/ 2147483646 w 896"/>
                  <a:gd name="T15" fmla="*/ 2147483646 h 336"/>
                  <a:gd name="T16" fmla="*/ 2147483646 w 896"/>
                  <a:gd name="T17" fmla="*/ 2147483646 h 336"/>
                  <a:gd name="T18" fmla="*/ 2147483646 w 896"/>
                  <a:gd name="T19" fmla="*/ 2147483646 h 336"/>
                  <a:gd name="T20" fmla="*/ 2147483646 w 896"/>
                  <a:gd name="T21" fmla="*/ 2147483646 h 336"/>
                  <a:gd name="T22" fmla="*/ 2147483646 w 896"/>
                  <a:gd name="T23" fmla="*/ 2147483646 h 336"/>
                  <a:gd name="T24" fmla="*/ 2147483646 w 896"/>
                  <a:gd name="T25" fmla="*/ 2147483646 h 336"/>
                  <a:gd name="T26" fmla="*/ 2147483646 w 896"/>
                  <a:gd name="T27" fmla="*/ 2147483646 h 336"/>
                  <a:gd name="T28" fmla="*/ 2147483646 w 896"/>
                  <a:gd name="T29" fmla="*/ 2147483646 h 336"/>
                  <a:gd name="T30" fmla="*/ 2147483646 w 896"/>
                  <a:gd name="T31" fmla="*/ 2147483646 h 336"/>
                  <a:gd name="T32" fmla="*/ 2147483646 w 896"/>
                  <a:gd name="T33" fmla="*/ 2147483646 h 336"/>
                  <a:gd name="T34" fmla="*/ 2147483646 w 896"/>
                  <a:gd name="T35" fmla="*/ 2147483646 h 336"/>
                  <a:gd name="T36" fmla="*/ 2147483646 w 896"/>
                  <a:gd name="T37" fmla="*/ 2147483646 h 336"/>
                  <a:gd name="T38" fmla="*/ 2147483646 w 896"/>
                  <a:gd name="T39" fmla="*/ 2147483646 h 336"/>
                  <a:gd name="T40" fmla="*/ 2147483646 w 896"/>
                  <a:gd name="T41" fmla="*/ 2147483646 h 336"/>
                  <a:gd name="T42" fmla="*/ 2147483646 w 896"/>
                  <a:gd name="T43" fmla="*/ 2147483646 h 336"/>
                  <a:gd name="T44" fmla="*/ 2147483646 w 896"/>
                  <a:gd name="T45" fmla="*/ 0 h 336"/>
                  <a:gd name="T46" fmla="*/ 2147483646 w 896"/>
                  <a:gd name="T47" fmla="*/ 2147483646 h 336"/>
                  <a:gd name="T48" fmla="*/ 2147483646 w 896"/>
                  <a:gd name="T49" fmla="*/ 2147483646 h 336"/>
                  <a:gd name="T50" fmla="*/ 2147483646 w 896"/>
                  <a:gd name="T51" fmla="*/ 2147483646 h 336"/>
                  <a:gd name="T52" fmla="*/ 0 w 896"/>
                  <a:gd name="T53" fmla="*/ 2147483646 h 336"/>
                  <a:gd name="T54" fmla="*/ 2147483646 w 896"/>
                  <a:gd name="T55" fmla="*/ 2147483646 h 336"/>
                  <a:gd name="T56" fmla="*/ 2147483646 w 896"/>
                  <a:gd name="T57" fmla="*/ 2147483646 h 336"/>
                  <a:gd name="T58" fmla="*/ 2147483646 w 896"/>
                  <a:gd name="T59" fmla="*/ 2147483646 h 336"/>
                  <a:gd name="T60" fmla="*/ 2147483646 w 896"/>
                  <a:gd name="T61" fmla="*/ 2147483646 h 336"/>
                  <a:gd name="T62" fmla="*/ 2147483646 w 896"/>
                  <a:gd name="T63" fmla="*/ 2147483646 h 336"/>
                  <a:gd name="T64" fmla="*/ 2147483646 w 896"/>
                  <a:gd name="T65" fmla="*/ 2147483646 h 336"/>
                  <a:gd name="T66" fmla="*/ 2147483646 w 896"/>
                  <a:gd name="T67" fmla="*/ 2147483646 h 336"/>
                  <a:gd name="T68" fmla="*/ 2147483646 w 896"/>
                  <a:gd name="T69" fmla="*/ 2147483646 h 336"/>
                  <a:gd name="T70" fmla="*/ 2147483646 w 896"/>
                  <a:gd name="T71" fmla="*/ 2147483646 h 336"/>
                  <a:gd name="T72" fmla="*/ 2147483646 w 896"/>
                  <a:gd name="T73" fmla="*/ 2147483646 h 336"/>
                  <a:gd name="T74" fmla="*/ 2147483646 w 896"/>
                  <a:gd name="T75" fmla="*/ 2147483646 h 336"/>
                  <a:gd name="T76" fmla="*/ 2147483646 w 896"/>
                  <a:gd name="T77" fmla="*/ 2147483646 h 336"/>
                  <a:gd name="T78" fmla="*/ 2147483646 w 896"/>
                  <a:gd name="T79" fmla="*/ 2147483646 h 336"/>
                  <a:gd name="T80" fmla="*/ 2147483646 w 896"/>
                  <a:gd name="T81" fmla="*/ 2147483646 h 336"/>
                  <a:gd name="T82" fmla="*/ 2147483646 w 896"/>
                  <a:gd name="T83" fmla="*/ 2147483646 h 336"/>
                  <a:gd name="T84" fmla="*/ 2147483646 w 896"/>
                  <a:gd name="T85" fmla="*/ 2147483646 h 336"/>
                  <a:gd name="T86" fmla="*/ 2147483646 w 896"/>
                  <a:gd name="T87" fmla="*/ 2147483646 h 336"/>
                  <a:gd name="T88" fmla="*/ 2147483646 w 896"/>
                  <a:gd name="T89" fmla="*/ 2147483646 h 336"/>
                  <a:gd name="T90" fmla="*/ 2147483646 w 896"/>
                  <a:gd name="T91" fmla="*/ 2147483646 h 336"/>
                  <a:gd name="T92" fmla="*/ 2147483646 w 896"/>
                  <a:gd name="T93" fmla="*/ 2147483646 h 336"/>
                  <a:gd name="T94" fmla="*/ 2147483646 w 896"/>
                  <a:gd name="T95" fmla="*/ 2147483646 h 336"/>
                  <a:gd name="T96" fmla="*/ 2147483646 w 896"/>
                  <a:gd name="T97" fmla="*/ 2147483646 h 3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6"/>
                  <a:gd name="T148" fmla="*/ 0 h 336"/>
                  <a:gd name="T149" fmla="*/ 896 w 896"/>
                  <a:gd name="T150" fmla="*/ 336 h 3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6" h="336">
                    <a:moveTo>
                      <a:pt x="840" y="336"/>
                    </a:moveTo>
                    <a:lnTo>
                      <a:pt x="896" y="272"/>
                    </a:lnTo>
                    <a:lnTo>
                      <a:pt x="880" y="224"/>
                    </a:lnTo>
                    <a:lnTo>
                      <a:pt x="840" y="216"/>
                    </a:lnTo>
                    <a:lnTo>
                      <a:pt x="848" y="128"/>
                    </a:lnTo>
                    <a:lnTo>
                      <a:pt x="800" y="120"/>
                    </a:lnTo>
                    <a:lnTo>
                      <a:pt x="760" y="56"/>
                    </a:lnTo>
                    <a:lnTo>
                      <a:pt x="744" y="16"/>
                    </a:lnTo>
                    <a:lnTo>
                      <a:pt x="696" y="56"/>
                    </a:lnTo>
                    <a:lnTo>
                      <a:pt x="624" y="40"/>
                    </a:lnTo>
                    <a:lnTo>
                      <a:pt x="584" y="8"/>
                    </a:lnTo>
                    <a:lnTo>
                      <a:pt x="568" y="48"/>
                    </a:lnTo>
                    <a:lnTo>
                      <a:pt x="536" y="8"/>
                    </a:lnTo>
                    <a:lnTo>
                      <a:pt x="504" y="16"/>
                    </a:lnTo>
                    <a:lnTo>
                      <a:pt x="496" y="48"/>
                    </a:lnTo>
                    <a:lnTo>
                      <a:pt x="456" y="56"/>
                    </a:lnTo>
                    <a:lnTo>
                      <a:pt x="424" y="80"/>
                    </a:lnTo>
                    <a:lnTo>
                      <a:pt x="424" y="32"/>
                    </a:lnTo>
                    <a:lnTo>
                      <a:pt x="392" y="24"/>
                    </a:lnTo>
                    <a:lnTo>
                      <a:pt x="360" y="56"/>
                    </a:lnTo>
                    <a:lnTo>
                      <a:pt x="280" y="24"/>
                    </a:lnTo>
                    <a:lnTo>
                      <a:pt x="208" y="48"/>
                    </a:lnTo>
                    <a:lnTo>
                      <a:pt x="176" y="0"/>
                    </a:lnTo>
                    <a:lnTo>
                      <a:pt x="136" y="8"/>
                    </a:lnTo>
                    <a:lnTo>
                      <a:pt x="120" y="40"/>
                    </a:lnTo>
                    <a:lnTo>
                      <a:pt x="32" y="48"/>
                    </a:lnTo>
                    <a:lnTo>
                      <a:pt x="0" y="88"/>
                    </a:lnTo>
                    <a:lnTo>
                      <a:pt x="24" y="136"/>
                    </a:lnTo>
                    <a:lnTo>
                      <a:pt x="24" y="192"/>
                    </a:lnTo>
                    <a:lnTo>
                      <a:pt x="64" y="208"/>
                    </a:lnTo>
                    <a:lnTo>
                      <a:pt x="128" y="200"/>
                    </a:lnTo>
                    <a:lnTo>
                      <a:pt x="160" y="216"/>
                    </a:lnTo>
                    <a:lnTo>
                      <a:pt x="176" y="272"/>
                    </a:lnTo>
                    <a:lnTo>
                      <a:pt x="256" y="248"/>
                    </a:lnTo>
                    <a:lnTo>
                      <a:pt x="296" y="192"/>
                    </a:lnTo>
                    <a:lnTo>
                      <a:pt x="312" y="224"/>
                    </a:lnTo>
                    <a:lnTo>
                      <a:pt x="392" y="208"/>
                    </a:lnTo>
                    <a:lnTo>
                      <a:pt x="400" y="248"/>
                    </a:lnTo>
                    <a:lnTo>
                      <a:pt x="480" y="240"/>
                    </a:lnTo>
                    <a:lnTo>
                      <a:pt x="512" y="256"/>
                    </a:lnTo>
                    <a:lnTo>
                      <a:pt x="536" y="224"/>
                    </a:lnTo>
                    <a:lnTo>
                      <a:pt x="576" y="264"/>
                    </a:lnTo>
                    <a:lnTo>
                      <a:pt x="616" y="224"/>
                    </a:lnTo>
                    <a:lnTo>
                      <a:pt x="624" y="272"/>
                    </a:lnTo>
                    <a:lnTo>
                      <a:pt x="656" y="256"/>
                    </a:lnTo>
                    <a:lnTo>
                      <a:pt x="704" y="288"/>
                    </a:lnTo>
                    <a:lnTo>
                      <a:pt x="760" y="328"/>
                    </a:lnTo>
                    <a:lnTo>
                      <a:pt x="776" y="312"/>
                    </a:lnTo>
                    <a:lnTo>
                      <a:pt x="840" y="336"/>
                    </a:lnTo>
                    <a:close/>
                  </a:path>
                </a:pathLst>
              </a:custGeom>
              <a:solidFill>
                <a:srgbClr val="9950A8"/>
              </a:solidFill>
              <a:ln w="9525">
                <a:solidFill>
                  <a:schemeClr val="bg1"/>
                </a:solidFill>
                <a:round/>
                <a:headEnd/>
                <a:tailEnd/>
              </a:ln>
            </p:spPr>
            <p:txBody>
              <a:bodyPr/>
              <a:lstStyle/>
              <a:p>
                <a:endParaRPr lang="en-US" sz="1050"/>
              </a:p>
            </p:txBody>
          </p:sp>
          <p:sp>
            <p:nvSpPr>
              <p:cNvPr id="128" name="Freeform 127"/>
              <p:cNvSpPr>
                <a:spLocks/>
              </p:cNvSpPr>
              <p:nvPr/>
            </p:nvSpPr>
            <p:spPr bwMode="auto">
              <a:xfrm>
                <a:off x="5598775" y="5228931"/>
                <a:ext cx="980549" cy="390378"/>
              </a:xfrm>
              <a:custGeom>
                <a:avLst/>
                <a:gdLst>
                  <a:gd name="T0" fmla="*/ 2147483646 w 832"/>
                  <a:gd name="T1" fmla="*/ 2147483646 h 360"/>
                  <a:gd name="T2" fmla="*/ 2147483646 w 832"/>
                  <a:gd name="T3" fmla="*/ 2147483646 h 360"/>
                  <a:gd name="T4" fmla="*/ 2147483646 w 832"/>
                  <a:gd name="T5" fmla="*/ 2147483646 h 360"/>
                  <a:gd name="T6" fmla="*/ 2147483646 w 832"/>
                  <a:gd name="T7" fmla="*/ 2147483646 h 360"/>
                  <a:gd name="T8" fmla="*/ 2147483646 w 832"/>
                  <a:gd name="T9" fmla="*/ 2147483646 h 360"/>
                  <a:gd name="T10" fmla="*/ 2147483646 w 832"/>
                  <a:gd name="T11" fmla="*/ 2147483646 h 360"/>
                  <a:gd name="T12" fmla="*/ 2147483646 w 832"/>
                  <a:gd name="T13" fmla="*/ 2147483646 h 360"/>
                  <a:gd name="T14" fmla="*/ 2147483646 w 832"/>
                  <a:gd name="T15" fmla="*/ 2147483646 h 360"/>
                  <a:gd name="T16" fmla="*/ 2147483646 w 832"/>
                  <a:gd name="T17" fmla="*/ 2147483646 h 360"/>
                  <a:gd name="T18" fmla="*/ 2147483646 w 832"/>
                  <a:gd name="T19" fmla="*/ 2147483646 h 360"/>
                  <a:gd name="T20" fmla="*/ 2147483646 w 832"/>
                  <a:gd name="T21" fmla="*/ 2147483646 h 360"/>
                  <a:gd name="T22" fmla="*/ 2147483646 w 832"/>
                  <a:gd name="T23" fmla="*/ 2147483646 h 360"/>
                  <a:gd name="T24" fmla="*/ 2147483646 w 832"/>
                  <a:gd name="T25" fmla="*/ 2147483646 h 360"/>
                  <a:gd name="T26" fmla="*/ 2147483646 w 832"/>
                  <a:gd name="T27" fmla="*/ 2147483646 h 360"/>
                  <a:gd name="T28" fmla="*/ 2147483646 w 832"/>
                  <a:gd name="T29" fmla="*/ 2147483646 h 360"/>
                  <a:gd name="T30" fmla="*/ 2147483646 w 832"/>
                  <a:gd name="T31" fmla="*/ 2147483646 h 360"/>
                  <a:gd name="T32" fmla="*/ 2147483646 w 832"/>
                  <a:gd name="T33" fmla="*/ 2147483646 h 360"/>
                  <a:gd name="T34" fmla="*/ 2147483646 w 832"/>
                  <a:gd name="T35" fmla="*/ 2147483646 h 360"/>
                  <a:gd name="T36" fmla="*/ 2147483646 w 832"/>
                  <a:gd name="T37" fmla="*/ 2147483646 h 360"/>
                  <a:gd name="T38" fmla="*/ 2147483646 w 832"/>
                  <a:gd name="T39" fmla="*/ 2147483646 h 360"/>
                  <a:gd name="T40" fmla="*/ 2147483646 w 832"/>
                  <a:gd name="T41" fmla="*/ 0 h 360"/>
                  <a:gd name="T42" fmla="*/ 2147483646 w 832"/>
                  <a:gd name="T43" fmla="*/ 2147483646 h 360"/>
                  <a:gd name="T44" fmla="*/ 2147483646 w 832"/>
                  <a:gd name="T45" fmla="*/ 2147483646 h 360"/>
                  <a:gd name="T46" fmla="*/ 2147483646 w 832"/>
                  <a:gd name="T47" fmla="*/ 2147483646 h 360"/>
                  <a:gd name="T48" fmla="*/ 2147483646 w 832"/>
                  <a:gd name="T49" fmla="*/ 2147483646 h 360"/>
                  <a:gd name="T50" fmla="*/ 2147483646 w 832"/>
                  <a:gd name="T51" fmla="*/ 2147483646 h 360"/>
                  <a:gd name="T52" fmla="*/ 2147483646 w 832"/>
                  <a:gd name="T53" fmla="*/ 2147483646 h 360"/>
                  <a:gd name="T54" fmla="*/ 2147483646 w 832"/>
                  <a:gd name="T55" fmla="*/ 2147483646 h 360"/>
                  <a:gd name="T56" fmla="*/ 2147483646 w 832"/>
                  <a:gd name="T57" fmla="*/ 2147483646 h 360"/>
                  <a:gd name="T58" fmla="*/ 0 w 832"/>
                  <a:gd name="T59" fmla="*/ 2147483646 h 360"/>
                  <a:gd name="T60" fmla="*/ 2147483646 w 832"/>
                  <a:gd name="T61" fmla="*/ 2147483646 h 360"/>
                  <a:gd name="T62" fmla="*/ 2147483646 w 832"/>
                  <a:gd name="T63" fmla="*/ 2147483646 h 360"/>
                  <a:gd name="T64" fmla="*/ 2147483646 w 832"/>
                  <a:gd name="T65" fmla="*/ 2147483646 h 360"/>
                  <a:gd name="T66" fmla="*/ 2147483646 w 832"/>
                  <a:gd name="T67" fmla="*/ 2147483646 h 360"/>
                  <a:gd name="T68" fmla="*/ 2147483646 w 832"/>
                  <a:gd name="T69" fmla="*/ 2147483646 h 360"/>
                  <a:gd name="T70" fmla="*/ 2147483646 w 832"/>
                  <a:gd name="T71" fmla="*/ 2147483646 h 360"/>
                  <a:gd name="T72" fmla="*/ 2147483646 w 832"/>
                  <a:gd name="T73" fmla="*/ 2147483646 h 360"/>
                  <a:gd name="T74" fmla="*/ 2147483646 w 832"/>
                  <a:gd name="T75" fmla="*/ 2147483646 h 360"/>
                  <a:gd name="T76" fmla="*/ 2147483646 w 832"/>
                  <a:gd name="T77" fmla="*/ 2147483646 h 360"/>
                  <a:gd name="T78" fmla="*/ 2147483646 w 832"/>
                  <a:gd name="T79" fmla="*/ 2147483646 h 360"/>
                  <a:gd name="T80" fmla="*/ 2147483646 w 832"/>
                  <a:gd name="T81" fmla="*/ 2147483646 h 360"/>
                  <a:gd name="T82" fmla="*/ 2147483646 w 832"/>
                  <a:gd name="T83" fmla="*/ 2147483646 h 3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2"/>
                  <a:gd name="T127" fmla="*/ 0 h 360"/>
                  <a:gd name="T128" fmla="*/ 832 w 832"/>
                  <a:gd name="T129" fmla="*/ 360 h 3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2" h="360">
                    <a:moveTo>
                      <a:pt x="472" y="320"/>
                    </a:moveTo>
                    <a:lnTo>
                      <a:pt x="496" y="288"/>
                    </a:lnTo>
                    <a:lnTo>
                      <a:pt x="576" y="288"/>
                    </a:lnTo>
                    <a:lnTo>
                      <a:pt x="640" y="248"/>
                    </a:lnTo>
                    <a:lnTo>
                      <a:pt x="696" y="248"/>
                    </a:lnTo>
                    <a:lnTo>
                      <a:pt x="728" y="216"/>
                    </a:lnTo>
                    <a:lnTo>
                      <a:pt x="816" y="208"/>
                    </a:lnTo>
                    <a:lnTo>
                      <a:pt x="832" y="144"/>
                    </a:lnTo>
                    <a:lnTo>
                      <a:pt x="768" y="120"/>
                    </a:lnTo>
                    <a:lnTo>
                      <a:pt x="752" y="136"/>
                    </a:lnTo>
                    <a:lnTo>
                      <a:pt x="648" y="64"/>
                    </a:lnTo>
                    <a:lnTo>
                      <a:pt x="616" y="80"/>
                    </a:lnTo>
                    <a:lnTo>
                      <a:pt x="608" y="32"/>
                    </a:lnTo>
                    <a:lnTo>
                      <a:pt x="568" y="72"/>
                    </a:lnTo>
                    <a:lnTo>
                      <a:pt x="528" y="32"/>
                    </a:lnTo>
                    <a:lnTo>
                      <a:pt x="504" y="64"/>
                    </a:lnTo>
                    <a:lnTo>
                      <a:pt x="472" y="48"/>
                    </a:lnTo>
                    <a:lnTo>
                      <a:pt x="392" y="56"/>
                    </a:lnTo>
                    <a:lnTo>
                      <a:pt x="384" y="16"/>
                    </a:lnTo>
                    <a:lnTo>
                      <a:pt x="304" y="32"/>
                    </a:lnTo>
                    <a:lnTo>
                      <a:pt x="288" y="0"/>
                    </a:lnTo>
                    <a:lnTo>
                      <a:pt x="248" y="56"/>
                    </a:lnTo>
                    <a:lnTo>
                      <a:pt x="168" y="80"/>
                    </a:lnTo>
                    <a:lnTo>
                      <a:pt x="152" y="24"/>
                    </a:lnTo>
                    <a:lnTo>
                      <a:pt x="120" y="8"/>
                    </a:lnTo>
                    <a:lnTo>
                      <a:pt x="40" y="8"/>
                    </a:lnTo>
                    <a:lnTo>
                      <a:pt x="56" y="48"/>
                    </a:lnTo>
                    <a:lnTo>
                      <a:pt x="96" y="80"/>
                    </a:lnTo>
                    <a:lnTo>
                      <a:pt x="32" y="120"/>
                    </a:lnTo>
                    <a:lnTo>
                      <a:pt x="0" y="160"/>
                    </a:lnTo>
                    <a:lnTo>
                      <a:pt x="16" y="200"/>
                    </a:lnTo>
                    <a:lnTo>
                      <a:pt x="48" y="192"/>
                    </a:lnTo>
                    <a:lnTo>
                      <a:pt x="112" y="272"/>
                    </a:lnTo>
                    <a:lnTo>
                      <a:pt x="64" y="360"/>
                    </a:lnTo>
                    <a:lnTo>
                      <a:pt x="160" y="352"/>
                    </a:lnTo>
                    <a:lnTo>
                      <a:pt x="224" y="328"/>
                    </a:lnTo>
                    <a:lnTo>
                      <a:pt x="248" y="336"/>
                    </a:lnTo>
                    <a:lnTo>
                      <a:pt x="288" y="304"/>
                    </a:lnTo>
                    <a:lnTo>
                      <a:pt x="328" y="288"/>
                    </a:lnTo>
                    <a:lnTo>
                      <a:pt x="384" y="288"/>
                    </a:lnTo>
                    <a:lnTo>
                      <a:pt x="440" y="296"/>
                    </a:lnTo>
                    <a:lnTo>
                      <a:pt x="472" y="320"/>
                    </a:lnTo>
                    <a:close/>
                  </a:path>
                </a:pathLst>
              </a:custGeom>
              <a:solidFill>
                <a:srgbClr val="9950A8"/>
              </a:solidFill>
              <a:ln w="9525">
                <a:solidFill>
                  <a:schemeClr val="bg1"/>
                </a:solidFill>
                <a:round/>
                <a:headEnd/>
                <a:tailEnd/>
              </a:ln>
            </p:spPr>
            <p:txBody>
              <a:bodyPr/>
              <a:lstStyle/>
              <a:p>
                <a:endParaRPr lang="en-US" sz="1050"/>
              </a:p>
            </p:txBody>
          </p:sp>
          <p:sp>
            <p:nvSpPr>
              <p:cNvPr id="129" name="Freeform 128"/>
              <p:cNvSpPr>
                <a:spLocks/>
              </p:cNvSpPr>
              <p:nvPr/>
            </p:nvSpPr>
            <p:spPr bwMode="auto">
              <a:xfrm>
                <a:off x="5391351" y="5098804"/>
                <a:ext cx="320564" cy="338328"/>
              </a:xfrm>
              <a:custGeom>
                <a:avLst/>
                <a:gdLst>
                  <a:gd name="T0" fmla="*/ 2147483646 w 272"/>
                  <a:gd name="T1" fmla="*/ 2147483646 h 312"/>
                  <a:gd name="T2" fmla="*/ 2147483646 w 272"/>
                  <a:gd name="T3" fmla="*/ 2147483646 h 312"/>
                  <a:gd name="T4" fmla="*/ 2147483646 w 272"/>
                  <a:gd name="T5" fmla="*/ 2147483646 h 312"/>
                  <a:gd name="T6" fmla="*/ 2147483646 w 272"/>
                  <a:gd name="T7" fmla="*/ 2147483646 h 312"/>
                  <a:gd name="T8" fmla="*/ 2147483646 w 272"/>
                  <a:gd name="T9" fmla="*/ 2147483646 h 312"/>
                  <a:gd name="T10" fmla="*/ 2147483646 w 272"/>
                  <a:gd name="T11" fmla="*/ 2147483646 h 312"/>
                  <a:gd name="T12" fmla="*/ 2147483646 w 272"/>
                  <a:gd name="T13" fmla="*/ 2147483646 h 312"/>
                  <a:gd name="T14" fmla="*/ 2147483646 w 272"/>
                  <a:gd name="T15" fmla="*/ 2147483646 h 312"/>
                  <a:gd name="T16" fmla="*/ 2147483646 w 272"/>
                  <a:gd name="T17" fmla="*/ 0 h 312"/>
                  <a:gd name="T18" fmla="*/ 2147483646 w 272"/>
                  <a:gd name="T19" fmla="*/ 2147483646 h 312"/>
                  <a:gd name="T20" fmla="*/ 2147483646 w 272"/>
                  <a:gd name="T21" fmla="*/ 2147483646 h 312"/>
                  <a:gd name="T22" fmla="*/ 2147483646 w 272"/>
                  <a:gd name="T23" fmla="*/ 2147483646 h 312"/>
                  <a:gd name="T24" fmla="*/ 2147483646 w 272"/>
                  <a:gd name="T25" fmla="*/ 2147483646 h 312"/>
                  <a:gd name="T26" fmla="*/ 2147483646 w 272"/>
                  <a:gd name="T27" fmla="*/ 2147483646 h 312"/>
                  <a:gd name="T28" fmla="*/ 0 w 272"/>
                  <a:gd name="T29" fmla="*/ 2147483646 h 312"/>
                  <a:gd name="T30" fmla="*/ 2147483646 w 272"/>
                  <a:gd name="T31" fmla="*/ 2147483646 h 312"/>
                  <a:gd name="T32" fmla="*/ 2147483646 w 272"/>
                  <a:gd name="T33" fmla="*/ 2147483646 h 312"/>
                  <a:gd name="T34" fmla="*/ 2147483646 w 272"/>
                  <a:gd name="T35" fmla="*/ 2147483646 h 312"/>
                  <a:gd name="T36" fmla="*/ 2147483646 w 272"/>
                  <a:gd name="T37" fmla="*/ 2147483646 h 312"/>
                  <a:gd name="T38" fmla="*/ 2147483646 w 272"/>
                  <a:gd name="T39" fmla="*/ 2147483646 h 312"/>
                  <a:gd name="T40" fmla="*/ 2147483646 w 272"/>
                  <a:gd name="T41" fmla="*/ 2147483646 h 312"/>
                  <a:gd name="T42" fmla="*/ 2147483646 w 272"/>
                  <a:gd name="T43" fmla="*/ 2147483646 h 312"/>
                  <a:gd name="T44" fmla="*/ 2147483646 w 272"/>
                  <a:gd name="T45" fmla="*/ 2147483646 h 312"/>
                  <a:gd name="T46" fmla="*/ 2147483646 w 272"/>
                  <a:gd name="T47" fmla="*/ 2147483646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2"/>
                  <a:gd name="T73" fmla="*/ 0 h 312"/>
                  <a:gd name="T74" fmla="*/ 272 w 272"/>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2" h="312">
                    <a:moveTo>
                      <a:pt x="184" y="288"/>
                    </a:moveTo>
                    <a:lnTo>
                      <a:pt x="216" y="240"/>
                    </a:lnTo>
                    <a:lnTo>
                      <a:pt x="272" y="200"/>
                    </a:lnTo>
                    <a:lnTo>
                      <a:pt x="232" y="176"/>
                    </a:lnTo>
                    <a:lnTo>
                      <a:pt x="216" y="136"/>
                    </a:lnTo>
                    <a:lnTo>
                      <a:pt x="200" y="120"/>
                    </a:lnTo>
                    <a:lnTo>
                      <a:pt x="192" y="72"/>
                    </a:lnTo>
                    <a:lnTo>
                      <a:pt x="168" y="16"/>
                    </a:lnTo>
                    <a:lnTo>
                      <a:pt x="136" y="0"/>
                    </a:lnTo>
                    <a:lnTo>
                      <a:pt x="112" y="16"/>
                    </a:lnTo>
                    <a:lnTo>
                      <a:pt x="24" y="24"/>
                    </a:lnTo>
                    <a:lnTo>
                      <a:pt x="32" y="56"/>
                    </a:lnTo>
                    <a:lnTo>
                      <a:pt x="8" y="64"/>
                    </a:lnTo>
                    <a:lnTo>
                      <a:pt x="32" y="104"/>
                    </a:lnTo>
                    <a:lnTo>
                      <a:pt x="0" y="144"/>
                    </a:lnTo>
                    <a:lnTo>
                      <a:pt x="40" y="184"/>
                    </a:lnTo>
                    <a:lnTo>
                      <a:pt x="64" y="200"/>
                    </a:lnTo>
                    <a:lnTo>
                      <a:pt x="40" y="216"/>
                    </a:lnTo>
                    <a:lnTo>
                      <a:pt x="32" y="280"/>
                    </a:lnTo>
                    <a:lnTo>
                      <a:pt x="80" y="280"/>
                    </a:lnTo>
                    <a:lnTo>
                      <a:pt x="96" y="312"/>
                    </a:lnTo>
                    <a:lnTo>
                      <a:pt x="128" y="280"/>
                    </a:lnTo>
                    <a:lnTo>
                      <a:pt x="152" y="304"/>
                    </a:lnTo>
                    <a:lnTo>
                      <a:pt x="184" y="288"/>
                    </a:lnTo>
                    <a:close/>
                  </a:path>
                </a:pathLst>
              </a:custGeom>
              <a:solidFill>
                <a:srgbClr val="FFC000"/>
              </a:solidFill>
              <a:ln w="9525">
                <a:solidFill>
                  <a:schemeClr val="bg1"/>
                </a:solidFill>
                <a:round/>
                <a:headEnd/>
                <a:tailEnd/>
              </a:ln>
            </p:spPr>
            <p:txBody>
              <a:bodyPr/>
              <a:lstStyle/>
              <a:p>
                <a:endParaRPr lang="en-US" sz="1050"/>
              </a:p>
            </p:txBody>
          </p:sp>
          <p:sp>
            <p:nvSpPr>
              <p:cNvPr id="130" name="Freeform 129"/>
              <p:cNvSpPr>
                <a:spLocks/>
              </p:cNvSpPr>
              <p:nvPr/>
            </p:nvSpPr>
            <p:spPr bwMode="auto">
              <a:xfrm>
                <a:off x="4948218" y="4569625"/>
                <a:ext cx="480846" cy="720031"/>
              </a:xfrm>
              <a:custGeom>
                <a:avLst/>
                <a:gdLst>
                  <a:gd name="T0" fmla="*/ 2147483646 w 408"/>
                  <a:gd name="T1" fmla="*/ 2147483646 h 664"/>
                  <a:gd name="T2" fmla="*/ 2147483646 w 408"/>
                  <a:gd name="T3" fmla="*/ 2147483646 h 664"/>
                  <a:gd name="T4" fmla="*/ 2147483646 w 408"/>
                  <a:gd name="T5" fmla="*/ 2147483646 h 664"/>
                  <a:gd name="T6" fmla="*/ 2147483646 w 408"/>
                  <a:gd name="T7" fmla="*/ 2147483646 h 664"/>
                  <a:gd name="T8" fmla="*/ 2147483646 w 408"/>
                  <a:gd name="T9" fmla="*/ 2147483646 h 664"/>
                  <a:gd name="T10" fmla="*/ 2147483646 w 408"/>
                  <a:gd name="T11" fmla="*/ 2147483646 h 664"/>
                  <a:gd name="T12" fmla="*/ 2147483646 w 408"/>
                  <a:gd name="T13" fmla="*/ 2147483646 h 664"/>
                  <a:gd name="T14" fmla="*/ 2147483646 w 408"/>
                  <a:gd name="T15" fmla="*/ 2147483646 h 664"/>
                  <a:gd name="T16" fmla="*/ 2147483646 w 408"/>
                  <a:gd name="T17" fmla="*/ 2147483646 h 664"/>
                  <a:gd name="T18" fmla="*/ 2147483646 w 408"/>
                  <a:gd name="T19" fmla="*/ 2147483646 h 664"/>
                  <a:gd name="T20" fmla="*/ 2147483646 w 408"/>
                  <a:gd name="T21" fmla="*/ 2147483646 h 664"/>
                  <a:gd name="T22" fmla="*/ 2147483646 w 408"/>
                  <a:gd name="T23" fmla="*/ 2147483646 h 664"/>
                  <a:gd name="T24" fmla="*/ 2147483646 w 408"/>
                  <a:gd name="T25" fmla="*/ 2147483646 h 664"/>
                  <a:gd name="T26" fmla="*/ 2147483646 w 408"/>
                  <a:gd name="T27" fmla="*/ 2147483646 h 664"/>
                  <a:gd name="T28" fmla="*/ 2147483646 w 408"/>
                  <a:gd name="T29" fmla="*/ 2147483646 h 664"/>
                  <a:gd name="T30" fmla="*/ 2147483646 w 408"/>
                  <a:gd name="T31" fmla="*/ 0 h 664"/>
                  <a:gd name="T32" fmla="*/ 2147483646 w 408"/>
                  <a:gd name="T33" fmla="*/ 2147483646 h 664"/>
                  <a:gd name="T34" fmla="*/ 2147483646 w 408"/>
                  <a:gd name="T35" fmla="*/ 2147483646 h 664"/>
                  <a:gd name="T36" fmla="*/ 2147483646 w 408"/>
                  <a:gd name="T37" fmla="*/ 2147483646 h 664"/>
                  <a:gd name="T38" fmla="*/ 2147483646 w 408"/>
                  <a:gd name="T39" fmla="*/ 2147483646 h 664"/>
                  <a:gd name="T40" fmla="*/ 2147483646 w 408"/>
                  <a:gd name="T41" fmla="*/ 2147483646 h 664"/>
                  <a:gd name="T42" fmla="*/ 2147483646 w 408"/>
                  <a:gd name="T43" fmla="*/ 2147483646 h 664"/>
                  <a:gd name="T44" fmla="*/ 0 w 408"/>
                  <a:gd name="T45" fmla="*/ 2147483646 h 664"/>
                  <a:gd name="T46" fmla="*/ 2147483646 w 408"/>
                  <a:gd name="T47" fmla="*/ 2147483646 h 664"/>
                  <a:gd name="T48" fmla="*/ 2147483646 w 408"/>
                  <a:gd name="T49" fmla="*/ 2147483646 h 664"/>
                  <a:gd name="T50" fmla="*/ 2147483646 w 408"/>
                  <a:gd name="T51" fmla="*/ 2147483646 h 664"/>
                  <a:gd name="T52" fmla="*/ 2147483646 w 408"/>
                  <a:gd name="T53" fmla="*/ 2147483646 h 664"/>
                  <a:gd name="T54" fmla="*/ 2147483646 w 408"/>
                  <a:gd name="T55" fmla="*/ 2147483646 h 664"/>
                  <a:gd name="T56" fmla="*/ 2147483646 w 408"/>
                  <a:gd name="T57" fmla="*/ 2147483646 h 664"/>
                  <a:gd name="T58" fmla="*/ 2147483646 w 408"/>
                  <a:gd name="T59" fmla="*/ 2147483646 h 664"/>
                  <a:gd name="T60" fmla="*/ 2147483646 w 408"/>
                  <a:gd name="T61" fmla="*/ 2147483646 h 664"/>
                  <a:gd name="T62" fmla="*/ 2147483646 w 408"/>
                  <a:gd name="T63" fmla="*/ 2147483646 h 664"/>
                  <a:gd name="T64" fmla="*/ 2147483646 w 408"/>
                  <a:gd name="T65" fmla="*/ 2147483646 h 664"/>
                  <a:gd name="T66" fmla="*/ 2147483646 w 408"/>
                  <a:gd name="T67" fmla="*/ 2147483646 h 664"/>
                  <a:gd name="T68" fmla="*/ 2147483646 w 408"/>
                  <a:gd name="T69" fmla="*/ 2147483646 h 664"/>
                  <a:gd name="T70" fmla="*/ 2147483646 w 408"/>
                  <a:gd name="T71" fmla="*/ 2147483646 h 664"/>
                  <a:gd name="T72" fmla="*/ 2147483646 w 408"/>
                  <a:gd name="T73" fmla="*/ 2147483646 h 664"/>
                  <a:gd name="T74" fmla="*/ 2147483646 w 408"/>
                  <a:gd name="T75" fmla="*/ 2147483646 h 664"/>
                  <a:gd name="T76" fmla="*/ 2147483646 w 408"/>
                  <a:gd name="T77" fmla="*/ 2147483646 h 664"/>
                  <a:gd name="T78" fmla="*/ 2147483646 w 408"/>
                  <a:gd name="T79" fmla="*/ 2147483646 h 664"/>
                  <a:gd name="T80" fmla="*/ 2147483646 w 408"/>
                  <a:gd name="T81" fmla="*/ 2147483646 h 6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664"/>
                  <a:gd name="T125" fmla="*/ 408 w 408"/>
                  <a:gd name="T126" fmla="*/ 664 h 66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664">
                    <a:moveTo>
                      <a:pt x="376" y="632"/>
                    </a:moveTo>
                    <a:lnTo>
                      <a:pt x="408" y="592"/>
                    </a:lnTo>
                    <a:lnTo>
                      <a:pt x="384" y="552"/>
                    </a:lnTo>
                    <a:lnTo>
                      <a:pt x="408" y="544"/>
                    </a:lnTo>
                    <a:lnTo>
                      <a:pt x="400" y="504"/>
                    </a:lnTo>
                    <a:lnTo>
                      <a:pt x="400" y="480"/>
                    </a:lnTo>
                    <a:lnTo>
                      <a:pt x="368" y="440"/>
                    </a:lnTo>
                    <a:lnTo>
                      <a:pt x="336" y="440"/>
                    </a:lnTo>
                    <a:lnTo>
                      <a:pt x="336" y="344"/>
                    </a:lnTo>
                    <a:lnTo>
                      <a:pt x="280" y="328"/>
                    </a:lnTo>
                    <a:lnTo>
                      <a:pt x="288" y="264"/>
                    </a:lnTo>
                    <a:lnTo>
                      <a:pt x="208" y="184"/>
                    </a:lnTo>
                    <a:lnTo>
                      <a:pt x="240" y="136"/>
                    </a:lnTo>
                    <a:lnTo>
                      <a:pt x="176" y="80"/>
                    </a:lnTo>
                    <a:lnTo>
                      <a:pt x="184" y="24"/>
                    </a:lnTo>
                    <a:lnTo>
                      <a:pt x="144" y="0"/>
                    </a:lnTo>
                    <a:lnTo>
                      <a:pt x="104" y="48"/>
                    </a:lnTo>
                    <a:lnTo>
                      <a:pt x="96" y="128"/>
                    </a:lnTo>
                    <a:lnTo>
                      <a:pt x="64" y="160"/>
                    </a:lnTo>
                    <a:lnTo>
                      <a:pt x="72" y="200"/>
                    </a:lnTo>
                    <a:lnTo>
                      <a:pt x="32" y="224"/>
                    </a:lnTo>
                    <a:lnTo>
                      <a:pt x="16" y="200"/>
                    </a:lnTo>
                    <a:lnTo>
                      <a:pt x="0" y="264"/>
                    </a:lnTo>
                    <a:lnTo>
                      <a:pt x="64" y="368"/>
                    </a:lnTo>
                    <a:lnTo>
                      <a:pt x="48" y="448"/>
                    </a:lnTo>
                    <a:lnTo>
                      <a:pt x="72" y="472"/>
                    </a:lnTo>
                    <a:lnTo>
                      <a:pt x="56" y="512"/>
                    </a:lnTo>
                    <a:lnTo>
                      <a:pt x="80" y="560"/>
                    </a:lnTo>
                    <a:lnTo>
                      <a:pt x="112" y="568"/>
                    </a:lnTo>
                    <a:lnTo>
                      <a:pt x="88" y="600"/>
                    </a:lnTo>
                    <a:lnTo>
                      <a:pt x="96" y="640"/>
                    </a:lnTo>
                    <a:lnTo>
                      <a:pt x="64" y="664"/>
                    </a:lnTo>
                    <a:lnTo>
                      <a:pt x="104" y="664"/>
                    </a:lnTo>
                    <a:lnTo>
                      <a:pt x="168" y="632"/>
                    </a:lnTo>
                    <a:lnTo>
                      <a:pt x="200" y="656"/>
                    </a:lnTo>
                    <a:lnTo>
                      <a:pt x="200" y="624"/>
                    </a:lnTo>
                    <a:lnTo>
                      <a:pt x="240" y="632"/>
                    </a:lnTo>
                    <a:lnTo>
                      <a:pt x="280" y="600"/>
                    </a:lnTo>
                    <a:lnTo>
                      <a:pt x="320" y="600"/>
                    </a:lnTo>
                    <a:lnTo>
                      <a:pt x="344" y="632"/>
                    </a:lnTo>
                    <a:lnTo>
                      <a:pt x="376" y="632"/>
                    </a:lnTo>
                    <a:close/>
                  </a:path>
                </a:pathLst>
              </a:custGeom>
              <a:solidFill>
                <a:srgbClr val="C6CFEB"/>
              </a:solidFill>
              <a:ln w="9525">
                <a:solidFill>
                  <a:schemeClr val="bg1"/>
                </a:solidFill>
                <a:round/>
                <a:headEnd/>
                <a:tailEnd/>
              </a:ln>
            </p:spPr>
            <p:txBody>
              <a:bodyPr/>
              <a:lstStyle/>
              <a:p>
                <a:endParaRPr lang="en-US" sz="1050"/>
              </a:p>
            </p:txBody>
          </p:sp>
          <p:sp>
            <p:nvSpPr>
              <p:cNvPr id="131" name="Freeform 130"/>
              <p:cNvSpPr>
                <a:spLocks/>
              </p:cNvSpPr>
              <p:nvPr/>
            </p:nvSpPr>
            <p:spPr bwMode="auto">
              <a:xfrm>
                <a:off x="4589941" y="4456849"/>
                <a:ext cx="490275" cy="893533"/>
              </a:xfrm>
              <a:custGeom>
                <a:avLst/>
                <a:gdLst>
                  <a:gd name="T0" fmla="*/ 2147483646 w 416"/>
                  <a:gd name="T1" fmla="*/ 2147483646 h 824"/>
                  <a:gd name="T2" fmla="*/ 2147483646 w 416"/>
                  <a:gd name="T3" fmla="*/ 2147483646 h 824"/>
                  <a:gd name="T4" fmla="*/ 2147483646 w 416"/>
                  <a:gd name="T5" fmla="*/ 2147483646 h 824"/>
                  <a:gd name="T6" fmla="*/ 2147483646 w 416"/>
                  <a:gd name="T7" fmla="*/ 2147483646 h 824"/>
                  <a:gd name="T8" fmla="*/ 2147483646 w 416"/>
                  <a:gd name="T9" fmla="*/ 2147483646 h 824"/>
                  <a:gd name="T10" fmla="*/ 2147483646 w 416"/>
                  <a:gd name="T11" fmla="*/ 2147483646 h 824"/>
                  <a:gd name="T12" fmla="*/ 2147483646 w 416"/>
                  <a:gd name="T13" fmla="*/ 2147483646 h 824"/>
                  <a:gd name="T14" fmla="*/ 2147483646 w 416"/>
                  <a:gd name="T15" fmla="*/ 2147483646 h 824"/>
                  <a:gd name="T16" fmla="*/ 2147483646 w 416"/>
                  <a:gd name="T17" fmla="*/ 2147483646 h 824"/>
                  <a:gd name="T18" fmla="*/ 2147483646 w 416"/>
                  <a:gd name="T19" fmla="*/ 2147483646 h 824"/>
                  <a:gd name="T20" fmla="*/ 2147483646 w 416"/>
                  <a:gd name="T21" fmla="*/ 2147483646 h 824"/>
                  <a:gd name="T22" fmla="*/ 2147483646 w 416"/>
                  <a:gd name="T23" fmla="*/ 2147483646 h 824"/>
                  <a:gd name="T24" fmla="*/ 2147483646 w 416"/>
                  <a:gd name="T25" fmla="*/ 2147483646 h 824"/>
                  <a:gd name="T26" fmla="*/ 2147483646 w 416"/>
                  <a:gd name="T27" fmla="*/ 2147483646 h 824"/>
                  <a:gd name="T28" fmla="*/ 2147483646 w 416"/>
                  <a:gd name="T29" fmla="*/ 2147483646 h 824"/>
                  <a:gd name="T30" fmla="*/ 2147483646 w 416"/>
                  <a:gd name="T31" fmla="*/ 2147483646 h 824"/>
                  <a:gd name="T32" fmla="*/ 2147483646 w 416"/>
                  <a:gd name="T33" fmla="*/ 2147483646 h 824"/>
                  <a:gd name="T34" fmla="*/ 2147483646 w 416"/>
                  <a:gd name="T35" fmla="*/ 2147483646 h 824"/>
                  <a:gd name="T36" fmla="*/ 2147483646 w 416"/>
                  <a:gd name="T37" fmla="*/ 2147483646 h 824"/>
                  <a:gd name="T38" fmla="*/ 2147483646 w 416"/>
                  <a:gd name="T39" fmla="*/ 0 h 824"/>
                  <a:gd name="T40" fmla="*/ 2147483646 w 416"/>
                  <a:gd name="T41" fmla="*/ 2147483646 h 824"/>
                  <a:gd name="T42" fmla="*/ 2147483646 w 416"/>
                  <a:gd name="T43" fmla="*/ 2147483646 h 824"/>
                  <a:gd name="T44" fmla="*/ 2147483646 w 416"/>
                  <a:gd name="T45" fmla="*/ 2147483646 h 824"/>
                  <a:gd name="T46" fmla="*/ 2147483646 w 416"/>
                  <a:gd name="T47" fmla="*/ 2147483646 h 824"/>
                  <a:gd name="T48" fmla="*/ 2147483646 w 416"/>
                  <a:gd name="T49" fmla="*/ 2147483646 h 824"/>
                  <a:gd name="T50" fmla="*/ 2147483646 w 416"/>
                  <a:gd name="T51" fmla="*/ 2147483646 h 824"/>
                  <a:gd name="T52" fmla="*/ 2147483646 w 416"/>
                  <a:gd name="T53" fmla="*/ 2147483646 h 824"/>
                  <a:gd name="T54" fmla="*/ 0 w 416"/>
                  <a:gd name="T55" fmla="*/ 2147483646 h 824"/>
                  <a:gd name="T56" fmla="*/ 2147483646 w 416"/>
                  <a:gd name="T57" fmla="*/ 2147483646 h 824"/>
                  <a:gd name="T58" fmla="*/ 2147483646 w 416"/>
                  <a:gd name="T59" fmla="*/ 2147483646 h 824"/>
                  <a:gd name="T60" fmla="*/ 2147483646 w 416"/>
                  <a:gd name="T61" fmla="*/ 2147483646 h 824"/>
                  <a:gd name="T62" fmla="*/ 2147483646 w 416"/>
                  <a:gd name="T63" fmla="*/ 2147483646 h 824"/>
                  <a:gd name="T64" fmla="*/ 2147483646 w 416"/>
                  <a:gd name="T65" fmla="*/ 2147483646 h 824"/>
                  <a:gd name="T66" fmla="*/ 2147483646 w 416"/>
                  <a:gd name="T67" fmla="*/ 2147483646 h 824"/>
                  <a:gd name="T68" fmla="*/ 2147483646 w 416"/>
                  <a:gd name="T69" fmla="*/ 2147483646 h 824"/>
                  <a:gd name="T70" fmla="*/ 2147483646 w 416"/>
                  <a:gd name="T71" fmla="*/ 2147483646 h 824"/>
                  <a:gd name="T72" fmla="*/ 2147483646 w 416"/>
                  <a:gd name="T73" fmla="*/ 2147483646 h 824"/>
                  <a:gd name="T74" fmla="*/ 2147483646 w 416"/>
                  <a:gd name="T75" fmla="*/ 2147483646 h 824"/>
                  <a:gd name="T76" fmla="*/ 2147483646 w 416"/>
                  <a:gd name="T77" fmla="*/ 2147483646 h 824"/>
                  <a:gd name="T78" fmla="*/ 2147483646 w 416"/>
                  <a:gd name="T79" fmla="*/ 2147483646 h 824"/>
                  <a:gd name="T80" fmla="*/ 2147483646 w 416"/>
                  <a:gd name="T81" fmla="*/ 2147483646 h 8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6"/>
                  <a:gd name="T124" fmla="*/ 0 h 824"/>
                  <a:gd name="T125" fmla="*/ 416 w 416"/>
                  <a:gd name="T126" fmla="*/ 824 h 8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6" h="824">
                    <a:moveTo>
                      <a:pt x="368" y="768"/>
                    </a:moveTo>
                    <a:lnTo>
                      <a:pt x="400" y="744"/>
                    </a:lnTo>
                    <a:lnTo>
                      <a:pt x="392" y="704"/>
                    </a:lnTo>
                    <a:lnTo>
                      <a:pt x="416" y="672"/>
                    </a:lnTo>
                    <a:lnTo>
                      <a:pt x="384" y="664"/>
                    </a:lnTo>
                    <a:lnTo>
                      <a:pt x="360" y="616"/>
                    </a:lnTo>
                    <a:lnTo>
                      <a:pt x="376" y="576"/>
                    </a:lnTo>
                    <a:lnTo>
                      <a:pt x="352" y="552"/>
                    </a:lnTo>
                    <a:lnTo>
                      <a:pt x="368" y="472"/>
                    </a:lnTo>
                    <a:lnTo>
                      <a:pt x="304" y="368"/>
                    </a:lnTo>
                    <a:lnTo>
                      <a:pt x="320" y="304"/>
                    </a:lnTo>
                    <a:lnTo>
                      <a:pt x="336" y="328"/>
                    </a:lnTo>
                    <a:lnTo>
                      <a:pt x="376" y="304"/>
                    </a:lnTo>
                    <a:lnTo>
                      <a:pt x="368" y="264"/>
                    </a:lnTo>
                    <a:lnTo>
                      <a:pt x="400" y="232"/>
                    </a:lnTo>
                    <a:lnTo>
                      <a:pt x="408" y="152"/>
                    </a:lnTo>
                    <a:lnTo>
                      <a:pt x="360" y="112"/>
                    </a:lnTo>
                    <a:lnTo>
                      <a:pt x="368" y="72"/>
                    </a:lnTo>
                    <a:lnTo>
                      <a:pt x="272" y="16"/>
                    </a:lnTo>
                    <a:lnTo>
                      <a:pt x="176" y="0"/>
                    </a:lnTo>
                    <a:lnTo>
                      <a:pt x="128" y="8"/>
                    </a:lnTo>
                    <a:lnTo>
                      <a:pt x="48" y="32"/>
                    </a:lnTo>
                    <a:lnTo>
                      <a:pt x="40" y="176"/>
                    </a:lnTo>
                    <a:lnTo>
                      <a:pt x="16" y="240"/>
                    </a:lnTo>
                    <a:lnTo>
                      <a:pt x="48" y="320"/>
                    </a:lnTo>
                    <a:lnTo>
                      <a:pt x="16" y="376"/>
                    </a:lnTo>
                    <a:lnTo>
                      <a:pt x="16" y="480"/>
                    </a:lnTo>
                    <a:lnTo>
                      <a:pt x="0" y="512"/>
                    </a:lnTo>
                    <a:lnTo>
                      <a:pt x="8" y="536"/>
                    </a:lnTo>
                    <a:lnTo>
                      <a:pt x="48" y="480"/>
                    </a:lnTo>
                    <a:lnTo>
                      <a:pt x="72" y="504"/>
                    </a:lnTo>
                    <a:lnTo>
                      <a:pt x="64" y="576"/>
                    </a:lnTo>
                    <a:lnTo>
                      <a:pt x="88" y="608"/>
                    </a:lnTo>
                    <a:lnTo>
                      <a:pt x="136" y="600"/>
                    </a:lnTo>
                    <a:lnTo>
                      <a:pt x="120" y="632"/>
                    </a:lnTo>
                    <a:lnTo>
                      <a:pt x="152" y="744"/>
                    </a:lnTo>
                    <a:lnTo>
                      <a:pt x="128" y="784"/>
                    </a:lnTo>
                    <a:lnTo>
                      <a:pt x="144" y="824"/>
                    </a:lnTo>
                    <a:lnTo>
                      <a:pt x="208" y="816"/>
                    </a:lnTo>
                    <a:lnTo>
                      <a:pt x="320" y="800"/>
                    </a:lnTo>
                    <a:lnTo>
                      <a:pt x="368" y="768"/>
                    </a:lnTo>
                    <a:close/>
                  </a:path>
                </a:pathLst>
              </a:custGeom>
              <a:solidFill>
                <a:srgbClr val="C6CFEB"/>
              </a:solidFill>
              <a:ln w="9525">
                <a:solidFill>
                  <a:schemeClr val="bg1"/>
                </a:solidFill>
                <a:round/>
                <a:headEnd/>
                <a:tailEnd/>
              </a:ln>
            </p:spPr>
            <p:txBody>
              <a:bodyPr/>
              <a:lstStyle/>
              <a:p>
                <a:endParaRPr lang="en-US" sz="1050"/>
              </a:p>
            </p:txBody>
          </p:sp>
          <p:sp>
            <p:nvSpPr>
              <p:cNvPr id="132" name="Freeform 131"/>
              <p:cNvSpPr>
                <a:spLocks/>
              </p:cNvSpPr>
              <p:nvPr/>
            </p:nvSpPr>
            <p:spPr bwMode="auto">
              <a:xfrm>
                <a:off x="5136785" y="5220256"/>
                <a:ext cx="593987" cy="659306"/>
              </a:xfrm>
              <a:custGeom>
                <a:avLst/>
                <a:gdLst>
                  <a:gd name="T0" fmla="*/ 2147483646 w 504"/>
                  <a:gd name="T1" fmla="*/ 2147483646 h 608"/>
                  <a:gd name="T2" fmla="*/ 2147483646 w 504"/>
                  <a:gd name="T3" fmla="*/ 2147483646 h 608"/>
                  <a:gd name="T4" fmla="*/ 2147483646 w 504"/>
                  <a:gd name="T5" fmla="*/ 2147483646 h 608"/>
                  <a:gd name="T6" fmla="*/ 2147483646 w 504"/>
                  <a:gd name="T7" fmla="*/ 2147483646 h 608"/>
                  <a:gd name="T8" fmla="*/ 2147483646 w 504"/>
                  <a:gd name="T9" fmla="*/ 2147483646 h 608"/>
                  <a:gd name="T10" fmla="*/ 2147483646 w 504"/>
                  <a:gd name="T11" fmla="*/ 2147483646 h 608"/>
                  <a:gd name="T12" fmla="*/ 2147483646 w 504"/>
                  <a:gd name="T13" fmla="*/ 2147483646 h 608"/>
                  <a:gd name="T14" fmla="*/ 2147483646 w 504"/>
                  <a:gd name="T15" fmla="*/ 2147483646 h 608"/>
                  <a:gd name="T16" fmla="*/ 2147483646 w 504"/>
                  <a:gd name="T17" fmla="*/ 2147483646 h 608"/>
                  <a:gd name="T18" fmla="*/ 2147483646 w 504"/>
                  <a:gd name="T19" fmla="*/ 2147483646 h 608"/>
                  <a:gd name="T20" fmla="*/ 2147483646 w 504"/>
                  <a:gd name="T21" fmla="*/ 2147483646 h 608"/>
                  <a:gd name="T22" fmla="*/ 2147483646 w 504"/>
                  <a:gd name="T23" fmla="*/ 2147483646 h 608"/>
                  <a:gd name="T24" fmla="*/ 2147483646 w 504"/>
                  <a:gd name="T25" fmla="*/ 2147483646 h 608"/>
                  <a:gd name="T26" fmla="*/ 2147483646 w 504"/>
                  <a:gd name="T27" fmla="*/ 2147483646 h 608"/>
                  <a:gd name="T28" fmla="*/ 2147483646 w 504"/>
                  <a:gd name="T29" fmla="*/ 2147483646 h 608"/>
                  <a:gd name="T30" fmla="*/ 2147483646 w 504"/>
                  <a:gd name="T31" fmla="*/ 0 h 608"/>
                  <a:gd name="T32" fmla="*/ 2147483646 w 504"/>
                  <a:gd name="T33" fmla="*/ 0 h 608"/>
                  <a:gd name="T34" fmla="*/ 2147483646 w 504"/>
                  <a:gd name="T35" fmla="*/ 2147483646 h 608"/>
                  <a:gd name="T36" fmla="*/ 2147483646 w 504"/>
                  <a:gd name="T37" fmla="*/ 2147483646 h 608"/>
                  <a:gd name="T38" fmla="*/ 2147483646 w 504"/>
                  <a:gd name="T39" fmla="*/ 2147483646 h 608"/>
                  <a:gd name="T40" fmla="*/ 2147483646 w 504"/>
                  <a:gd name="T41" fmla="*/ 2147483646 h 608"/>
                  <a:gd name="T42" fmla="*/ 0 w 504"/>
                  <a:gd name="T43" fmla="*/ 2147483646 h 608"/>
                  <a:gd name="T44" fmla="*/ 2147483646 w 504"/>
                  <a:gd name="T45" fmla="*/ 2147483646 h 608"/>
                  <a:gd name="T46" fmla="*/ 2147483646 w 504"/>
                  <a:gd name="T47" fmla="*/ 2147483646 h 608"/>
                  <a:gd name="T48" fmla="*/ 2147483646 w 504"/>
                  <a:gd name="T49" fmla="*/ 2147483646 h 608"/>
                  <a:gd name="T50" fmla="*/ 2147483646 w 504"/>
                  <a:gd name="T51" fmla="*/ 2147483646 h 608"/>
                  <a:gd name="T52" fmla="*/ 2147483646 w 504"/>
                  <a:gd name="T53" fmla="*/ 2147483646 h 608"/>
                  <a:gd name="T54" fmla="*/ 2147483646 w 504"/>
                  <a:gd name="T55" fmla="*/ 2147483646 h 608"/>
                  <a:gd name="T56" fmla="*/ 2147483646 w 504"/>
                  <a:gd name="T57" fmla="*/ 2147483646 h 608"/>
                  <a:gd name="T58" fmla="*/ 2147483646 w 504"/>
                  <a:gd name="T59" fmla="*/ 2147483646 h 608"/>
                  <a:gd name="T60" fmla="*/ 2147483646 w 504"/>
                  <a:gd name="T61" fmla="*/ 2147483646 h 608"/>
                  <a:gd name="T62" fmla="*/ 2147483646 w 504"/>
                  <a:gd name="T63" fmla="*/ 2147483646 h 608"/>
                  <a:gd name="T64" fmla="*/ 2147483646 w 504"/>
                  <a:gd name="T65" fmla="*/ 2147483646 h 608"/>
                  <a:gd name="T66" fmla="*/ 2147483646 w 504"/>
                  <a:gd name="T67" fmla="*/ 2147483646 h 608"/>
                  <a:gd name="T68" fmla="*/ 2147483646 w 504"/>
                  <a:gd name="T69" fmla="*/ 2147483646 h 608"/>
                  <a:gd name="T70" fmla="*/ 2147483646 w 504"/>
                  <a:gd name="T71" fmla="*/ 2147483646 h 608"/>
                  <a:gd name="T72" fmla="*/ 2147483646 w 504"/>
                  <a:gd name="T73" fmla="*/ 2147483646 h 608"/>
                  <a:gd name="T74" fmla="*/ 2147483646 w 504"/>
                  <a:gd name="T75" fmla="*/ 2147483646 h 608"/>
                  <a:gd name="T76" fmla="*/ 2147483646 w 504"/>
                  <a:gd name="T77" fmla="*/ 2147483646 h 608"/>
                  <a:gd name="T78" fmla="*/ 2147483646 w 504"/>
                  <a:gd name="T79" fmla="*/ 2147483646 h 608"/>
                  <a:gd name="T80" fmla="*/ 2147483646 w 504"/>
                  <a:gd name="T81" fmla="*/ 2147483646 h 6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4"/>
                  <a:gd name="T124" fmla="*/ 0 h 608"/>
                  <a:gd name="T125" fmla="*/ 504 w 504"/>
                  <a:gd name="T126" fmla="*/ 608 h 6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4" h="608">
                    <a:moveTo>
                      <a:pt x="456" y="368"/>
                    </a:moveTo>
                    <a:lnTo>
                      <a:pt x="504" y="280"/>
                    </a:lnTo>
                    <a:lnTo>
                      <a:pt x="440" y="200"/>
                    </a:lnTo>
                    <a:lnTo>
                      <a:pt x="408" y="208"/>
                    </a:lnTo>
                    <a:lnTo>
                      <a:pt x="392" y="168"/>
                    </a:lnTo>
                    <a:lnTo>
                      <a:pt x="368" y="184"/>
                    </a:lnTo>
                    <a:lnTo>
                      <a:pt x="344" y="168"/>
                    </a:lnTo>
                    <a:lnTo>
                      <a:pt x="312" y="192"/>
                    </a:lnTo>
                    <a:lnTo>
                      <a:pt x="296" y="160"/>
                    </a:lnTo>
                    <a:lnTo>
                      <a:pt x="248" y="168"/>
                    </a:lnTo>
                    <a:lnTo>
                      <a:pt x="248" y="96"/>
                    </a:lnTo>
                    <a:lnTo>
                      <a:pt x="280" y="80"/>
                    </a:lnTo>
                    <a:lnTo>
                      <a:pt x="240" y="48"/>
                    </a:lnTo>
                    <a:lnTo>
                      <a:pt x="216" y="32"/>
                    </a:lnTo>
                    <a:lnTo>
                      <a:pt x="184" y="32"/>
                    </a:lnTo>
                    <a:lnTo>
                      <a:pt x="160" y="0"/>
                    </a:lnTo>
                    <a:lnTo>
                      <a:pt x="120" y="0"/>
                    </a:lnTo>
                    <a:lnTo>
                      <a:pt x="80" y="32"/>
                    </a:lnTo>
                    <a:lnTo>
                      <a:pt x="40" y="24"/>
                    </a:lnTo>
                    <a:lnTo>
                      <a:pt x="40" y="56"/>
                    </a:lnTo>
                    <a:lnTo>
                      <a:pt x="32" y="88"/>
                    </a:lnTo>
                    <a:lnTo>
                      <a:pt x="0" y="120"/>
                    </a:lnTo>
                    <a:lnTo>
                      <a:pt x="40" y="160"/>
                    </a:lnTo>
                    <a:lnTo>
                      <a:pt x="96" y="160"/>
                    </a:lnTo>
                    <a:lnTo>
                      <a:pt x="136" y="272"/>
                    </a:lnTo>
                    <a:lnTo>
                      <a:pt x="104" y="288"/>
                    </a:lnTo>
                    <a:lnTo>
                      <a:pt x="104" y="312"/>
                    </a:lnTo>
                    <a:lnTo>
                      <a:pt x="72" y="328"/>
                    </a:lnTo>
                    <a:lnTo>
                      <a:pt x="80" y="400"/>
                    </a:lnTo>
                    <a:lnTo>
                      <a:pt x="104" y="448"/>
                    </a:lnTo>
                    <a:lnTo>
                      <a:pt x="96" y="488"/>
                    </a:lnTo>
                    <a:lnTo>
                      <a:pt x="120" y="520"/>
                    </a:lnTo>
                    <a:lnTo>
                      <a:pt x="120" y="608"/>
                    </a:lnTo>
                    <a:lnTo>
                      <a:pt x="160" y="600"/>
                    </a:lnTo>
                    <a:lnTo>
                      <a:pt x="184" y="560"/>
                    </a:lnTo>
                    <a:lnTo>
                      <a:pt x="208" y="560"/>
                    </a:lnTo>
                    <a:lnTo>
                      <a:pt x="272" y="480"/>
                    </a:lnTo>
                    <a:lnTo>
                      <a:pt x="336" y="408"/>
                    </a:lnTo>
                    <a:lnTo>
                      <a:pt x="384" y="400"/>
                    </a:lnTo>
                    <a:lnTo>
                      <a:pt x="416" y="368"/>
                    </a:lnTo>
                    <a:lnTo>
                      <a:pt x="456" y="368"/>
                    </a:lnTo>
                    <a:close/>
                  </a:path>
                </a:pathLst>
              </a:custGeom>
              <a:solidFill>
                <a:srgbClr val="C6CFEB"/>
              </a:solidFill>
              <a:ln w="9525">
                <a:solidFill>
                  <a:schemeClr val="bg1"/>
                </a:solidFill>
                <a:round/>
                <a:headEnd/>
                <a:tailEnd/>
              </a:ln>
            </p:spPr>
            <p:txBody>
              <a:bodyPr/>
              <a:lstStyle/>
              <a:p>
                <a:endParaRPr lang="en-US" sz="1050"/>
              </a:p>
            </p:txBody>
          </p:sp>
          <p:sp>
            <p:nvSpPr>
              <p:cNvPr id="133" name="Freeform 132"/>
              <p:cNvSpPr>
                <a:spLocks/>
              </p:cNvSpPr>
              <p:nvPr/>
            </p:nvSpPr>
            <p:spPr bwMode="auto">
              <a:xfrm>
                <a:off x="4646511" y="5254956"/>
                <a:ext cx="650557" cy="685331"/>
              </a:xfrm>
              <a:custGeom>
                <a:avLst/>
                <a:gdLst>
                  <a:gd name="T0" fmla="*/ 2147483646 w 552"/>
                  <a:gd name="T1" fmla="*/ 2147483646 h 632"/>
                  <a:gd name="T2" fmla="*/ 2147483646 w 552"/>
                  <a:gd name="T3" fmla="*/ 2147483646 h 632"/>
                  <a:gd name="T4" fmla="*/ 2147483646 w 552"/>
                  <a:gd name="T5" fmla="*/ 2147483646 h 632"/>
                  <a:gd name="T6" fmla="*/ 2147483646 w 552"/>
                  <a:gd name="T7" fmla="*/ 2147483646 h 632"/>
                  <a:gd name="T8" fmla="*/ 2147483646 w 552"/>
                  <a:gd name="T9" fmla="*/ 2147483646 h 632"/>
                  <a:gd name="T10" fmla="*/ 2147483646 w 552"/>
                  <a:gd name="T11" fmla="*/ 2147483646 h 632"/>
                  <a:gd name="T12" fmla="*/ 2147483646 w 552"/>
                  <a:gd name="T13" fmla="*/ 2147483646 h 632"/>
                  <a:gd name="T14" fmla="*/ 2147483646 w 552"/>
                  <a:gd name="T15" fmla="*/ 2147483646 h 632"/>
                  <a:gd name="T16" fmla="*/ 2147483646 w 552"/>
                  <a:gd name="T17" fmla="*/ 2147483646 h 632"/>
                  <a:gd name="T18" fmla="*/ 2147483646 w 552"/>
                  <a:gd name="T19" fmla="*/ 2147483646 h 632"/>
                  <a:gd name="T20" fmla="*/ 2147483646 w 552"/>
                  <a:gd name="T21" fmla="*/ 2147483646 h 632"/>
                  <a:gd name="T22" fmla="*/ 2147483646 w 552"/>
                  <a:gd name="T23" fmla="*/ 2147483646 h 632"/>
                  <a:gd name="T24" fmla="*/ 2147483646 w 552"/>
                  <a:gd name="T25" fmla="*/ 2147483646 h 632"/>
                  <a:gd name="T26" fmla="*/ 2147483646 w 552"/>
                  <a:gd name="T27" fmla="*/ 2147483646 h 632"/>
                  <a:gd name="T28" fmla="*/ 2147483646 w 552"/>
                  <a:gd name="T29" fmla="*/ 0 h 632"/>
                  <a:gd name="T30" fmla="*/ 2147483646 w 552"/>
                  <a:gd name="T31" fmla="*/ 2147483646 h 632"/>
                  <a:gd name="T32" fmla="*/ 2147483646 w 552"/>
                  <a:gd name="T33" fmla="*/ 2147483646 h 632"/>
                  <a:gd name="T34" fmla="*/ 2147483646 w 552"/>
                  <a:gd name="T35" fmla="*/ 2147483646 h 632"/>
                  <a:gd name="T36" fmla="*/ 2147483646 w 552"/>
                  <a:gd name="T37" fmla="*/ 2147483646 h 632"/>
                  <a:gd name="T38" fmla="*/ 2147483646 w 552"/>
                  <a:gd name="T39" fmla="*/ 2147483646 h 632"/>
                  <a:gd name="T40" fmla="*/ 2147483646 w 552"/>
                  <a:gd name="T41" fmla="*/ 2147483646 h 632"/>
                  <a:gd name="T42" fmla="*/ 2147483646 w 552"/>
                  <a:gd name="T43" fmla="*/ 2147483646 h 632"/>
                  <a:gd name="T44" fmla="*/ 2147483646 w 552"/>
                  <a:gd name="T45" fmla="*/ 2147483646 h 632"/>
                  <a:gd name="T46" fmla="*/ 2147483646 w 552"/>
                  <a:gd name="T47" fmla="*/ 2147483646 h 632"/>
                  <a:gd name="T48" fmla="*/ 0 w 552"/>
                  <a:gd name="T49" fmla="*/ 2147483646 h 632"/>
                  <a:gd name="T50" fmla="*/ 2147483646 w 552"/>
                  <a:gd name="T51" fmla="*/ 2147483646 h 632"/>
                  <a:gd name="T52" fmla="*/ 2147483646 w 552"/>
                  <a:gd name="T53" fmla="*/ 2147483646 h 632"/>
                  <a:gd name="T54" fmla="*/ 2147483646 w 552"/>
                  <a:gd name="T55" fmla="*/ 2147483646 h 632"/>
                  <a:gd name="T56" fmla="*/ 2147483646 w 552"/>
                  <a:gd name="T57" fmla="*/ 2147483646 h 632"/>
                  <a:gd name="T58" fmla="*/ 2147483646 w 552"/>
                  <a:gd name="T59" fmla="*/ 2147483646 h 632"/>
                  <a:gd name="T60" fmla="*/ 2147483646 w 552"/>
                  <a:gd name="T61" fmla="*/ 2147483646 h 632"/>
                  <a:gd name="T62" fmla="*/ 2147483646 w 552"/>
                  <a:gd name="T63" fmla="*/ 2147483646 h 632"/>
                  <a:gd name="T64" fmla="*/ 2147483646 w 552"/>
                  <a:gd name="T65" fmla="*/ 2147483646 h 632"/>
                  <a:gd name="T66" fmla="*/ 2147483646 w 552"/>
                  <a:gd name="T67" fmla="*/ 2147483646 h 632"/>
                  <a:gd name="T68" fmla="*/ 2147483646 w 552"/>
                  <a:gd name="T69" fmla="*/ 2147483646 h 632"/>
                  <a:gd name="T70" fmla="*/ 2147483646 w 552"/>
                  <a:gd name="T71" fmla="*/ 2147483646 h 632"/>
                  <a:gd name="T72" fmla="*/ 2147483646 w 552"/>
                  <a:gd name="T73" fmla="*/ 2147483646 h 632"/>
                  <a:gd name="T74" fmla="*/ 2147483646 w 552"/>
                  <a:gd name="T75" fmla="*/ 2147483646 h 632"/>
                  <a:gd name="T76" fmla="*/ 2147483646 w 552"/>
                  <a:gd name="T77" fmla="*/ 2147483646 h 632"/>
                  <a:gd name="T78" fmla="*/ 2147483646 w 552"/>
                  <a:gd name="T79" fmla="*/ 2147483646 h 6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2"/>
                  <a:gd name="T121" fmla="*/ 0 h 632"/>
                  <a:gd name="T122" fmla="*/ 552 w 552"/>
                  <a:gd name="T123" fmla="*/ 632 h 6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2" h="632">
                    <a:moveTo>
                      <a:pt x="536" y="576"/>
                    </a:moveTo>
                    <a:lnTo>
                      <a:pt x="536" y="488"/>
                    </a:lnTo>
                    <a:lnTo>
                      <a:pt x="512" y="456"/>
                    </a:lnTo>
                    <a:lnTo>
                      <a:pt x="520" y="416"/>
                    </a:lnTo>
                    <a:lnTo>
                      <a:pt x="488" y="328"/>
                    </a:lnTo>
                    <a:lnTo>
                      <a:pt x="488" y="296"/>
                    </a:lnTo>
                    <a:lnTo>
                      <a:pt x="520" y="272"/>
                    </a:lnTo>
                    <a:lnTo>
                      <a:pt x="520" y="256"/>
                    </a:lnTo>
                    <a:lnTo>
                      <a:pt x="552" y="240"/>
                    </a:lnTo>
                    <a:lnTo>
                      <a:pt x="512" y="128"/>
                    </a:lnTo>
                    <a:lnTo>
                      <a:pt x="456" y="128"/>
                    </a:lnTo>
                    <a:lnTo>
                      <a:pt x="416" y="88"/>
                    </a:lnTo>
                    <a:lnTo>
                      <a:pt x="448" y="56"/>
                    </a:lnTo>
                    <a:lnTo>
                      <a:pt x="456" y="24"/>
                    </a:lnTo>
                    <a:lnTo>
                      <a:pt x="424" y="0"/>
                    </a:lnTo>
                    <a:lnTo>
                      <a:pt x="360" y="32"/>
                    </a:lnTo>
                    <a:lnTo>
                      <a:pt x="320" y="32"/>
                    </a:lnTo>
                    <a:lnTo>
                      <a:pt x="272" y="64"/>
                    </a:lnTo>
                    <a:lnTo>
                      <a:pt x="160" y="80"/>
                    </a:lnTo>
                    <a:lnTo>
                      <a:pt x="128" y="120"/>
                    </a:lnTo>
                    <a:lnTo>
                      <a:pt x="136" y="184"/>
                    </a:lnTo>
                    <a:lnTo>
                      <a:pt x="104" y="248"/>
                    </a:lnTo>
                    <a:lnTo>
                      <a:pt x="144" y="296"/>
                    </a:lnTo>
                    <a:lnTo>
                      <a:pt x="88" y="304"/>
                    </a:lnTo>
                    <a:lnTo>
                      <a:pt x="0" y="368"/>
                    </a:lnTo>
                    <a:lnTo>
                      <a:pt x="56" y="392"/>
                    </a:lnTo>
                    <a:lnTo>
                      <a:pt x="56" y="448"/>
                    </a:lnTo>
                    <a:lnTo>
                      <a:pt x="104" y="496"/>
                    </a:lnTo>
                    <a:lnTo>
                      <a:pt x="48" y="520"/>
                    </a:lnTo>
                    <a:lnTo>
                      <a:pt x="48" y="560"/>
                    </a:lnTo>
                    <a:lnTo>
                      <a:pt x="144" y="560"/>
                    </a:lnTo>
                    <a:lnTo>
                      <a:pt x="192" y="552"/>
                    </a:lnTo>
                    <a:lnTo>
                      <a:pt x="232" y="576"/>
                    </a:lnTo>
                    <a:lnTo>
                      <a:pt x="280" y="584"/>
                    </a:lnTo>
                    <a:lnTo>
                      <a:pt x="320" y="584"/>
                    </a:lnTo>
                    <a:lnTo>
                      <a:pt x="360" y="616"/>
                    </a:lnTo>
                    <a:lnTo>
                      <a:pt x="384" y="632"/>
                    </a:lnTo>
                    <a:lnTo>
                      <a:pt x="424" y="608"/>
                    </a:lnTo>
                    <a:lnTo>
                      <a:pt x="472" y="616"/>
                    </a:lnTo>
                    <a:lnTo>
                      <a:pt x="536" y="576"/>
                    </a:lnTo>
                    <a:close/>
                  </a:path>
                </a:pathLst>
              </a:custGeom>
              <a:solidFill>
                <a:srgbClr val="9950A8"/>
              </a:solidFill>
              <a:ln w="6350">
                <a:solidFill>
                  <a:schemeClr val="bg1"/>
                </a:solidFill>
                <a:round/>
                <a:headEnd/>
                <a:tailEnd/>
              </a:ln>
            </p:spPr>
            <p:txBody>
              <a:bodyPr/>
              <a:lstStyle/>
              <a:p>
                <a:endParaRPr lang="en-US" sz="1050"/>
              </a:p>
            </p:txBody>
          </p:sp>
          <p:sp>
            <p:nvSpPr>
              <p:cNvPr id="134" name="Freeform 133"/>
              <p:cNvSpPr>
                <a:spLocks/>
              </p:cNvSpPr>
              <p:nvPr/>
            </p:nvSpPr>
            <p:spPr bwMode="auto">
              <a:xfrm>
                <a:off x="4250519" y="4960003"/>
                <a:ext cx="584558" cy="919558"/>
              </a:xfrm>
              <a:custGeom>
                <a:avLst/>
                <a:gdLst>
                  <a:gd name="T0" fmla="*/ 2147483646 w 496"/>
                  <a:gd name="T1" fmla="*/ 2147483646 h 848"/>
                  <a:gd name="T2" fmla="*/ 2147483646 w 496"/>
                  <a:gd name="T3" fmla="*/ 2147483646 h 848"/>
                  <a:gd name="T4" fmla="*/ 2147483646 w 496"/>
                  <a:gd name="T5" fmla="*/ 2147483646 h 848"/>
                  <a:gd name="T6" fmla="*/ 2147483646 w 496"/>
                  <a:gd name="T7" fmla="*/ 2147483646 h 848"/>
                  <a:gd name="T8" fmla="*/ 2147483646 w 496"/>
                  <a:gd name="T9" fmla="*/ 2147483646 h 848"/>
                  <a:gd name="T10" fmla="*/ 2147483646 w 496"/>
                  <a:gd name="T11" fmla="*/ 2147483646 h 848"/>
                  <a:gd name="T12" fmla="*/ 2147483646 w 496"/>
                  <a:gd name="T13" fmla="*/ 2147483646 h 848"/>
                  <a:gd name="T14" fmla="*/ 2147483646 w 496"/>
                  <a:gd name="T15" fmla="*/ 2147483646 h 848"/>
                  <a:gd name="T16" fmla="*/ 2147483646 w 496"/>
                  <a:gd name="T17" fmla="*/ 2147483646 h 848"/>
                  <a:gd name="T18" fmla="*/ 2147483646 w 496"/>
                  <a:gd name="T19" fmla="*/ 2147483646 h 848"/>
                  <a:gd name="T20" fmla="*/ 2147483646 w 496"/>
                  <a:gd name="T21" fmla="*/ 2147483646 h 848"/>
                  <a:gd name="T22" fmla="*/ 2147483646 w 496"/>
                  <a:gd name="T23" fmla="*/ 2147483646 h 848"/>
                  <a:gd name="T24" fmla="*/ 2147483646 w 496"/>
                  <a:gd name="T25" fmla="*/ 2147483646 h 848"/>
                  <a:gd name="T26" fmla="*/ 2147483646 w 496"/>
                  <a:gd name="T27" fmla="*/ 2147483646 h 848"/>
                  <a:gd name="T28" fmla="*/ 2147483646 w 496"/>
                  <a:gd name="T29" fmla="*/ 2147483646 h 848"/>
                  <a:gd name="T30" fmla="*/ 2147483646 w 496"/>
                  <a:gd name="T31" fmla="*/ 2147483646 h 848"/>
                  <a:gd name="T32" fmla="*/ 2147483646 w 496"/>
                  <a:gd name="T33" fmla="*/ 2147483646 h 848"/>
                  <a:gd name="T34" fmla="*/ 2147483646 w 496"/>
                  <a:gd name="T35" fmla="*/ 2147483646 h 848"/>
                  <a:gd name="T36" fmla="*/ 2147483646 w 496"/>
                  <a:gd name="T37" fmla="*/ 2147483646 h 848"/>
                  <a:gd name="T38" fmla="*/ 2147483646 w 496"/>
                  <a:gd name="T39" fmla="*/ 2147483646 h 848"/>
                  <a:gd name="T40" fmla="*/ 2147483646 w 496"/>
                  <a:gd name="T41" fmla="*/ 2147483646 h 848"/>
                  <a:gd name="T42" fmla="*/ 2147483646 w 496"/>
                  <a:gd name="T43" fmla="*/ 2147483646 h 848"/>
                  <a:gd name="T44" fmla="*/ 2147483646 w 496"/>
                  <a:gd name="T45" fmla="*/ 2147483646 h 848"/>
                  <a:gd name="T46" fmla="*/ 2147483646 w 496"/>
                  <a:gd name="T47" fmla="*/ 0 h 848"/>
                  <a:gd name="T48" fmla="*/ 2147483646 w 496"/>
                  <a:gd name="T49" fmla="*/ 2147483646 h 848"/>
                  <a:gd name="T50" fmla="*/ 2147483646 w 496"/>
                  <a:gd name="T51" fmla="*/ 2147483646 h 848"/>
                  <a:gd name="T52" fmla="*/ 2147483646 w 496"/>
                  <a:gd name="T53" fmla="*/ 2147483646 h 848"/>
                  <a:gd name="T54" fmla="*/ 2147483646 w 496"/>
                  <a:gd name="T55" fmla="*/ 2147483646 h 848"/>
                  <a:gd name="T56" fmla="*/ 2147483646 w 496"/>
                  <a:gd name="T57" fmla="*/ 2147483646 h 848"/>
                  <a:gd name="T58" fmla="*/ 2147483646 w 496"/>
                  <a:gd name="T59" fmla="*/ 2147483646 h 848"/>
                  <a:gd name="T60" fmla="*/ 2147483646 w 496"/>
                  <a:gd name="T61" fmla="*/ 2147483646 h 848"/>
                  <a:gd name="T62" fmla="*/ 2147483646 w 496"/>
                  <a:gd name="T63" fmla="*/ 2147483646 h 848"/>
                  <a:gd name="T64" fmla="*/ 0 w 496"/>
                  <a:gd name="T65" fmla="*/ 2147483646 h 848"/>
                  <a:gd name="T66" fmla="*/ 2147483646 w 496"/>
                  <a:gd name="T67" fmla="*/ 2147483646 h 848"/>
                  <a:gd name="T68" fmla="*/ 2147483646 w 496"/>
                  <a:gd name="T69" fmla="*/ 2147483646 h 848"/>
                  <a:gd name="T70" fmla="*/ 2147483646 w 496"/>
                  <a:gd name="T71" fmla="*/ 2147483646 h 848"/>
                  <a:gd name="T72" fmla="*/ 2147483646 w 496"/>
                  <a:gd name="T73" fmla="*/ 2147483646 h 848"/>
                  <a:gd name="T74" fmla="*/ 2147483646 w 496"/>
                  <a:gd name="T75" fmla="*/ 2147483646 h 848"/>
                  <a:gd name="T76" fmla="*/ 2147483646 w 496"/>
                  <a:gd name="T77" fmla="*/ 2147483646 h 848"/>
                  <a:gd name="T78" fmla="*/ 2147483646 w 496"/>
                  <a:gd name="T79" fmla="*/ 2147483646 h 848"/>
                  <a:gd name="T80" fmla="*/ 2147483646 w 496"/>
                  <a:gd name="T81" fmla="*/ 2147483646 h 848"/>
                  <a:gd name="T82" fmla="*/ 2147483646 w 496"/>
                  <a:gd name="T83" fmla="*/ 2147483646 h 848"/>
                  <a:gd name="T84" fmla="*/ 2147483646 w 496"/>
                  <a:gd name="T85" fmla="*/ 2147483646 h 848"/>
                  <a:gd name="T86" fmla="*/ 2147483646 w 496"/>
                  <a:gd name="T87" fmla="*/ 2147483646 h 848"/>
                  <a:gd name="T88" fmla="*/ 2147483646 w 496"/>
                  <a:gd name="T89" fmla="*/ 2147483646 h 848"/>
                  <a:gd name="T90" fmla="*/ 2147483646 w 496"/>
                  <a:gd name="T91" fmla="*/ 2147483646 h 848"/>
                  <a:gd name="T92" fmla="*/ 2147483646 w 496"/>
                  <a:gd name="T93" fmla="*/ 2147483646 h 848"/>
                  <a:gd name="T94" fmla="*/ 2147483646 w 496"/>
                  <a:gd name="T95" fmla="*/ 2147483646 h 848"/>
                  <a:gd name="T96" fmla="*/ 2147483646 w 496"/>
                  <a:gd name="T97" fmla="*/ 2147483646 h 848"/>
                  <a:gd name="T98" fmla="*/ 2147483646 w 496"/>
                  <a:gd name="T99" fmla="*/ 2147483646 h 848"/>
                  <a:gd name="T100" fmla="*/ 2147483646 w 496"/>
                  <a:gd name="T101" fmla="*/ 2147483646 h 848"/>
                  <a:gd name="T102" fmla="*/ 2147483646 w 496"/>
                  <a:gd name="T103" fmla="*/ 2147483646 h 848"/>
                  <a:gd name="T104" fmla="*/ 2147483646 w 496"/>
                  <a:gd name="T105" fmla="*/ 2147483646 h 8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848"/>
                  <a:gd name="T161" fmla="*/ 496 w 496"/>
                  <a:gd name="T162" fmla="*/ 848 h 8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848">
                    <a:moveTo>
                      <a:pt x="384" y="832"/>
                    </a:moveTo>
                    <a:lnTo>
                      <a:pt x="384" y="792"/>
                    </a:lnTo>
                    <a:lnTo>
                      <a:pt x="440" y="768"/>
                    </a:lnTo>
                    <a:lnTo>
                      <a:pt x="392" y="720"/>
                    </a:lnTo>
                    <a:lnTo>
                      <a:pt x="392" y="664"/>
                    </a:lnTo>
                    <a:lnTo>
                      <a:pt x="336" y="640"/>
                    </a:lnTo>
                    <a:lnTo>
                      <a:pt x="424" y="576"/>
                    </a:lnTo>
                    <a:lnTo>
                      <a:pt x="480" y="568"/>
                    </a:lnTo>
                    <a:lnTo>
                      <a:pt x="440" y="520"/>
                    </a:lnTo>
                    <a:lnTo>
                      <a:pt x="472" y="456"/>
                    </a:lnTo>
                    <a:lnTo>
                      <a:pt x="464" y="392"/>
                    </a:lnTo>
                    <a:lnTo>
                      <a:pt x="496" y="352"/>
                    </a:lnTo>
                    <a:lnTo>
                      <a:pt x="432" y="360"/>
                    </a:lnTo>
                    <a:lnTo>
                      <a:pt x="416" y="320"/>
                    </a:lnTo>
                    <a:lnTo>
                      <a:pt x="440" y="280"/>
                    </a:lnTo>
                    <a:lnTo>
                      <a:pt x="408" y="168"/>
                    </a:lnTo>
                    <a:lnTo>
                      <a:pt x="424" y="136"/>
                    </a:lnTo>
                    <a:lnTo>
                      <a:pt x="376" y="144"/>
                    </a:lnTo>
                    <a:lnTo>
                      <a:pt x="352" y="112"/>
                    </a:lnTo>
                    <a:lnTo>
                      <a:pt x="360" y="40"/>
                    </a:lnTo>
                    <a:lnTo>
                      <a:pt x="336" y="16"/>
                    </a:lnTo>
                    <a:lnTo>
                      <a:pt x="288" y="64"/>
                    </a:lnTo>
                    <a:lnTo>
                      <a:pt x="288" y="48"/>
                    </a:lnTo>
                    <a:lnTo>
                      <a:pt x="288" y="0"/>
                    </a:lnTo>
                    <a:lnTo>
                      <a:pt x="208" y="64"/>
                    </a:lnTo>
                    <a:lnTo>
                      <a:pt x="200" y="160"/>
                    </a:lnTo>
                    <a:lnTo>
                      <a:pt x="224" y="248"/>
                    </a:lnTo>
                    <a:lnTo>
                      <a:pt x="184" y="232"/>
                    </a:lnTo>
                    <a:lnTo>
                      <a:pt x="160" y="264"/>
                    </a:lnTo>
                    <a:lnTo>
                      <a:pt x="128" y="264"/>
                    </a:lnTo>
                    <a:lnTo>
                      <a:pt x="104" y="280"/>
                    </a:lnTo>
                    <a:lnTo>
                      <a:pt x="48" y="264"/>
                    </a:lnTo>
                    <a:lnTo>
                      <a:pt x="0" y="312"/>
                    </a:lnTo>
                    <a:lnTo>
                      <a:pt x="64" y="344"/>
                    </a:lnTo>
                    <a:lnTo>
                      <a:pt x="80" y="400"/>
                    </a:lnTo>
                    <a:lnTo>
                      <a:pt x="136" y="416"/>
                    </a:lnTo>
                    <a:lnTo>
                      <a:pt x="176" y="472"/>
                    </a:lnTo>
                    <a:lnTo>
                      <a:pt x="168" y="536"/>
                    </a:lnTo>
                    <a:lnTo>
                      <a:pt x="200" y="560"/>
                    </a:lnTo>
                    <a:lnTo>
                      <a:pt x="160" y="576"/>
                    </a:lnTo>
                    <a:lnTo>
                      <a:pt x="152" y="616"/>
                    </a:lnTo>
                    <a:lnTo>
                      <a:pt x="184" y="648"/>
                    </a:lnTo>
                    <a:lnTo>
                      <a:pt x="160" y="672"/>
                    </a:lnTo>
                    <a:lnTo>
                      <a:pt x="176" y="704"/>
                    </a:lnTo>
                    <a:lnTo>
                      <a:pt x="144" y="712"/>
                    </a:lnTo>
                    <a:lnTo>
                      <a:pt x="152" y="752"/>
                    </a:lnTo>
                    <a:lnTo>
                      <a:pt x="120" y="760"/>
                    </a:lnTo>
                    <a:lnTo>
                      <a:pt x="112" y="840"/>
                    </a:lnTo>
                    <a:lnTo>
                      <a:pt x="160" y="848"/>
                    </a:lnTo>
                    <a:lnTo>
                      <a:pt x="224" y="840"/>
                    </a:lnTo>
                    <a:lnTo>
                      <a:pt x="304" y="800"/>
                    </a:lnTo>
                    <a:lnTo>
                      <a:pt x="352" y="800"/>
                    </a:lnTo>
                    <a:lnTo>
                      <a:pt x="384" y="832"/>
                    </a:lnTo>
                    <a:close/>
                  </a:path>
                </a:pathLst>
              </a:custGeom>
              <a:solidFill>
                <a:srgbClr val="9950A8"/>
              </a:solidFill>
              <a:ln w="9525">
                <a:solidFill>
                  <a:schemeClr val="bg1"/>
                </a:solidFill>
                <a:round/>
                <a:headEnd/>
                <a:tailEnd/>
              </a:ln>
            </p:spPr>
            <p:txBody>
              <a:bodyPr/>
              <a:lstStyle/>
              <a:p>
                <a:endParaRPr lang="en-US" sz="1050"/>
              </a:p>
            </p:txBody>
          </p:sp>
          <p:sp>
            <p:nvSpPr>
              <p:cNvPr id="135" name="Freeform 134"/>
              <p:cNvSpPr>
                <a:spLocks/>
              </p:cNvSpPr>
              <p:nvPr/>
            </p:nvSpPr>
            <p:spPr bwMode="auto">
              <a:xfrm>
                <a:off x="4156236" y="4482874"/>
                <a:ext cx="490275" cy="780757"/>
              </a:xfrm>
              <a:custGeom>
                <a:avLst/>
                <a:gdLst>
                  <a:gd name="T0" fmla="*/ 2147483646 w 416"/>
                  <a:gd name="T1" fmla="*/ 2147483646 h 720"/>
                  <a:gd name="T2" fmla="*/ 2147483646 w 416"/>
                  <a:gd name="T3" fmla="*/ 2147483646 h 720"/>
                  <a:gd name="T4" fmla="*/ 2147483646 w 416"/>
                  <a:gd name="T5" fmla="*/ 2147483646 h 720"/>
                  <a:gd name="T6" fmla="*/ 2147483646 w 416"/>
                  <a:gd name="T7" fmla="*/ 2147483646 h 720"/>
                  <a:gd name="T8" fmla="*/ 2147483646 w 416"/>
                  <a:gd name="T9" fmla="*/ 2147483646 h 720"/>
                  <a:gd name="T10" fmla="*/ 2147483646 w 416"/>
                  <a:gd name="T11" fmla="*/ 2147483646 h 720"/>
                  <a:gd name="T12" fmla="*/ 2147483646 w 416"/>
                  <a:gd name="T13" fmla="*/ 2147483646 h 720"/>
                  <a:gd name="T14" fmla="*/ 2147483646 w 416"/>
                  <a:gd name="T15" fmla="*/ 2147483646 h 720"/>
                  <a:gd name="T16" fmla="*/ 2147483646 w 416"/>
                  <a:gd name="T17" fmla="*/ 2147483646 h 720"/>
                  <a:gd name="T18" fmla="*/ 2147483646 w 416"/>
                  <a:gd name="T19" fmla="*/ 2147483646 h 720"/>
                  <a:gd name="T20" fmla="*/ 2147483646 w 416"/>
                  <a:gd name="T21" fmla="*/ 2147483646 h 720"/>
                  <a:gd name="T22" fmla="*/ 2147483646 w 416"/>
                  <a:gd name="T23" fmla="*/ 2147483646 h 720"/>
                  <a:gd name="T24" fmla="*/ 2147483646 w 416"/>
                  <a:gd name="T25" fmla="*/ 2147483646 h 720"/>
                  <a:gd name="T26" fmla="*/ 2147483646 w 416"/>
                  <a:gd name="T27" fmla="*/ 2147483646 h 720"/>
                  <a:gd name="T28" fmla="*/ 2147483646 w 416"/>
                  <a:gd name="T29" fmla="*/ 2147483646 h 720"/>
                  <a:gd name="T30" fmla="*/ 2147483646 w 416"/>
                  <a:gd name="T31" fmla="*/ 2147483646 h 720"/>
                  <a:gd name="T32" fmla="*/ 2147483646 w 416"/>
                  <a:gd name="T33" fmla="*/ 0 h 720"/>
                  <a:gd name="T34" fmla="*/ 2147483646 w 416"/>
                  <a:gd name="T35" fmla="*/ 2147483646 h 720"/>
                  <a:gd name="T36" fmla="*/ 2147483646 w 416"/>
                  <a:gd name="T37" fmla="*/ 2147483646 h 720"/>
                  <a:gd name="T38" fmla="*/ 0 w 416"/>
                  <a:gd name="T39" fmla="*/ 2147483646 h 720"/>
                  <a:gd name="T40" fmla="*/ 2147483646 w 416"/>
                  <a:gd name="T41" fmla="*/ 2147483646 h 720"/>
                  <a:gd name="T42" fmla="*/ 2147483646 w 416"/>
                  <a:gd name="T43" fmla="*/ 2147483646 h 720"/>
                  <a:gd name="T44" fmla="*/ 2147483646 w 416"/>
                  <a:gd name="T45" fmla="*/ 2147483646 h 720"/>
                  <a:gd name="T46" fmla="*/ 2147483646 w 416"/>
                  <a:gd name="T47" fmla="*/ 2147483646 h 720"/>
                  <a:gd name="T48" fmla="*/ 2147483646 w 416"/>
                  <a:gd name="T49" fmla="*/ 2147483646 h 720"/>
                  <a:gd name="T50" fmla="*/ 2147483646 w 416"/>
                  <a:gd name="T51" fmla="*/ 2147483646 h 720"/>
                  <a:gd name="T52" fmla="*/ 2147483646 w 416"/>
                  <a:gd name="T53" fmla="*/ 2147483646 h 720"/>
                  <a:gd name="T54" fmla="*/ 2147483646 w 416"/>
                  <a:gd name="T55" fmla="*/ 2147483646 h 720"/>
                  <a:gd name="T56" fmla="*/ 2147483646 w 416"/>
                  <a:gd name="T57" fmla="*/ 2147483646 h 720"/>
                  <a:gd name="T58" fmla="*/ 2147483646 w 416"/>
                  <a:gd name="T59" fmla="*/ 2147483646 h 720"/>
                  <a:gd name="T60" fmla="*/ 2147483646 w 416"/>
                  <a:gd name="T61" fmla="*/ 2147483646 h 720"/>
                  <a:gd name="T62" fmla="*/ 2147483646 w 416"/>
                  <a:gd name="T63" fmla="*/ 2147483646 h 720"/>
                  <a:gd name="T64" fmla="*/ 2147483646 w 416"/>
                  <a:gd name="T65" fmla="*/ 2147483646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720"/>
                  <a:gd name="T101" fmla="*/ 416 w 416"/>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720">
                    <a:moveTo>
                      <a:pt x="128" y="704"/>
                    </a:moveTo>
                    <a:lnTo>
                      <a:pt x="184" y="720"/>
                    </a:lnTo>
                    <a:lnTo>
                      <a:pt x="208" y="704"/>
                    </a:lnTo>
                    <a:lnTo>
                      <a:pt x="240" y="704"/>
                    </a:lnTo>
                    <a:lnTo>
                      <a:pt x="264" y="672"/>
                    </a:lnTo>
                    <a:lnTo>
                      <a:pt x="304" y="688"/>
                    </a:lnTo>
                    <a:lnTo>
                      <a:pt x="280" y="600"/>
                    </a:lnTo>
                    <a:lnTo>
                      <a:pt x="288" y="504"/>
                    </a:lnTo>
                    <a:lnTo>
                      <a:pt x="368" y="440"/>
                    </a:lnTo>
                    <a:lnTo>
                      <a:pt x="368" y="480"/>
                    </a:lnTo>
                    <a:lnTo>
                      <a:pt x="384" y="456"/>
                    </a:lnTo>
                    <a:lnTo>
                      <a:pt x="384" y="352"/>
                    </a:lnTo>
                    <a:lnTo>
                      <a:pt x="416" y="296"/>
                    </a:lnTo>
                    <a:lnTo>
                      <a:pt x="384" y="216"/>
                    </a:lnTo>
                    <a:lnTo>
                      <a:pt x="408" y="152"/>
                    </a:lnTo>
                    <a:lnTo>
                      <a:pt x="416" y="8"/>
                    </a:lnTo>
                    <a:lnTo>
                      <a:pt x="280" y="0"/>
                    </a:lnTo>
                    <a:lnTo>
                      <a:pt x="152" y="24"/>
                    </a:lnTo>
                    <a:lnTo>
                      <a:pt x="16" y="72"/>
                    </a:lnTo>
                    <a:lnTo>
                      <a:pt x="0" y="64"/>
                    </a:lnTo>
                    <a:lnTo>
                      <a:pt x="8" y="136"/>
                    </a:lnTo>
                    <a:lnTo>
                      <a:pt x="120" y="168"/>
                    </a:lnTo>
                    <a:lnTo>
                      <a:pt x="112" y="272"/>
                    </a:lnTo>
                    <a:lnTo>
                      <a:pt x="64" y="344"/>
                    </a:lnTo>
                    <a:lnTo>
                      <a:pt x="72" y="400"/>
                    </a:lnTo>
                    <a:lnTo>
                      <a:pt x="40" y="424"/>
                    </a:lnTo>
                    <a:lnTo>
                      <a:pt x="64" y="456"/>
                    </a:lnTo>
                    <a:lnTo>
                      <a:pt x="56" y="496"/>
                    </a:lnTo>
                    <a:lnTo>
                      <a:pt x="72" y="520"/>
                    </a:lnTo>
                    <a:lnTo>
                      <a:pt x="64" y="568"/>
                    </a:lnTo>
                    <a:lnTo>
                      <a:pt x="72" y="624"/>
                    </a:lnTo>
                    <a:lnTo>
                      <a:pt x="112" y="640"/>
                    </a:lnTo>
                    <a:lnTo>
                      <a:pt x="128" y="704"/>
                    </a:lnTo>
                    <a:close/>
                  </a:path>
                </a:pathLst>
              </a:custGeom>
              <a:solidFill>
                <a:srgbClr val="9950A8"/>
              </a:solidFill>
              <a:ln w="9525">
                <a:solidFill>
                  <a:schemeClr val="bg1"/>
                </a:solidFill>
                <a:round/>
                <a:headEnd/>
                <a:tailEnd/>
              </a:ln>
            </p:spPr>
            <p:txBody>
              <a:bodyPr/>
              <a:lstStyle/>
              <a:p>
                <a:endParaRPr lang="en-US" sz="1050"/>
              </a:p>
            </p:txBody>
          </p:sp>
          <p:sp>
            <p:nvSpPr>
              <p:cNvPr id="136" name="Freeform 135"/>
              <p:cNvSpPr>
                <a:spLocks/>
              </p:cNvSpPr>
              <p:nvPr/>
            </p:nvSpPr>
            <p:spPr bwMode="auto">
              <a:xfrm>
                <a:off x="3581106" y="4630350"/>
                <a:ext cx="716555" cy="589905"/>
              </a:xfrm>
              <a:custGeom>
                <a:avLst/>
                <a:gdLst>
                  <a:gd name="T0" fmla="*/ 2147483646 w 608"/>
                  <a:gd name="T1" fmla="*/ 2147483646 h 544"/>
                  <a:gd name="T2" fmla="*/ 2147483646 w 608"/>
                  <a:gd name="T3" fmla="*/ 2147483646 h 544"/>
                  <a:gd name="T4" fmla="*/ 2147483646 w 608"/>
                  <a:gd name="T5" fmla="*/ 2147483646 h 544"/>
                  <a:gd name="T6" fmla="*/ 2147483646 w 608"/>
                  <a:gd name="T7" fmla="*/ 2147483646 h 544"/>
                  <a:gd name="T8" fmla="*/ 2147483646 w 608"/>
                  <a:gd name="T9" fmla="*/ 2147483646 h 544"/>
                  <a:gd name="T10" fmla="*/ 2147483646 w 608"/>
                  <a:gd name="T11" fmla="*/ 0 h 544"/>
                  <a:gd name="T12" fmla="*/ 2147483646 w 608"/>
                  <a:gd name="T13" fmla="*/ 2147483646 h 544"/>
                  <a:gd name="T14" fmla="*/ 2147483646 w 608"/>
                  <a:gd name="T15" fmla="*/ 2147483646 h 544"/>
                  <a:gd name="T16" fmla="*/ 2147483646 w 608"/>
                  <a:gd name="T17" fmla="*/ 2147483646 h 544"/>
                  <a:gd name="T18" fmla="*/ 2147483646 w 608"/>
                  <a:gd name="T19" fmla="*/ 2147483646 h 544"/>
                  <a:gd name="T20" fmla="*/ 2147483646 w 608"/>
                  <a:gd name="T21" fmla="*/ 2147483646 h 544"/>
                  <a:gd name="T22" fmla="*/ 2147483646 w 608"/>
                  <a:gd name="T23" fmla="*/ 2147483646 h 544"/>
                  <a:gd name="T24" fmla="*/ 2147483646 w 608"/>
                  <a:gd name="T25" fmla="*/ 2147483646 h 544"/>
                  <a:gd name="T26" fmla="*/ 2147483646 w 608"/>
                  <a:gd name="T27" fmla="*/ 2147483646 h 544"/>
                  <a:gd name="T28" fmla="*/ 2147483646 w 608"/>
                  <a:gd name="T29" fmla="*/ 2147483646 h 544"/>
                  <a:gd name="T30" fmla="*/ 2147483646 w 608"/>
                  <a:gd name="T31" fmla="*/ 2147483646 h 544"/>
                  <a:gd name="T32" fmla="*/ 2147483646 w 608"/>
                  <a:gd name="T33" fmla="*/ 2147483646 h 544"/>
                  <a:gd name="T34" fmla="*/ 2147483646 w 608"/>
                  <a:gd name="T35" fmla="*/ 2147483646 h 544"/>
                  <a:gd name="T36" fmla="*/ 2147483646 w 608"/>
                  <a:gd name="T37" fmla="*/ 2147483646 h 544"/>
                  <a:gd name="T38" fmla="*/ 2147483646 w 608"/>
                  <a:gd name="T39" fmla="*/ 2147483646 h 544"/>
                  <a:gd name="T40" fmla="*/ 2147483646 w 608"/>
                  <a:gd name="T41" fmla="*/ 2147483646 h 544"/>
                  <a:gd name="T42" fmla="*/ 2147483646 w 608"/>
                  <a:gd name="T43" fmla="*/ 2147483646 h 544"/>
                  <a:gd name="T44" fmla="*/ 2147483646 w 608"/>
                  <a:gd name="T45" fmla="*/ 2147483646 h 544"/>
                  <a:gd name="T46" fmla="*/ 2147483646 w 608"/>
                  <a:gd name="T47" fmla="*/ 2147483646 h 544"/>
                  <a:gd name="T48" fmla="*/ 2147483646 w 608"/>
                  <a:gd name="T49" fmla="*/ 2147483646 h 544"/>
                  <a:gd name="T50" fmla="*/ 2147483646 w 608"/>
                  <a:gd name="T51" fmla="*/ 2147483646 h 544"/>
                  <a:gd name="T52" fmla="*/ 2147483646 w 608"/>
                  <a:gd name="T53" fmla="*/ 2147483646 h 544"/>
                  <a:gd name="T54" fmla="*/ 2147483646 w 608"/>
                  <a:gd name="T55" fmla="*/ 2147483646 h 544"/>
                  <a:gd name="T56" fmla="*/ 0 w 608"/>
                  <a:gd name="T57" fmla="*/ 2147483646 h 544"/>
                  <a:gd name="T58" fmla="*/ 0 w 608"/>
                  <a:gd name="T59" fmla="*/ 2147483646 h 544"/>
                  <a:gd name="T60" fmla="*/ 2147483646 w 608"/>
                  <a:gd name="T61" fmla="*/ 2147483646 h 5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8"/>
                  <a:gd name="T94" fmla="*/ 0 h 544"/>
                  <a:gd name="T95" fmla="*/ 608 w 608"/>
                  <a:gd name="T96" fmla="*/ 544 h 5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8" h="544">
                    <a:moveTo>
                      <a:pt x="40" y="48"/>
                    </a:moveTo>
                    <a:lnTo>
                      <a:pt x="88" y="40"/>
                    </a:lnTo>
                    <a:lnTo>
                      <a:pt x="200" y="72"/>
                    </a:lnTo>
                    <a:lnTo>
                      <a:pt x="312" y="32"/>
                    </a:lnTo>
                    <a:lnTo>
                      <a:pt x="440" y="32"/>
                    </a:lnTo>
                    <a:lnTo>
                      <a:pt x="496" y="0"/>
                    </a:lnTo>
                    <a:lnTo>
                      <a:pt x="608" y="32"/>
                    </a:lnTo>
                    <a:lnTo>
                      <a:pt x="600" y="136"/>
                    </a:lnTo>
                    <a:lnTo>
                      <a:pt x="552" y="208"/>
                    </a:lnTo>
                    <a:lnTo>
                      <a:pt x="560" y="264"/>
                    </a:lnTo>
                    <a:lnTo>
                      <a:pt x="528" y="288"/>
                    </a:lnTo>
                    <a:lnTo>
                      <a:pt x="544" y="304"/>
                    </a:lnTo>
                    <a:lnTo>
                      <a:pt x="544" y="360"/>
                    </a:lnTo>
                    <a:lnTo>
                      <a:pt x="560" y="384"/>
                    </a:lnTo>
                    <a:lnTo>
                      <a:pt x="552" y="432"/>
                    </a:lnTo>
                    <a:lnTo>
                      <a:pt x="520" y="440"/>
                    </a:lnTo>
                    <a:lnTo>
                      <a:pt x="496" y="528"/>
                    </a:lnTo>
                    <a:lnTo>
                      <a:pt x="424" y="520"/>
                    </a:lnTo>
                    <a:lnTo>
                      <a:pt x="384" y="544"/>
                    </a:lnTo>
                    <a:lnTo>
                      <a:pt x="304" y="488"/>
                    </a:lnTo>
                    <a:lnTo>
                      <a:pt x="216" y="456"/>
                    </a:lnTo>
                    <a:lnTo>
                      <a:pt x="192" y="408"/>
                    </a:lnTo>
                    <a:lnTo>
                      <a:pt x="136" y="392"/>
                    </a:lnTo>
                    <a:lnTo>
                      <a:pt x="144" y="320"/>
                    </a:lnTo>
                    <a:lnTo>
                      <a:pt x="120" y="280"/>
                    </a:lnTo>
                    <a:lnTo>
                      <a:pt x="152" y="264"/>
                    </a:lnTo>
                    <a:lnTo>
                      <a:pt x="120" y="192"/>
                    </a:lnTo>
                    <a:lnTo>
                      <a:pt x="56" y="152"/>
                    </a:lnTo>
                    <a:lnTo>
                      <a:pt x="0" y="112"/>
                    </a:lnTo>
                    <a:lnTo>
                      <a:pt x="0" y="80"/>
                    </a:lnTo>
                    <a:lnTo>
                      <a:pt x="40" y="48"/>
                    </a:lnTo>
                    <a:close/>
                  </a:path>
                </a:pathLst>
              </a:custGeom>
              <a:solidFill>
                <a:srgbClr val="9950A8"/>
              </a:solidFill>
              <a:ln w="9525">
                <a:solidFill>
                  <a:schemeClr val="bg1"/>
                </a:solidFill>
                <a:round/>
                <a:headEnd/>
                <a:tailEnd/>
              </a:ln>
            </p:spPr>
            <p:txBody>
              <a:bodyPr/>
              <a:lstStyle/>
              <a:p>
                <a:endParaRPr lang="en-US" sz="1050"/>
              </a:p>
            </p:txBody>
          </p:sp>
          <p:sp>
            <p:nvSpPr>
              <p:cNvPr id="137" name="Freeform 136"/>
              <p:cNvSpPr>
                <a:spLocks/>
              </p:cNvSpPr>
              <p:nvPr/>
            </p:nvSpPr>
            <p:spPr bwMode="auto">
              <a:xfrm>
                <a:off x="3203972" y="4795177"/>
                <a:ext cx="829695" cy="772082"/>
              </a:xfrm>
              <a:custGeom>
                <a:avLst/>
                <a:gdLst>
                  <a:gd name="T0" fmla="*/ 2147483646 w 704"/>
                  <a:gd name="T1" fmla="*/ 0 h 712"/>
                  <a:gd name="T2" fmla="*/ 2147483646 w 704"/>
                  <a:gd name="T3" fmla="*/ 2147483646 h 712"/>
                  <a:gd name="T4" fmla="*/ 2147483646 w 704"/>
                  <a:gd name="T5" fmla="*/ 2147483646 h 712"/>
                  <a:gd name="T6" fmla="*/ 2147483646 w 704"/>
                  <a:gd name="T7" fmla="*/ 2147483646 h 712"/>
                  <a:gd name="T8" fmla="*/ 2147483646 w 704"/>
                  <a:gd name="T9" fmla="*/ 2147483646 h 712"/>
                  <a:gd name="T10" fmla="*/ 2147483646 w 704"/>
                  <a:gd name="T11" fmla="*/ 2147483646 h 712"/>
                  <a:gd name="T12" fmla="*/ 2147483646 w 704"/>
                  <a:gd name="T13" fmla="*/ 2147483646 h 712"/>
                  <a:gd name="T14" fmla="*/ 2147483646 w 704"/>
                  <a:gd name="T15" fmla="*/ 2147483646 h 712"/>
                  <a:gd name="T16" fmla="*/ 2147483646 w 704"/>
                  <a:gd name="T17" fmla="*/ 2147483646 h 712"/>
                  <a:gd name="T18" fmla="*/ 2147483646 w 704"/>
                  <a:gd name="T19" fmla="*/ 2147483646 h 712"/>
                  <a:gd name="T20" fmla="*/ 2147483646 w 704"/>
                  <a:gd name="T21" fmla="*/ 2147483646 h 712"/>
                  <a:gd name="T22" fmla="*/ 2147483646 w 704"/>
                  <a:gd name="T23" fmla="*/ 2147483646 h 712"/>
                  <a:gd name="T24" fmla="*/ 2147483646 w 704"/>
                  <a:gd name="T25" fmla="*/ 2147483646 h 712"/>
                  <a:gd name="T26" fmla="*/ 2147483646 w 704"/>
                  <a:gd name="T27" fmla="*/ 2147483646 h 712"/>
                  <a:gd name="T28" fmla="*/ 2147483646 w 704"/>
                  <a:gd name="T29" fmla="*/ 2147483646 h 712"/>
                  <a:gd name="T30" fmla="*/ 2147483646 w 704"/>
                  <a:gd name="T31" fmla="*/ 2147483646 h 712"/>
                  <a:gd name="T32" fmla="*/ 2147483646 w 704"/>
                  <a:gd name="T33" fmla="*/ 2147483646 h 712"/>
                  <a:gd name="T34" fmla="*/ 2147483646 w 704"/>
                  <a:gd name="T35" fmla="*/ 2147483646 h 712"/>
                  <a:gd name="T36" fmla="*/ 2147483646 w 704"/>
                  <a:gd name="T37" fmla="*/ 2147483646 h 712"/>
                  <a:gd name="T38" fmla="*/ 2147483646 w 704"/>
                  <a:gd name="T39" fmla="*/ 2147483646 h 712"/>
                  <a:gd name="T40" fmla="*/ 2147483646 w 704"/>
                  <a:gd name="T41" fmla="*/ 2147483646 h 712"/>
                  <a:gd name="T42" fmla="*/ 2147483646 w 704"/>
                  <a:gd name="T43" fmla="*/ 2147483646 h 712"/>
                  <a:gd name="T44" fmla="*/ 2147483646 w 704"/>
                  <a:gd name="T45" fmla="*/ 2147483646 h 712"/>
                  <a:gd name="T46" fmla="*/ 2147483646 w 704"/>
                  <a:gd name="T47" fmla="*/ 2147483646 h 712"/>
                  <a:gd name="T48" fmla="*/ 2147483646 w 704"/>
                  <a:gd name="T49" fmla="*/ 2147483646 h 712"/>
                  <a:gd name="T50" fmla="*/ 2147483646 w 704"/>
                  <a:gd name="T51" fmla="*/ 2147483646 h 712"/>
                  <a:gd name="T52" fmla="*/ 2147483646 w 704"/>
                  <a:gd name="T53" fmla="*/ 2147483646 h 712"/>
                  <a:gd name="T54" fmla="*/ 2147483646 w 704"/>
                  <a:gd name="T55" fmla="*/ 2147483646 h 712"/>
                  <a:gd name="T56" fmla="*/ 2147483646 w 704"/>
                  <a:gd name="T57" fmla="*/ 2147483646 h 712"/>
                  <a:gd name="T58" fmla="*/ 2147483646 w 704"/>
                  <a:gd name="T59" fmla="*/ 2147483646 h 712"/>
                  <a:gd name="T60" fmla="*/ 2147483646 w 704"/>
                  <a:gd name="T61" fmla="*/ 2147483646 h 712"/>
                  <a:gd name="T62" fmla="*/ 2147483646 w 704"/>
                  <a:gd name="T63" fmla="*/ 2147483646 h 712"/>
                  <a:gd name="T64" fmla="*/ 2147483646 w 704"/>
                  <a:gd name="T65" fmla="*/ 2147483646 h 712"/>
                  <a:gd name="T66" fmla="*/ 2147483646 w 704"/>
                  <a:gd name="T67" fmla="*/ 2147483646 h 712"/>
                  <a:gd name="T68" fmla="*/ 2147483646 w 704"/>
                  <a:gd name="T69" fmla="*/ 2147483646 h 712"/>
                  <a:gd name="T70" fmla="*/ 2147483646 w 704"/>
                  <a:gd name="T71" fmla="*/ 2147483646 h 712"/>
                  <a:gd name="T72" fmla="*/ 2147483646 w 704"/>
                  <a:gd name="T73" fmla="*/ 2147483646 h 712"/>
                  <a:gd name="T74" fmla="*/ 2147483646 w 704"/>
                  <a:gd name="T75" fmla="*/ 2147483646 h 712"/>
                  <a:gd name="T76" fmla="*/ 2147483646 w 704"/>
                  <a:gd name="T77" fmla="*/ 2147483646 h 712"/>
                  <a:gd name="T78" fmla="*/ 2147483646 w 704"/>
                  <a:gd name="T79" fmla="*/ 2147483646 h 712"/>
                  <a:gd name="T80" fmla="*/ 2147483646 w 704"/>
                  <a:gd name="T81" fmla="*/ 2147483646 h 712"/>
                  <a:gd name="T82" fmla="*/ 2147483646 w 704"/>
                  <a:gd name="T83" fmla="*/ 2147483646 h 712"/>
                  <a:gd name="T84" fmla="*/ 2147483646 w 704"/>
                  <a:gd name="T85" fmla="*/ 2147483646 h 712"/>
                  <a:gd name="T86" fmla="*/ 2147483646 w 704"/>
                  <a:gd name="T87" fmla="*/ 2147483646 h 712"/>
                  <a:gd name="T88" fmla="*/ 2147483646 w 704"/>
                  <a:gd name="T89" fmla="*/ 2147483646 h 712"/>
                  <a:gd name="T90" fmla="*/ 2147483646 w 704"/>
                  <a:gd name="T91" fmla="*/ 2147483646 h 712"/>
                  <a:gd name="T92" fmla="*/ 2147483646 w 704"/>
                  <a:gd name="T93" fmla="*/ 2147483646 h 712"/>
                  <a:gd name="T94" fmla="*/ 2147483646 w 704"/>
                  <a:gd name="T95" fmla="*/ 2147483646 h 712"/>
                  <a:gd name="T96" fmla="*/ 0 w 704"/>
                  <a:gd name="T97" fmla="*/ 2147483646 h 712"/>
                  <a:gd name="T98" fmla="*/ 2147483646 w 704"/>
                  <a:gd name="T99" fmla="*/ 2147483646 h 712"/>
                  <a:gd name="T100" fmla="*/ 2147483646 w 704"/>
                  <a:gd name="T101" fmla="*/ 2147483646 h 712"/>
                  <a:gd name="T102" fmla="*/ 2147483646 w 704"/>
                  <a:gd name="T103" fmla="*/ 2147483646 h 712"/>
                  <a:gd name="T104" fmla="*/ 2147483646 w 704"/>
                  <a:gd name="T105" fmla="*/ 2147483646 h 712"/>
                  <a:gd name="T106" fmla="*/ 2147483646 w 704"/>
                  <a:gd name="T107" fmla="*/ 2147483646 h 712"/>
                  <a:gd name="T108" fmla="*/ 2147483646 w 704"/>
                  <a:gd name="T109" fmla="*/ 2147483646 h 712"/>
                  <a:gd name="T110" fmla="*/ 2147483646 w 704"/>
                  <a:gd name="T111" fmla="*/ 2147483646 h 712"/>
                  <a:gd name="T112" fmla="*/ 2147483646 w 704"/>
                  <a:gd name="T113" fmla="*/ 2147483646 h 712"/>
                  <a:gd name="T114" fmla="*/ 2147483646 w 704"/>
                  <a:gd name="T115" fmla="*/ 2147483646 h 712"/>
                  <a:gd name="T116" fmla="*/ 2147483646 w 704"/>
                  <a:gd name="T117" fmla="*/ 2147483646 h 712"/>
                  <a:gd name="T118" fmla="*/ 2147483646 w 704"/>
                  <a:gd name="T119" fmla="*/ 2147483646 h 712"/>
                  <a:gd name="T120" fmla="*/ 2147483646 w 704"/>
                  <a:gd name="T121" fmla="*/ 2147483646 h 712"/>
                  <a:gd name="T122" fmla="*/ 2147483646 w 704"/>
                  <a:gd name="T123" fmla="*/ 0 h 7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
                  <a:gd name="T187" fmla="*/ 0 h 712"/>
                  <a:gd name="T188" fmla="*/ 704 w 704"/>
                  <a:gd name="T189" fmla="*/ 712 h 7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 h="712">
                    <a:moveTo>
                      <a:pt x="376" y="0"/>
                    </a:moveTo>
                    <a:lnTo>
                      <a:pt x="440" y="40"/>
                    </a:lnTo>
                    <a:lnTo>
                      <a:pt x="472" y="112"/>
                    </a:lnTo>
                    <a:lnTo>
                      <a:pt x="440" y="128"/>
                    </a:lnTo>
                    <a:lnTo>
                      <a:pt x="464" y="168"/>
                    </a:lnTo>
                    <a:lnTo>
                      <a:pt x="456" y="240"/>
                    </a:lnTo>
                    <a:lnTo>
                      <a:pt x="512" y="256"/>
                    </a:lnTo>
                    <a:lnTo>
                      <a:pt x="536" y="304"/>
                    </a:lnTo>
                    <a:lnTo>
                      <a:pt x="624" y="336"/>
                    </a:lnTo>
                    <a:lnTo>
                      <a:pt x="704" y="392"/>
                    </a:lnTo>
                    <a:lnTo>
                      <a:pt x="616" y="424"/>
                    </a:lnTo>
                    <a:lnTo>
                      <a:pt x="552" y="472"/>
                    </a:lnTo>
                    <a:lnTo>
                      <a:pt x="552" y="504"/>
                    </a:lnTo>
                    <a:lnTo>
                      <a:pt x="584" y="512"/>
                    </a:lnTo>
                    <a:lnTo>
                      <a:pt x="552" y="544"/>
                    </a:lnTo>
                    <a:lnTo>
                      <a:pt x="520" y="600"/>
                    </a:lnTo>
                    <a:lnTo>
                      <a:pt x="528" y="680"/>
                    </a:lnTo>
                    <a:lnTo>
                      <a:pt x="488" y="672"/>
                    </a:lnTo>
                    <a:lnTo>
                      <a:pt x="464" y="712"/>
                    </a:lnTo>
                    <a:lnTo>
                      <a:pt x="416" y="704"/>
                    </a:lnTo>
                    <a:lnTo>
                      <a:pt x="392" y="680"/>
                    </a:lnTo>
                    <a:lnTo>
                      <a:pt x="368" y="664"/>
                    </a:lnTo>
                    <a:lnTo>
                      <a:pt x="352" y="640"/>
                    </a:lnTo>
                    <a:lnTo>
                      <a:pt x="304" y="632"/>
                    </a:lnTo>
                    <a:lnTo>
                      <a:pt x="304" y="576"/>
                    </a:lnTo>
                    <a:lnTo>
                      <a:pt x="264" y="568"/>
                    </a:lnTo>
                    <a:lnTo>
                      <a:pt x="240" y="520"/>
                    </a:lnTo>
                    <a:lnTo>
                      <a:pt x="232" y="480"/>
                    </a:lnTo>
                    <a:lnTo>
                      <a:pt x="200" y="456"/>
                    </a:lnTo>
                    <a:lnTo>
                      <a:pt x="224" y="432"/>
                    </a:lnTo>
                    <a:lnTo>
                      <a:pt x="248" y="432"/>
                    </a:lnTo>
                    <a:lnTo>
                      <a:pt x="264" y="392"/>
                    </a:lnTo>
                    <a:lnTo>
                      <a:pt x="304" y="392"/>
                    </a:lnTo>
                    <a:lnTo>
                      <a:pt x="344" y="416"/>
                    </a:lnTo>
                    <a:lnTo>
                      <a:pt x="360" y="392"/>
                    </a:lnTo>
                    <a:lnTo>
                      <a:pt x="344" y="360"/>
                    </a:lnTo>
                    <a:lnTo>
                      <a:pt x="320" y="352"/>
                    </a:lnTo>
                    <a:lnTo>
                      <a:pt x="288" y="344"/>
                    </a:lnTo>
                    <a:lnTo>
                      <a:pt x="240" y="312"/>
                    </a:lnTo>
                    <a:lnTo>
                      <a:pt x="216" y="280"/>
                    </a:lnTo>
                    <a:lnTo>
                      <a:pt x="192" y="296"/>
                    </a:lnTo>
                    <a:lnTo>
                      <a:pt x="168" y="312"/>
                    </a:lnTo>
                    <a:lnTo>
                      <a:pt x="144" y="312"/>
                    </a:lnTo>
                    <a:lnTo>
                      <a:pt x="112" y="368"/>
                    </a:lnTo>
                    <a:lnTo>
                      <a:pt x="80" y="440"/>
                    </a:lnTo>
                    <a:lnTo>
                      <a:pt x="48" y="448"/>
                    </a:lnTo>
                    <a:lnTo>
                      <a:pt x="16" y="416"/>
                    </a:lnTo>
                    <a:lnTo>
                      <a:pt x="32" y="392"/>
                    </a:lnTo>
                    <a:lnTo>
                      <a:pt x="0" y="384"/>
                    </a:lnTo>
                    <a:lnTo>
                      <a:pt x="8" y="360"/>
                    </a:lnTo>
                    <a:lnTo>
                      <a:pt x="40" y="352"/>
                    </a:lnTo>
                    <a:lnTo>
                      <a:pt x="56" y="384"/>
                    </a:lnTo>
                    <a:lnTo>
                      <a:pt x="80" y="360"/>
                    </a:lnTo>
                    <a:lnTo>
                      <a:pt x="64" y="296"/>
                    </a:lnTo>
                    <a:lnTo>
                      <a:pt x="104" y="256"/>
                    </a:lnTo>
                    <a:lnTo>
                      <a:pt x="104" y="208"/>
                    </a:lnTo>
                    <a:lnTo>
                      <a:pt x="136" y="208"/>
                    </a:lnTo>
                    <a:lnTo>
                      <a:pt x="168" y="256"/>
                    </a:lnTo>
                    <a:lnTo>
                      <a:pt x="208" y="248"/>
                    </a:lnTo>
                    <a:lnTo>
                      <a:pt x="240" y="168"/>
                    </a:lnTo>
                    <a:lnTo>
                      <a:pt x="304" y="56"/>
                    </a:lnTo>
                    <a:lnTo>
                      <a:pt x="376" y="0"/>
                    </a:lnTo>
                    <a:close/>
                  </a:path>
                </a:pathLst>
              </a:custGeom>
              <a:solidFill>
                <a:srgbClr val="9950A8"/>
              </a:solidFill>
              <a:ln w="9525">
                <a:solidFill>
                  <a:schemeClr val="bg1"/>
                </a:solidFill>
                <a:round/>
                <a:headEnd/>
                <a:tailEnd/>
              </a:ln>
            </p:spPr>
            <p:txBody>
              <a:bodyPr/>
              <a:lstStyle/>
              <a:p>
                <a:endParaRPr lang="en-US" sz="1050"/>
              </a:p>
            </p:txBody>
          </p:sp>
          <p:sp>
            <p:nvSpPr>
              <p:cNvPr id="138" name="Freeform 137"/>
              <p:cNvSpPr>
                <a:spLocks/>
              </p:cNvSpPr>
              <p:nvPr/>
            </p:nvSpPr>
            <p:spPr bwMode="auto">
              <a:xfrm>
                <a:off x="3628248" y="5098804"/>
                <a:ext cx="857981" cy="772082"/>
              </a:xfrm>
              <a:custGeom>
                <a:avLst/>
                <a:gdLst>
                  <a:gd name="T0" fmla="*/ 2147483646 w 728"/>
                  <a:gd name="T1" fmla="*/ 2147483646 h 712"/>
                  <a:gd name="T2" fmla="*/ 2147483646 w 728"/>
                  <a:gd name="T3" fmla="*/ 2147483646 h 712"/>
                  <a:gd name="T4" fmla="*/ 2147483646 w 728"/>
                  <a:gd name="T5" fmla="*/ 2147483646 h 712"/>
                  <a:gd name="T6" fmla="*/ 2147483646 w 728"/>
                  <a:gd name="T7" fmla="*/ 2147483646 h 712"/>
                  <a:gd name="T8" fmla="*/ 2147483646 w 728"/>
                  <a:gd name="T9" fmla="*/ 2147483646 h 712"/>
                  <a:gd name="T10" fmla="*/ 2147483646 w 728"/>
                  <a:gd name="T11" fmla="*/ 2147483646 h 712"/>
                  <a:gd name="T12" fmla="*/ 2147483646 w 728"/>
                  <a:gd name="T13" fmla="*/ 2147483646 h 712"/>
                  <a:gd name="T14" fmla="*/ 2147483646 w 728"/>
                  <a:gd name="T15" fmla="*/ 2147483646 h 712"/>
                  <a:gd name="T16" fmla="*/ 2147483646 w 728"/>
                  <a:gd name="T17" fmla="*/ 2147483646 h 712"/>
                  <a:gd name="T18" fmla="*/ 2147483646 w 728"/>
                  <a:gd name="T19" fmla="*/ 2147483646 h 712"/>
                  <a:gd name="T20" fmla="*/ 2147483646 w 728"/>
                  <a:gd name="T21" fmla="*/ 2147483646 h 712"/>
                  <a:gd name="T22" fmla="*/ 2147483646 w 728"/>
                  <a:gd name="T23" fmla="*/ 2147483646 h 712"/>
                  <a:gd name="T24" fmla="*/ 2147483646 w 728"/>
                  <a:gd name="T25" fmla="*/ 2147483646 h 712"/>
                  <a:gd name="T26" fmla="*/ 2147483646 w 728"/>
                  <a:gd name="T27" fmla="*/ 0 h 712"/>
                  <a:gd name="T28" fmla="*/ 2147483646 w 728"/>
                  <a:gd name="T29" fmla="*/ 2147483646 h 712"/>
                  <a:gd name="T30" fmla="*/ 2147483646 w 728"/>
                  <a:gd name="T31" fmla="*/ 2147483646 h 712"/>
                  <a:gd name="T32" fmla="*/ 2147483646 w 728"/>
                  <a:gd name="T33" fmla="*/ 2147483646 h 712"/>
                  <a:gd name="T34" fmla="*/ 2147483646 w 728"/>
                  <a:gd name="T35" fmla="*/ 2147483646 h 712"/>
                  <a:gd name="T36" fmla="*/ 2147483646 w 728"/>
                  <a:gd name="T37" fmla="*/ 2147483646 h 712"/>
                  <a:gd name="T38" fmla="*/ 2147483646 w 728"/>
                  <a:gd name="T39" fmla="*/ 2147483646 h 712"/>
                  <a:gd name="T40" fmla="*/ 2147483646 w 728"/>
                  <a:gd name="T41" fmla="*/ 2147483646 h 712"/>
                  <a:gd name="T42" fmla="*/ 2147483646 w 728"/>
                  <a:gd name="T43" fmla="*/ 2147483646 h 712"/>
                  <a:gd name="T44" fmla="*/ 2147483646 w 728"/>
                  <a:gd name="T45" fmla="*/ 2147483646 h 712"/>
                  <a:gd name="T46" fmla="*/ 2147483646 w 728"/>
                  <a:gd name="T47" fmla="*/ 2147483646 h 712"/>
                  <a:gd name="T48" fmla="*/ 2147483646 w 728"/>
                  <a:gd name="T49" fmla="*/ 2147483646 h 712"/>
                  <a:gd name="T50" fmla="*/ 2147483646 w 728"/>
                  <a:gd name="T51" fmla="*/ 2147483646 h 712"/>
                  <a:gd name="T52" fmla="*/ 2147483646 w 728"/>
                  <a:gd name="T53" fmla="*/ 2147483646 h 712"/>
                  <a:gd name="T54" fmla="*/ 2147483646 w 728"/>
                  <a:gd name="T55" fmla="*/ 2147483646 h 712"/>
                  <a:gd name="T56" fmla="*/ 2147483646 w 728"/>
                  <a:gd name="T57" fmla="*/ 2147483646 h 712"/>
                  <a:gd name="T58" fmla="*/ 2147483646 w 728"/>
                  <a:gd name="T59" fmla="*/ 2147483646 h 712"/>
                  <a:gd name="T60" fmla="*/ 2147483646 w 728"/>
                  <a:gd name="T61" fmla="*/ 2147483646 h 712"/>
                  <a:gd name="T62" fmla="*/ 2147483646 w 728"/>
                  <a:gd name="T63" fmla="*/ 2147483646 h 712"/>
                  <a:gd name="T64" fmla="*/ 2147483646 w 728"/>
                  <a:gd name="T65" fmla="*/ 2147483646 h 712"/>
                  <a:gd name="T66" fmla="*/ 2147483646 w 728"/>
                  <a:gd name="T67" fmla="*/ 2147483646 h 712"/>
                  <a:gd name="T68" fmla="*/ 2147483646 w 728"/>
                  <a:gd name="T69" fmla="*/ 2147483646 h 712"/>
                  <a:gd name="T70" fmla="*/ 2147483646 w 728"/>
                  <a:gd name="T71" fmla="*/ 2147483646 h 712"/>
                  <a:gd name="T72" fmla="*/ 2147483646 w 728"/>
                  <a:gd name="T73" fmla="*/ 2147483646 h 712"/>
                  <a:gd name="T74" fmla="*/ 2147483646 w 728"/>
                  <a:gd name="T75" fmla="*/ 2147483646 h 712"/>
                  <a:gd name="T76" fmla="*/ 2147483646 w 728"/>
                  <a:gd name="T77" fmla="*/ 2147483646 h 712"/>
                  <a:gd name="T78" fmla="*/ 2147483646 w 728"/>
                  <a:gd name="T79" fmla="*/ 2147483646 h 712"/>
                  <a:gd name="T80" fmla="*/ 2147483646 w 728"/>
                  <a:gd name="T81" fmla="*/ 2147483646 h 712"/>
                  <a:gd name="T82" fmla="*/ 2147483646 w 728"/>
                  <a:gd name="T83" fmla="*/ 2147483646 h 712"/>
                  <a:gd name="T84" fmla="*/ 2147483646 w 728"/>
                  <a:gd name="T85" fmla="*/ 2147483646 h 712"/>
                  <a:gd name="T86" fmla="*/ 2147483646 w 728"/>
                  <a:gd name="T87" fmla="*/ 2147483646 h 712"/>
                  <a:gd name="T88" fmla="*/ 2147483646 w 728"/>
                  <a:gd name="T89" fmla="*/ 2147483646 h 712"/>
                  <a:gd name="T90" fmla="*/ 2147483646 w 728"/>
                  <a:gd name="T91" fmla="*/ 2147483646 h 712"/>
                  <a:gd name="T92" fmla="*/ 2147483646 w 728"/>
                  <a:gd name="T93" fmla="*/ 2147483646 h 712"/>
                  <a:gd name="T94" fmla="*/ 2147483646 w 728"/>
                  <a:gd name="T95" fmla="*/ 2147483646 h 712"/>
                  <a:gd name="T96" fmla="*/ 0 w 728"/>
                  <a:gd name="T97" fmla="*/ 2147483646 h 712"/>
                  <a:gd name="T98" fmla="*/ 2147483646 w 728"/>
                  <a:gd name="T99" fmla="*/ 2147483646 h 712"/>
                  <a:gd name="T100" fmla="*/ 2147483646 w 728"/>
                  <a:gd name="T101" fmla="*/ 2147483646 h 712"/>
                  <a:gd name="T102" fmla="*/ 2147483646 w 728"/>
                  <a:gd name="T103" fmla="*/ 2147483646 h 712"/>
                  <a:gd name="T104" fmla="*/ 2147483646 w 728"/>
                  <a:gd name="T105" fmla="*/ 2147483646 h 712"/>
                  <a:gd name="T106" fmla="*/ 2147483646 w 728"/>
                  <a:gd name="T107" fmla="*/ 2147483646 h 712"/>
                  <a:gd name="T108" fmla="*/ 2147483646 w 728"/>
                  <a:gd name="T109" fmla="*/ 2147483646 h 712"/>
                  <a:gd name="T110" fmla="*/ 2147483646 w 728"/>
                  <a:gd name="T111" fmla="*/ 2147483646 h 7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12"/>
                  <a:gd name="T170" fmla="*/ 728 w 728"/>
                  <a:gd name="T171" fmla="*/ 712 h 7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12">
                    <a:moveTo>
                      <a:pt x="104" y="432"/>
                    </a:moveTo>
                    <a:lnTo>
                      <a:pt x="128" y="392"/>
                    </a:lnTo>
                    <a:lnTo>
                      <a:pt x="168" y="400"/>
                    </a:lnTo>
                    <a:lnTo>
                      <a:pt x="160" y="320"/>
                    </a:lnTo>
                    <a:lnTo>
                      <a:pt x="192" y="264"/>
                    </a:lnTo>
                    <a:lnTo>
                      <a:pt x="224" y="232"/>
                    </a:lnTo>
                    <a:lnTo>
                      <a:pt x="192" y="224"/>
                    </a:lnTo>
                    <a:lnTo>
                      <a:pt x="192" y="192"/>
                    </a:lnTo>
                    <a:lnTo>
                      <a:pt x="256" y="144"/>
                    </a:lnTo>
                    <a:lnTo>
                      <a:pt x="344" y="112"/>
                    </a:lnTo>
                    <a:lnTo>
                      <a:pt x="384" y="88"/>
                    </a:lnTo>
                    <a:lnTo>
                      <a:pt x="456" y="96"/>
                    </a:lnTo>
                    <a:lnTo>
                      <a:pt x="480" y="8"/>
                    </a:lnTo>
                    <a:lnTo>
                      <a:pt x="512" y="0"/>
                    </a:lnTo>
                    <a:lnTo>
                      <a:pt x="520" y="56"/>
                    </a:lnTo>
                    <a:lnTo>
                      <a:pt x="560" y="72"/>
                    </a:lnTo>
                    <a:lnTo>
                      <a:pt x="576" y="136"/>
                    </a:lnTo>
                    <a:lnTo>
                      <a:pt x="528" y="184"/>
                    </a:lnTo>
                    <a:lnTo>
                      <a:pt x="592" y="216"/>
                    </a:lnTo>
                    <a:lnTo>
                      <a:pt x="608" y="272"/>
                    </a:lnTo>
                    <a:lnTo>
                      <a:pt x="664" y="288"/>
                    </a:lnTo>
                    <a:lnTo>
                      <a:pt x="704" y="344"/>
                    </a:lnTo>
                    <a:lnTo>
                      <a:pt x="696" y="408"/>
                    </a:lnTo>
                    <a:lnTo>
                      <a:pt x="728" y="432"/>
                    </a:lnTo>
                    <a:lnTo>
                      <a:pt x="688" y="448"/>
                    </a:lnTo>
                    <a:lnTo>
                      <a:pt x="680" y="488"/>
                    </a:lnTo>
                    <a:lnTo>
                      <a:pt x="712" y="520"/>
                    </a:lnTo>
                    <a:lnTo>
                      <a:pt x="688" y="544"/>
                    </a:lnTo>
                    <a:lnTo>
                      <a:pt x="704" y="576"/>
                    </a:lnTo>
                    <a:lnTo>
                      <a:pt x="672" y="584"/>
                    </a:lnTo>
                    <a:lnTo>
                      <a:pt x="680" y="624"/>
                    </a:lnTo>
                    <a:lnTo>
                      <a:pt x="648" y="632"/>
                    </a:lnTo>
                    <a:lnTo>
                      <a:pt x="640" y="712"/>
                    </a:lnTo>
                    <a:lnTo>
                      <a:pt x="592" y="688"/>
                    </a:lnTo>
                    <a:lnTo>
                      <a:pt x="560" y="672"/>
                    </a:lnTo>
                    <a:lnTo>
                      <a:pt x="528" y="672"/>
                    </a:lnTo>
                    <a:lnTo>
                      <a:pt x="504" y="656"/>
                    </a:lnTo>
                    <a:lnTo>
                      <a:pt x="456" y="648"/>
                    </a:lnTo>
                    <a:lnTo>
                      <a:pt x="424" y="624"/>
                    </a:lnTo>
                    <a:lnTo>
                      <a:pt x="384" y="640"/>
                    </a:lnTo>
                    <a:lnTo>
                      <a:pt x="360" y="624"/>
                    </a:lnTo>
                    <a:lnTo>
                      <a:pt x="320" y="608"/>
                    </a:lnTo>
                    <a:lnTo>
                      <a:pt x="288" y="600"/>
                    </a:lnTo>
                    <a:lnTo>
                      <a:pt x="240" y="600"/>
                    </a:lnTo>
                    <a:lnTo>
                      <a:pt x="200" y="616"/>
                    </a:lnTo>
                    <a:lnTo>
                      <a:pt x="144" y="624"/>
                    </a:lnTo>
                    <a:lnTo>
                      <a:pt x="88" y="616"/>
                    </a:lnTo>
                    <a:lnTo>
                      <a:pt x="40" y="608"/>
                    </a:lnTo>
                    <a:lnTo>
                      <a:pt x="0" y="576"/>
                    </a:lnTo>
                    <a:lnTo>
                      <a:pt x="16" y="536"/>
                    </a:lnTo>
                    <a:lnTo>
                      <a:pt x="24" y="512"/>
                    </a:lnTo>
                    <a:lnTo>
                      <a:pt x="32" y="488"/>
                    </a:lnTo>
                    <a:lnTo>
                      <a:pt x="80" y="480"/>
                    </a:lnTo>
                    <a:lnTo>
                      <a:pt x="120" y="464"/>
                    </a:lnTo>
                    <a:lnTo>
                      <a:pt x="120" y="440"/>
                    </a:lnTo>
                    <a:lnTo>
                      <a:pt x="104" y="432"/>
                    </a:lnTo>
                    <a:close/>
                  </a:path>
                </a:pathLst>
              </a:custGeom>
              <a:solidFill>
                <a:srgbClr val="9950A8"/>
              </a:solidFill>
              <a:ln w="9525">
                <a:solidFill>
                  <a:schemeClr val="bg1"/>
                </a:solidFill>
                <a:round/>
                <a:headEnd/>
                <a:tailEnd/>
              </a:ln>
            </p:spPr>
            <p:txBody>
              <a:bodyPr/>
              <a:lstStyle/>
              <a:p>
                <a:endParaRPr lang="en-US" sz="1050"/>
              </a:p>
            </p:txBody>
          </p:sp>
          <p:sp>
            <p:nvSpPr>
              <p:cNvPr id="139" name="Freeform 138"/>
              <p:cNvSpPr>
                <a:spLocks/>
              </p:cNvSpPr>
              <p:nvPr/>
            </p:nvSpPr>
            <p:spPr bwMode="auto">
              <a:xfrm>
                <a:off x="2855123" y="4378773"/>
                <a:ext cx="810839" cy="832807"/>
              </a:xfrm>
              <a:custGeom>
                <a:avLst/>
                <a:gdLst>
                  <a:gd name="T0" fmla="*/ 2147483646 w 688"/>
                  <a:gd name="T1" fmla="*/ 2147483646 h 768"/>
                  <a:gd name="T2" fmla="*/ 2147483646 w 688"/>
                  <a:gd name="T3" fmla="*/ 2147483646 h 768"/>
                  <a:gd name="T4" fmla="*/ 2147483646 w 688"/>
                  <a:gd name="T5" fmla="*/ 2147483646 h 768"/>
                  <a:gd name="T6" fmla="*/ 2147483646 w 688"/>
                  <a:gd name="T7" fmla="*/ 2147483646 h 768"/>
                  <a:gd name="T8" fmla="*/ 2147483646 w 688"/>
                  <a:gd name="T9" fmla="*/ 2147483646 h 768"/>
                  <a:gd name="T10" fmla="*/ 2147483646 w 688"/>
                  <a:gd name="T11" fmla="*/ 2147483646 h 768"/>
                  <a:gd name="T12" fmla="*/ 2147483646 w 688"/>
                  <a:gd name="T13" fmla="*/ 2147483646 h 768"/>
                  <a:gd name="T14" fmla="*/ 2147483646 w 688"/>
                  <a:gd name="T15" fmla="*/ 2147483646 h 768"/>
                  <a:gd name="T16" fmla="*/ 2147483646 w 688"/>
                  <a:gd name="T17" fmla="*/ 2147483646 h 768"/>
                  <a:gd name="T18" fmla="*/ 2147483646 w 688"/>
                  <a:gd name="T19" fmla="*/ 2147483646 h 768"/>
                  <a:gd name="T20" fmla="*/ 2147483646 w 688"/>
                  <a:gd name="T21" fmla="*/ 2147483646 h 768"/>
                  <a:gd name="T22" fmla="*/ 2147483646 w 688"/>
                  <a:gd name="T23" fmla="*/ 2147483646 h 768"/>
                  <a:gd name="T24" fmla="*/ 2147483646 w 688"/>
                  <a:gd name="T25" fmla="*/ 2147483646 h 768"/>
                  <a:gd name="T26" fmla="*/ 2147483646 w 688"/>
                  <a:gd name="T27" fmla="*/ 2147483646 h 768"/>
                  <a:gd name="T28" fmla="*/ 2147483646 w 688"/>
                  <a:gd name="T29" fmla="*/ 2147483646 h 768"/>
                  <a:gd name="T30" fmla="*/ 2147483646 w 688"/>
                  <a:gd name="T31" fmla="*/ 2147483646 h 768"/>
                  <a:gd name="T32" fmla="*/ 2147483646 w 688"/>
                  <a:gd name="T33" fmla="*/ 2147483646 h 768"/>
                  <a:gd name="T34" fmla="*/ 2147483646 w 688"/>
                  <a:gd name="T35" fmla="*/ 2147483646 h 768"/>
                  <a:gd name="T36" fmla="*/ 2147483646 w 688"/>
                  <a:gd name="T37" fmla="*/ 2147483646 h 768"/>
                  <a:gd name="T38" fmla="*/ 2147483646 w 688"/>
                  <a:gd name="T39" fmla="*/ 2147483646 h 768"/>
                  <a:gd name="T40" fmla="*/ 2147483646 w 688"/>
                  <a:gd name="T41" fmla="*/ 2147483646 h 768"/>
                  <a:gd name="T42" fmla="*/ 2147483646 w 688"/>
                  <a:gd name="T43" fmla="*/ 2147483646 h 768"/>
                  <a:gd name="T44" fmla="*/ 2147483646 w 688"/>
                  <a:gd name="T45" fmla="*/ 0 h 768"/>
                  <a:gd name="T46" fmla="*/ 2147483646 w 688"/>
                  <a:gd name="T47" fmla="*/ 2147483646 h 768"/>
                  <a:gd name="T48" fmla="*/ 2147483646 w 688"/>
                  <a:gd name="T49" fmla="*/ 2147483646 h 768"/>
                  <a:gd name="T50" fmla="*/ 2147483646 w 688"/>
                  <a:gd name="T51" fmla="*/ 2147483646 h 768"/>
                  <a:gd name="T52" fmla="*/ 2147483646 w 688"/>
                  <a:gd name="T53" fmla="*/ 2147483646 h 768"/>
                  <a:gd name="T54" fmla="*/ 2147483646 w 688"/>
                  <a:gd name="T55" fmla="*/ 2147483646 h 768"/>
                  <a:gd name="T56" fmla="*/ 2147483646 w 688"/>
                  <a:gd name="T57" fmla="*/ 2147483646 h 768"/>
                  <a:gd name="T58" fmla="*/ 2147483646 w 688"/>
                  <a:gd name="T59" fmla="*/ 2147483646 h 768"/>
                  <a:gd name="T60" fmla="*/ 2147483646 w 688"/>
                  <a:gd name="T61" fmla="*/ 2147483646 h 768"/>
                  <a:gd name="T62" fmla="*/ 2147483646 w 688"/>
                  <a:gd name="T63" fmla="*/ 2147483646 h 768"/>
                  <a:gd name="T64" fmla="*/ 2147483646 w 688"/>
                  <a:gd name="T65" fmla="*/ 2147483646 h 768"/>
                  <a:gd name="T66" fmla="*/ 2147483646 w 688"/>
                  <a:gd name="T67" fmla="*/ 2147483646 h 768"/>
                  <a:gd name="T68" fmla="*/ 2147483646 w 688"/>
                  <a:gd name="T69" fmla="*/ 2147483646 h 768"/>
                  <a:gd name="T70" fmla="*/ 2147483646 w 688"/>
                  <a:gd name="T71" fmla="*/ 2147483646 h 768"/>
                  <a:gd name="T72" fmla="*/ 2147483646 w 688"/>
                  <a:gd name="T73" fmla="*/ 2147483646 h 768"/>
                  <a:gd name="T74" fmla="*/ 2147483646 w 688"/>
                  <a:gd name="T75" fmla="*/ 2147483646 h 768"/>
                  <a:gd name="T76" fmla="*/ 2147483646 w 688"/>
                  <a:gd name="T77" fmla="*/ 2147483646 h 768"/>
                  <a:gd name="T78" fmla="*/ 2147483646 w 688"/>
                  <a:gd name="T79" fmla="*/ 2147483646 h 768"/>
                  <a:gd name="T80" fmla="*/ 2147483646 w 688"/>
                  <a:gd name="T81" fmla="*/ 2147483646 h 768"/>
                  <a:gd name="T82" fmla="*/ 2147483646 w 688"/>
                  <a:gd name="T83" fmla="*/ 2147483646 h 768"/>
                  <a:gd name="T84" fmla="*/ 2147483646 w 688"/>
                  <a:gd name="T85" fmla="*/ 2147483646 h 768"/>
                  <a:gd name="T86" fmla="*/ 2147483646 w 688"/>
                  <a:gd name="T87" fmla="*/ 2147483646 h 768"/>
                  <a:gd name="T88" fmla="*/ 2147483646 w 688"/>
                  <a:gd name="T89" fmla="*/ 2147483646 h 768"/>
                  <a:gd name="T90" fmla="*/ 2147483646 w 688"/>
                  <a:gd name="T91" fmla="*/ 2147483646 h 768"/>
                  <a:gd name="T92" fmla="*/ 2147483646 w 688"/>
                  <a:gd name="T93" fmla="*/ 2147483646 h 768"/>
                  <a:gd name="T94" fmla="*/ 2147483646 w 688"/>
                  <a:gd name="T95" fmla="*/ 2147483646 h 768"/>
                  <a:gd name="T96" fmla="*/ 0 w 688"/>
                  <a:gd name="T97" fmla="*/ 2147483646 h 768"/>
                  <a:gd name="T98" fmla="*/ 0 w 688"/>
                  <a:gd name="T99" fmla="*/ 2147483646 h 768"/>
                  <a:gd name="T100" fmla="*/ 2147483646 w 688"/>
                  <a:gd name="T101" fmla="*/ 2147483646 h 768"/>
                  <a:gd name="T102" fmla="*/ 2147483646 w 688"/>
                  <a:gd name="T103" fmla="*/ 2147483646 h 768"/>
                  <a:gd name="T104" fmla="*/ 2147483646 w 688"/>
                  <a:gd name="T105" fmla="*/ 2147483646 h 768"/>
                  <a:gd name="T106" fmla="*/ 2147483646 w 688"/>
                  <a:gd name="T107" fmla="*/ 2147483646 h 768"/>
                  <a:gd name="T108" fmla="*/ 2147483646 w 688"/>
                  <a:gd name="T109" fmla="*/ 2147483646 h 768"/>
                  <a:gd name="T110" fmla="*/ 2147483646 w 688"/>
                  <a:gd name="T111" fmla="*/ 2147483646 h 768"/>
                  <a:gd name="T112" fmla="*/ 2147483646 w 688"/>
                  <a:gd name="T113" fmla="*/ 2147483646 h 768"/>
                  <a:gd name="T114" fmla="*/ 2147483646 w 688"/>
                  <a:gd name="T115" fmla="*/ 2147483646 h 768"/>
                  <a:gd name="T116" fmla="*/ 2147483646 w 688"/>
                  <a:gd name="T117" fmla="*/ 2147483646 h 7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8"/>
                  <a:gd name="T178" fmla="*/ 0 h 768"/>
                  <a:gd name="T179" fmla="*/ 688 w 688"/>
                  <a:gd name="T180" fmla="*/ 768 h 7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8" h="768">
                    <a:moveTo>
                      <a:pt x="304" y="744"/>
                    </a:moveTo>
                    <a:lnTo>
                      <a:pt x="336" y="736"/>
                    </a:lnTo>
                    <a:lnTo>
                      <a:pt x="352" y="768"/>
                    </a:lnTo>
                    <a:lnTo>
                      <a:pt x="376" y="744"/>
                    </a:lnTo>
                    <a:lnTo>
                      <a:pt x="360" y="680"/>
                    </a:lnTo>
                    <a:lnTo>
                      <a:pt x="400" y="640"/>
                    </a:lnTo>
                    <a:lnTo>
                      <a:pt x="400" y="592"/>
                    </a:lnTo>
                    <a:lnTo>
                      <a:pt x="432" y="592"/>
                    </a:lnTo>
                    <a:lnTo>
                      <a:pt x="464" y="640"/>
                    </a:lnTo>
                    <a:lnTo>
                      <a:pt x="504" y="632"/>
                    </a:lnTo>
                    <a:lnTo>
                      <a:pt x="536" y="552"/>
                    </a:lnTo>
                    <a:lnTo>
                      <a:pt x="600" y="440"/>
                    </a:lnTo>
                    <a:lnTo>
                      <a:pt x="672" y="384"/>
                    </a:lnTo>
                    <a:lnTo>
                      <a:pt x="616" y="344"/>
                    </a:lnTo>
                    <a:lnTo>
                      <a:pt x="616" y="312"/>
                    </a:lnTo>
                    <a:lnTo>
                      <a:pt x="656" y="280"/>
                    </a:lnTo>
                    <a:lnTo>
                      <a:pt x="648" y="200"/>
                    </a:lnTo>
                    <a:lnTo>
                      <a:pt x="688" y="168"/>
                    </a:lnTo>
                    <a:lnTo>
                      <a:pt x="600" y="32"/>
                    </a:lnTo>
                    <a:lnTo>
                      <a:pt x="560" y="16"/>
                    </a:lnTo>
                    <a:lnTo>
                      <a:pt x="512" y="16"/>
                    </a:lnTo>
                    <a:lnTo>
                      <a:pt x="464" y="56"/>
                    </a:lnTo>
                    <a:lnTo>
                      <a:pt x="432" y="0"/>
                    </a:lnTo>
                    <a:lnTo>
                      <a:pt x="392" y="64"/>
                    </a:lnTo>
                    <a:lnTo>
                      <a:pt x="360" y="72"/>
                    </a:lnTo>
                    <a:lnTo>
                      <a:pt x="360" y="120"/>
                    </a:lnTo>
                    <a:lnTo>
                      <a:pt x="320" y="128"/>
                    </a:lnTo>
                    <a:lnTo>
                      <a:pt x="192" y="64"/>
                    </a:lnTo>
                    <a:lnTo>
                      <a:pt x="144" y="80"/>
                    </a:lnTo>
                    <a:lnTo>
                      <a:pt x="128" y="136"/>
                    </a:lnTo>
                    <a:lnTo>
                      <a:pt x="80" y="152"/>
                    </a:lnTo>
                    <a:lnTo>
                      <a:pt x="112" y="184"/>
                    </a:lnTo>
                    <a:lnTo>
                      <a:pt x="72" y="208"/>
                    </a:lnTo>
                    <a:lnTo>
                      <a:pt x="112" y="264"/>
                    </a:lnTo>
                    <a:lnTo>
                      <a:pt x="96" y="304"/>
                    </a:lnTo>
                    <a:lnTo>
                      <a:pt x="64" y="336"/>
                    </a:lnTo>
                    <a:lnTo>
                      <a:pt x="72" y="360"/>
                    </a:lnTo>
                    <a:lnTo>
                      <a:pt x="64" y="376"/>
                    </a:lnTo>
                    <a:lnTo>
                      <a:pt x="48" y="384"/>
                    </a:lnTo>
                    <a:lnTo>
                      <a:pt x="48" y="408"/>
                    </a:lnTo>
                    <a:lnTo>
                      <a:pt x="40" y="440"/>
                    </a:lnTo>
                    <a:lnTo>
                      <a:pt x="8" y="440"/>
                    </a:lnTo>
                    <a:lnTo>
                      <a:pt x="8" y="472"/>
                    </a:lnTo>
                    <a:lnTo>
                      <a:pt x="24" y="472"/>
                    </a:lnTo>
                    <a:lnTo>
                      <a:pt x="64" y="496"/>
                    </a:lnTo>
                    <a:lnTo>
                      <a:pt x="80" y="512"/>
                    </a:lnTo>
                    <a:lnTo>
                      <a:pt x="80" y="536"/>
                    </a:lnTo>
                    <a:lnTo>
                      <a:pt x="48" y="544"/>
                    </a:lnTo>
                    <a:lnTo>
                      <a:pt x="0" y="544"/>
                    </a:lnTo>
                    <a:lnTo>
                      <a:pt x="0" y="568"/>
                    </a:lnTo>
                    <a:lnTo>
                      <a:pt x="16" y="600"/>
                    </a:lnTo>
                    <a:lnTo>
                      <a:pt x="64" y="608"/>
                    </a:lnTo>
                    <a:lnTo>
                      <a:pt x="96" y="616"/>
                    </a:lnTo>
                    <a:lnTo>
                      <a:pt x="112" y="672"/>
                    </a:lnTo>
                    <a:lnTo>
                      <a:pt x="144" y="696"/>
                    </a:lnTo>
                    <a:lnTo>
                      <a:pt x="192" y="688"/>
                    </a:lnTo>
                    <a:lnTo>
                      <a:pt x="240" y="712"/>
                    </a:lnTo>
                    <a:lnTo>
                      <a:pt x="288" y="720"/>
                    </a:lnTo>
                    <a:lnTo>
                      <a:pt x="304" y="744"/>
                    </a:lnTo>
                    <a:close/>
                  </a:path>
                </a:pathLst>
              </a:custGeom>
              <a:solidFill>
                <a:srgbClr val="4670F8"/>
              </a:solidFill>
              <a:ln w="9525">
                <a:solidFill>
                  <a:schemeClr val="bg1"/>
                </a:solidFill>
                <a:round/>
                <a:headEnd/>
                <a:tailEnd/>
              </a:ln>
            </p:spPr>
            <p:txBody>
              <a:bodyPr/>
              <a:lstStyle/>
              <a:p>
                <a:endParaRPr lang="en-US" sz="1050"/>
              </a:p>
            </p:txBody>
          </p:sp>
          <p:sp>
            <p:nvSpPr>
              <p:cNvPr id="140" name="Freeform 139"/>
              <p:cNvSpPr>
                <a:spLocks/>
              </p:cNvSpPr>
              <p:nvPr/>
            </p:nvSpPr>
            <p:spPr bwMode="auto">
              <a:xfrm>
                <a:off x="2298850" y="3988395"/>
                <a:ext cx="1272829" cy="754732"/>
              </a:xfrm>
              <a:custGeom>
                <a:avLst/>
                <a:gdLst>
                  <a:gd name="T0" fmla="*/ 2147483646 w 1080"/>
                  <a:gd name="T1" fmla="*/ 2147483646 h 696"/>
                  <a:gd name="T2" fmla="*/ 2147483646 w 1080"/>
                  <a:gd name="T3" fmla="*/ 2147483646 h 696"/>
                  <a:gd name="T4" fmla="*/ 2147483646 w 1080"/>
                  <a:gd name="T5" fmla="*/ 2147483646 h 696"/>
                  <a:gd name="T6" fmla="*/ 2147483646 w 1080"/>
                  <a:gd name="T7" fmla="*/ 2147483646 h 696"/>
                  <a:gd name="T8" fmla="*/ 2147483646 w 1080"/>
                  <a:gd name="T9" fmla="*/ 2147483646 h 696"/>
                  <a:gd name="T10" fmla="*/ 2147483646 w 1080"/>
                  <a:gd name="T11" fmla="*/ 2147483646 h 696"/>
                  <a:gd name="T12" fmla="*/ 2147483646 w 1080"/>
                  <a:gd name="T13" fmla="*/ 2147483646 h 696"/>
                  <a:gd name="T14" fmla="*/ 2147483646 w 1080"/>
                  <a:gd name="T15" fmla="*/ 2147483646 h 696"/>
                  <a:gd name="T16" fmla="*/ 2147483646 w 1080"/>
                  <a:gd name="T17" fmla="*/ 2147483646 h 696"/>
                  <a:gd name="T18" fmla="*/ 2147483646 w 1080"/>
                  <a:gd name="T19" fmla="*/ 2147483646 h 696"/>
                  <a:gd name="T20" fmla="*/ 2147483646 w 1080"/>
                  <a:gd name="T21" fmla="*/ 2147483646 h 696"/>
                  <a:gd name="T22" fmla="*/ 2147483646 w 1080"/>
                  <a:gd name="T23" fmla="*/ 2147483646 h 696"/>
                  <a:gd name="T24" fmla="*/ 2147483646 w 1080"/>
                  <a:gd name="T25" fmla="*/ 2147483646 h 696"/>
                  <a:gd name="T26" fmla="*/ 2147483646 w 1080"/>
                  <a:gd name="T27" fmla="*/ 2147483646 h 696"/>
                  <a:gd name="T28" fmla="*/ 2147483646 w 1080"/>
                  <a:gd name="T29" fmla="*/ 2147483646 h 696"/>
                  <a:gd name="T30" fmla="*/ 2147483646 w 1080"/>
                  <a:gd name="T31" fmla="*/ 2147483646 h 696"/>
                  <a:gd name="T32" fmla="*/ 2147483646 w 1080"/>
                  <a:gd name="T33" fmla="*/ 2147483646 h 696"/>
                  <a:gd name="T34" fmla="*/ 2147483646 w 1080"/>
                  <a:gd name="T35" fmla="*/ 2147483646 h 696"/>
                  <a:gd name="T36" fmla="*/ 2147483646 w 1080"/>
                  <a:gd name="T37" fmla="*/ 2147483646 h 696"/>
                  <a:gd name="T38" fmla="*/ 2147483646 w 1080"/>
                  <a:gd name="T39" fmla="*/ 2147483646 h 696"/>
                  <a:gd name="T40" fmla="*/ 2147483646 w 1080"/>
                  <a:gd name="T41" fmla="*/ 2147483646 h 696"/>
                  <a:gd name="T42" fmla="*/ 2147483646 w 1080"/>
                  <a:gd name="T43" fmla="*/ 0 h 696"/>
                  <a:gd name="T44" fmla="*/ 2147483646 w 1080"/>
                  <a:gd name="T45" fmla="*/ 2147483646 h 696"/>
                  <a:gd name="T46" fmla="*/ 2147483646 w 1080"/>
                  <a:gd name="T47" fmla="*/ 2147483646 h 696"/>
                  <a:gd name="T48" fmla="*/ 2147483646 w 1080"/>
                  <a:gd name="T49" fmla="*/ 2147483646 h 696"/>
                  <a:gd name="T50" fmla="*/ 2147483646 w 1080"/>
                  <a:gd name="T51" fmla="*/ 2147483646 h 696"/>
                  <a:gd name="T52" fmla="*/ 2147483646 w 1080"/>
                  <a:gd name="T53" fmla="*/ 2147483646 h 696"/>
                  <a:gd name="T54" fmla="*/ 2147483646 w 1080"/>
                  <a:gd name="T55" fmla="*/ 2147483646 h 696"/>
                  <a:gd name="T56" fmla="*/ 2147483646 w 1080"/>
                  <a:gd name="T57" fmla="*/ 2147483646 h 696"/>
                  <a:gd name="T58" fmla="*/ 2147483646 w 1080"/>
                  <a:gd name="T59" fmla="*/ 2147483646 h 696"/>
                  <a:gd name="T60" fmla="*/ 2147483646 w 1080"/>
                  <a:gd name="T61" fmla="*/ 2147483646 h 696"/>
                  <a:gd name="T62" fmla="*/ 2147483646 w 1080"/>
                  <a:gd name="T63" fmla="*/ 2147483646 h 696"/>
                  <a:gd name="T64" fmla="*/ 2147483646 w 1080"/>
                  <a:gd name="T65" fmla="*/ 2147483646 h 696"/>
                  <a:gd name="T66" fmla="*/ 2147483646 w 1080"/>
                  <a:gd name="T67" fmla="*/ 2147483646 h 696"/>
                  <a:gd name="T68" fmla="*/ 2147483646 w 1080"/>
                  <a:gd name="T69" fmla="*/ 2147483646 h 696"/>
                  <a:gd name="T70" fmla="*/ 2147483646 w 1080"/>
                  <a:gd name="T71" fmla="*/ 2147483646 h 696"/>
                  <a:gd name="T72" fmla="*/ 2147483646 w 1080"/>
                  <a:gd name="T73" fmla="*/ 2147483646 h 6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0"/>
                  <a:gd name="T112" fmla="*/ 0 h 696"/>
                  <a:gd name="T113" fmla="*/ 1080 w 1080"/>
                  <a:gd name="T114" fmla="*/ 696 h 6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0" h="696">
                    <a:moveTo>
                      <a:pt x="536" y="696"/>
                    </a:moveTo>
                    <a:lnTo>
                      <a:pt x="584" y="624"/>
                    </a:lnTo>
                    <a:lnTo>
                      <a:pt x="544" y="568"/>
                    </a:lnTo>
                    <a:lnTo>
                      <a:pt x="584" y="544"/>
                    </a:lnTo>
                    <a:lnTo>
                      <a:pt x="552" y="512"/>
                    </a:lnTo>
                    <a:lnTo>
                      <a:pt x="600" y="496"/>
                    </a:lnTo>
                    <a:lnTo>
                      <a:pt x="616" y="440"/>
                    </a:lnTo>
                    <a:lnTo>
                      <a:pt x="664" y="424"/>
                    </a:lnTo>
                    <a:lnTo>
                      <a:pt x="792" y="488"/>
                    </a:lnTo>
                    <a:lnTo>
                      <a:pt x="832" y="480"/>
                    </a:lnTo>
                    <a:lnTo>
                      <a:pt x="832" y="432"/>
                    </a:lnTo>
                    <a:lnTo>
                      <a:pt x="864" y="424"/>
                    </a:lnTo>
                    <a:lnTo>
                      <a:pt x="904" y="360"/>
                    </a:lnTo>
                    <a:lnTo>
                      <a:pt x="936" y="416"/>
                    </a:lnTo>
                    <a:lnTo>
                      <a:pt x="984" y="376"/>
                    </a:lnTo>
                    <a:lnTo>
                      <a:pt x="1032" y="376"/>
                    </a:lnTo>
                    <a:lnTo>
                      <a:pt x="1080" y="312"/>
                    </a:lnTo>
                    <a:lnTo>
                      <a:pt x="1048" y="256"/>
                    </a:lnTo>
                    <a:lnTo>
                      <a:pt x="1008" y="248"/>
                    </a:lnTo>
                    <a:lnTo>
                      <a:pt x="1008" y="200"/>
                    </a:lnTo>
                    <a:lnTo>
                      <a:pt x="976" y="192"/>
                    </a:lnTo>
                    <a:lnTo>
                      <a:pt x="912" y="232"/>
                    </a:lnTo>
                    <a:lnTo>
                      <a:pt x="840" y="176"/>
                    </a:lnTo>
                    <a:lnTo>
                      <a:pt x="784" y="192"/>
                    </a:lnTo>
                    <a:lnTo>
                      <a:pt x="752" y="160"/>
                    </a:lnTo>
                    <a:lnTo>
                      <a:pt x="720" y="208"/>
                    </a:lnTo>
                    <a:lnTo>
                      <a:pt x="688" y="208"/>
                    </a:lnTo>
                    <a:lnTo>
                      <a:pt x="672" y="168"/>
                    </a:lnTo>
                    <a:lnTo>
                      <a:pt x="624" y="184"/>
                    </a:lnTo>
                    <a:lnTo>
                      <a:pt x="592" y="120"/>
                    </a:lnTo>
                    <a:lnTo>
                      <a:pt x="568" y="120"/>
                    </a:lnTo>
                    <a:lnTo>
                      <a:pt x="552" y="160"/>
                    </a:lnTo>
                    <a:lnTo>
                      <a:pt x="488" y="168"/>
                    </a:lnTo>
                    <a:lnTo>
                      <a:pt x="464" y="152"/>
                    </a:lnTo>
                    <a:lnTo>
                      <a:pt x="432" y="152"/>
                    </a:lnTo>
                    <a:lnTo>
                      <a:pt x="408" y="104"/>
                    </a:lnTo>
                    <a:lnTo>
                      <a:pt x="352" y="120"/>
                    </a:lnTo>
                    <a:lnTo>
                      <a:pt x="280" y="24"/>
                    </a:lnTo>
                    <a:lnTo>
                      <a:pt x="216" y="8"/>
                    </a:lnTo>
                    <a:lnTo>
                      <a:pt x="192" y="32"/>
                    </a:lnTo>
                    <a:lnTo>
                      <a:pt x="176" y="40"/>
                    </a:lnTo>
                    <a:lnTo>
                      <a:pt x="160" y="32"/>
                    </a:lnTo>
                    <a:lnTo>
                      <a:pt x="144" y="8"/>
                    </a:lnTo>
                    <a:lnTo>
                      <a:pt x="112" y="0"/>
                    </a:lnTo>
                    <a:lnTo>
                      <a:pt x="104" y="24"/>
                    </a:lnTo>
                    <a:lnTo>
                      <a:pt x="72" y="24"/>
                    </a:lnTo>
                    <a:lnTo>
                      <a:pt x="48" y="8"/>
                    </a:lnTo>
                    <a:lnTo>
                      <a:pt x="16" y="24"/>
                    </a:lnTo>
                    <a:lnTo>
                      <a:pt x="0" y="32"/>
                    </a:lnTo>
                    <a:lnTo>
                      <a:pt x="24" y="80"/>
                    </a:lnTo>
                    <a:lnTo>
                      <a:pt x="40" y="128"/>
                    </a:lnTo>
                    <a:lnTo>
                      <a:pt x="72" y="152"/>
                    </a:lnTo>
                    <a:lnTo>
                      <a:pt x="96" y="176"/>
                    </a:lnTo>
                    <a:lnTo>
                      <a:pt x="128" y="192"/>
                    </a:lnTo>
                    <a:lnTo>
                      <a:pt x="160" y="224"/>
                    </a:lnTo>
                    <a:lnTo>
                      <a:pt x="176" y="264"/>
                    </a:lnTo>
                    <a:lnTo>
                      <a:pt x="200" y="304"/>
                    </a:lnTo>
                    <a:lnTo>
                      <a:pt x="224" y="296"/>
                    </a:lnTo>
                    <a:lnTo>
                      <a:pt x="240" y="304"/>
                    </a:lnTo>
                    <a:lnTo>
                      <a:pt x="232" y="360"/>
                    </a:lnTo>
                    <a:lnTo>
                      <a:pt x="216" y="384"/>
                    </a:lnTo>
                    <a:lnTo>
                      <a:pt x="216" y="416"/>
                    </a:lnTo>
                    <a:lnTo>
                      <a:pt x="240" y="440"/>
                    </a:lnTo>
                    <a:lnTo>
                      <a:pt x="232" y="456"/>
                    </a:lnTo>
                    <a:lnTo>
                      <a:pt x="216" y="472"/>
                    </a:lnTo>
                    <a:lnTo>
                      <a:pt x="248" y="488"/>
                    </a:lnTo>
                    <a:lnTo>
                      <a:pt x="280" y="536"/>
                    </a:lnTo>
                    <a:lnTo>
                      <a:pt x="312" y="584"/>
                    </a:lnTo>
                    <a:lnTo>
                      <a:pt x="360" y="608"/>
                    </a:lnTo>
                    <a:lnTo>
                      <a:pt x="384" y="600"/>
                    </a:lnTo>
                    <a:lnTo>
                      <a:pt x="408" y="640"/>
                    </a:lnTo>
                    <a:lnTo>
                      <a:pt x="464" y="672"/>
                    </a:lnTo>
                    <a:lnTo>
                      <a:pt x="512" y="688"/>
                    </a:lnTo>
                    <a:lnTo>
                      <a:pt x="536" y="696"/>
                    </a:lnTo>
                    <a:close/>
                  </a:path>
                </a:pathLst>
              </a:custGeom>
              <a:solidFill>
                <a:srgbClr val="C6B89B"/>
              </a:solidFill>
              <a:ln w="9525">
                <a:solidFill>
                  <a:schemeClr val="bg1"/>
                </a:solidFill>
                <a:round/>
                <a:headEnd/>
                <a:tailEnd/>
              </a:ln>
            </p:spPr>
            <p:txBody>
              <a:bodyPr/>
              <a:lstStyle/>
              <a:p>
                <a:endParaRPr lang="en-US" sz="1050"/>
              </a:p>
            </p:txBody>
          </p:sp>
          <p:sp>
            <p:nvSpPr>
              <p:cNvPr id="141" name="Freeform 140"/>
              <p:cNvSpPr>
                <a:spLocks/>
              </p:cNvSpPr>
              <p:nvPr/>
            </p:nvSpPr>
            <p:spPr bwMode="auto">
              <a:xfrm>
                <a:off x="2553416" y="3658742"/>
                <a:ext cx="1112547" cy="581230"/>
              </a:xfrm>
              <a:custGeom>
                <a:avLst/>
                <a:gdLst>
                  <a:gd name="T0" fmla="*/ 0 w 944"/>
                  <a:gd name="T1" fmla="*/ 2147483646 h 536"/>
                  <a:gd name="T2" fmla="*/ 2147483646 w 944"/>
                  <a:gd name="T3" fmla="*/ 2147483646 h 536"/>
                  <a:gd name="T4" fmla="*/ 2147483646 w 944"/>
                  <a:gd name="T5" fmla="*/ 2147483646 h 536"/>
                  <a:gd name="T6" fmla="*/ 2147483646 w 944"/>
                  <a:gd name="T7" fmla="*/ 2147483646 h 536"/>
                  <a:gd name="T8" fmla="*/ 2147483646 w 944"/>
                  <a:gd name="T9" fmla="*/ 2147483646 h 536"/>
                  <a:gd name="T10" fmla="*/ 2147483646 w 944"/>
                  <a:gd name="T11" fmla="*/ 2147483646 h 536"/>
                  <a:gd name="T12" fmla="*/ 2147483646 w 944"/>
                  <a:gd name="T13" fmla="*/ 2147483646 h 536"/>
                  <a:gd name="T14" fmla="*/ 2147483646 w 944"/>
                  <a:gd name="T15" fmla="*/ 2147483646 h 536"/>
                  <a:gd name="T16" fmla="*/ 2147483646 w 944"/>
                  <a:gd name="T17" fmla="*/ 2147483646 h 536"/>
                  <a:gd name="T18" fmla="*/ 2147483646 w 944"/>
                  <a:gd name="T19" fmla="*/ 2147483646 h 536"/>
                  <a:gd name="T20" fmla="*/ 2147483646 w 944"/>
                  <a:gd name="T21" fmla="*/ 2147483646 h 536"/>
                  <a:gd name="T22" fmla="*/ 2147483646 w 944"/>
                  <a:gd name="T23" fmla="*/ 2147483646 h 536"/>
                  <a:gd name="T24" fmla="*/ 2147483646 w 944"/>
                  <a:gd name="T25" fmla="*/ 2147483646 h 536"/>
                  <a:gd name="T26" fmla="*/ 2147483646 w 944"/>
                  <a:gd name="T27" fmla="*/ 2147483646 h 536"/>
                  <a:gd name="T28" fmla="*/ 2147483646 w 944"/>
                  <a:gd name="T29" fmla="*/ 2147483646 h 536"/>
                  <a:gd name="T30" fmla="*/ 2147483646 w 944"/>
                  <a:gd name="T31" fmla="*/ 2147483646 h 536"/>
                  <a:gd name="T32" fmla="*/ 2147483646 w 944"/>
                  <a:gd name="T33" fmla="*/ 2147483646 h 536"/>
                  <a:gd name="T34" fmla="*/ 2147483646 w 944"/>
                  <a:gd name="T35" fmla="*/ 2147483646 h 536"/>
                  <a:gd name="T36" fmla="*/ 2147483646 w 944"/>
                  <a:gd name="T37" fmla="*/ 2147483646 h 536"/>
                  <a:gd name="T38" fmla="*/ 2147483646 w 944"/>
                  <a:gd name="T39" fmla="*/ 2147483646 h 536"/>
                  <a:gd name="T40" fmla="*/ 2147483646 w 944"/>
                  <a:gd name="T41" fmla="*/ 2147483646 h 536"/>
                  <a:gd name="T42" fmla="*/ 2147483646 w 944"/>
                  <a:gd name="T43" fmla="*/ 2147483646 h 536"/>
                  <a:gd name="T44" fmla="*/ 2147483646 w 944"/>
                  <a:gd name="T45" fmla="*/ 2147483646 h 536"/>
                  <a:gd name="T46" fmla="*/ 2147483646 w 944"/>
                  <a:gd name="T47" fmla="*/ 2147483646 h 536"/>
                  <a:gd name="T48" fmla="*/ 2147483646 w 944"/>
                  <a:gd name="T49" fmla="*/ 2147483646 h 536"/>
                  <a:gd name="T50" fmla="*/ 2147483646 w 944"/>
                  <a:gd name="T51" fmla="*/ 2147483646 h 536"/>
                  <a:gd name="T52" fmla="*/ 2147483646 w 944"/>
                  <a:gd name="T53" fmla="*/ 2147483646 h 536"/>
                  <a:gd name="T54" fmla="*/ 2147483646 w 944"/>
                  <a:gd name="T55" fmla="*/ 2147483646 h 536"/>
                  <a:gd name="T56" fmla="*/ 2147483646 w 944"/>
                  <a:gd name="T57" fmla="*/ 2147483646 h 536"/>
                  <a:gd name="T58" fmla="*/ 2147483646 w 944"/>
                  <a:gd name="T59" fmla="*/ 2147483646 h 536"/>
                  <a:gd name="T60" fmla="*/ 2147483646 w 944"/>
                  <a:gd name="T61" fmla="*/ 2147483646 h 536"/>
                  <a:gd name="T62" fmla="*/ 2147483646 w 944"/>
                  <a:gd name="T63" fmla="*/ 2147483646 h 536"/>
                  <a:gd name="T64" fmla="*/ 2147483646 w 944"/>
                  <a:gd name="T65" fmla="*/ 2147483646 h 536"/>
                  <a:gd name="T66" fmla="*/ 2147483646 w 944"/>
                  <a:gd name="T67" fmla="*/ 2147483646 h 536"/>
                  <a:gd name="T68" fmla="*/ 2147483646 w 944"/>
                  <a:gd name="T69" fmla="*/ 2147483646 h 536"/>
                  <a:gd name="T70" fmla="*/ 2147483646 w 944"/>
                  <a:gd name="T71" fmla="*/ 2147483646 h 536"/>
                  <a:gd name="T72" fmla="*/ 2147483646 w 944"/>
                  <a:gd name="T73" fmla="*/ 0 h 536"/>
                  <a:gd name="T74" fmla="*/ 2147483646 w 944"/>
                  <a:gd name="T75" fmla="*/ 0 h 536"/>
                  <a:gd name="T76" fmla="*/ 2147483646 w 944"/>
                  <a:gd name="T77" fmla="*/ 2147483646 h 536"/>
                  <a:gd name="T78" fmla="*/ 2147483646 w 944"/>
                  <a:gd name="T79" fmla="*/ 2147483646 h 536"/>
                  <a:gd name="T80" fmla="*/ 2147483646 w 944"/>
                  <a:gd name="T81" fmla="*/ 2147483646 h 536"/>
                  <a:gd name="T82" fmla="*/ 2147483646 w 944"/>
                  <a:gd name="T83" fmla="*/ 2147483646 h 536"/>
                  <a:gd name="T84" fmla="*/ 2147483646 w 944"/>
                  <a:gd name="T85" fmla="*/ 2147483646 h 536"/>
                  <a:gd name="T86" fmla="*/ 2147483646 w 944"/>
                  <a:gd name="T87" fmla="*/ 2147483646 h 536"/>
                  <a:gd name="T88" fmla="*/ 2147483646 w 944"/>
                  <a:gd name="T89" fmla="*/ 2147483646 h 536"/>
                  <a:gd name="T90" fmla="*/ 2147483646 w 944"/>
                  <a:gd name="T91" fmla="*/ 2147483646 h 536"/>
                  <a:gd name="T92" fmla="*/ 2147483646 w 944"/>
                  <a:gd name="T93" fmla="*/ 2147483646 h 536"/>
                  <a:gd name="T94" fmla="*/ 2147483646 w 944"/>
                  <a:gd name="T95" fmla="*/ 2147483646 h 536"/>
                  <a:gd name="T96" fmla="*/ 2147483646 w 944"/>
                  <a:gd name="T97" fmla="*/ 2147483646 h 536"/>
                  <a:gd name="T98" fmla="*/ 2147483646 w 944"/>
                  <a:gd name="T99" fmla="*/ 2147483646 h 536"/>
                  <a:gd name="T100" fmla="*/ 2147483646 w 944"/>
                  <a:gd name="T101" fmla="*/ 2147483646 h 536"/>
                  <a:gd name="T102" fmla="*/ 2147483646 w 944"/>
                  <a:gd name="T103" fmla="*/ 2147483646 h 536"/>
                  <a:gd name="T104" fmla="*/ 2147483646 w 944"/>
                  <a:gd name="T105" fmla="*/ 2147483646 h 536"/>
                  <a:gd name="T106" fmla="*/ 2147483646 w 944"/>
                  <a:gd name="T107" fmla="*/ 2147483646 h 536"/>
                  <a:gd name="T108" fmla="*/ 2147483646 w 944"/>
                  <a:gd name="T109" fmla="*/ 2147483646 h 536"/>
                  <a:gd name="T110" fmla="*/ 2147483646 w 944"/>
                  <a:gd name="T111" fmla="*/ 2147483646 h 536"/>
                  <a:gd name="T112" fmla="*/ 2147483646 w 944"/>
                  <a:gd name="T113" fmla="*/ 2147483646 h 536"/>
                  <a:gd name="T114" fmla="*/ 2147483646 w 944"/>
                  <a:gd name="T115" fmla="*/ 2147483646 h 536"/>
                  <a:gd name="T116" fmla="*/ 2147483646 w 944"/>
                  <a:gd name="T117" fmla="*/ 2147483646 h 536"/>
                  <a:gd name="T118" fmla="*/ 0 w 944"/>
                  <a:gd name="T119" fmla="*/ 2147483646 h 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4"/>
                  <a:gd name="T181" fmla="*/ 0 h 536"/>
                  <a:gd name="T182" fmla="*/ 944 w 944"/>
                  <a:gd name="T183" fmla="*/ 536 h 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4" h="536">
                    <a:moveTo>
                      <a:pt x="0" y="312"/>
                    </a:moveTo>
                    <a:lnTo>
                      <a:pt x="64" y="328"/>
                    </a:lnTo>
                    <a:lnTo>
                      <a:pt x="136" y="424"/>
                    </a:lnTo>
                    <a:lnTo>
                      <a:pt x="192" y="408"/>
                    </a:lnTo>
                    <a:lnTo>
                      <a:pt x="216" y="456"/>
                    </a:lnTo>
                    <a:lnTo>
                      <a:pt x="248" y="456"/>
                    </a:lnTo>
                    <a:lnTo>
                      <a:pt x="272" y="472"/>
                    </a:lnTo>
                    <a:lnTo>
                      <a:pt x="336" y="464"/>
                    </a:lnTo>
                    <a:lnTo>
                      <a:pt x="352" y="424"/>
                    </a:lnTo>
                    <a:lnTo>
                      <a:pt x="376" y="424"/>
                    </a:lnTo>
                    <a:lnTo>
                      <a:pt x="408" y="488"/>
                    </a:lnTo>
                    <a:lnTo>
                      <a:pt x="456" y="472"/>
                    </a:lnTo>
                    <a:lnTo>
                      <a:pt x="472" y="512"/>
                    </a:lnTo>
                    <a:lnTo>
                      <a:pt x="504" y="512"/>
                    </a:lnTo>
                    <a:lnTo>
                      <a:pt x="536" y="464"/>
                    </a:lnTo>
                    <a:lnTo>
                      <a:pt x="568" y="496"/>
                    </a:lnTo>
                    <a:lnTo>
                      <a:pt x="624" y="480"/>
                    </a:lnTo>
                    <a:lnTo>
                      <a:pt x="696" y="536"/>
                    </a:lnTo>
                    <a:lnTo>
                      <a:pt x="760" y="496"/>
                    </a:lnTo>
                    <a:lnTo>
                      <a:pt x="776" y="464"/>
                    </a:lnTo>
                    <a:lnTo>
                      <a:pt x="808" y="448"/>
                    </a:lnTo>
                    <a:lnTo>
                      <a:pt x="808" y="424"/>
                    </a:lnTo>
                    <a:lnTo>
                      <a:pt x="848" y="400"/>
                    </a:lnTo>
                    <a:lnTo>
                      <a:pt x="856" y="328"/>
                    </a:lnTo>
                    <a:lnTo>
                      <a:pt x="904" y="328"/>
                    </a:lnTo>
                    <a:lnTo>
                      <a:pt x="944" y="224"/>
                    </a:lnTo>
                    <a:lnTo>
                      <a:pt x="896" y="200"/>
                    </a:lnTo>
                    <a:lnTo>
                      <a:pt x="832" y="200"/>
                    </a:lnTo>
                    <a:lnTo>
                      <a:pt x="768" y="128"/>
                    </a:lnTo>
                    <a:lnTo>
                      <a:pt x="728" y="120"/>
                    </a:lnTo>
                    <a:lnTo>
                      <a:pt x="720" y="80"/>
                    </a:lnTo>
                    <a:lnTo>
                      <a:pt x="632" y="40"/>
                    </a:lnTo>
                    <a:lnTo>
                      <a:pt x="608" y="48"/>
                    </a:lnTo>
                    <a:lnTo>
                      <a:pt x="568" y="8"/>
                    </a:lnTo>
                    <a:lnTo>
                      <a:pt x="456" y="24"/>
                    </a:lnTo>
                    <a:lnTo>
                      <a:pt x="424" y="40"/>
                    </a:lnTo>
                    <a:lnTo>
                      <a:pt x="368" y="0"/>
                    </a:lnTo>
                    <a:lnTo>
                      <a:pt x="352" y="0"/>
                    </a:lnTo>
                    <a:lnTo>
                      <a:pt x="344" y="32"/>
                    </a:lnTo>
                    <a:lnTo>
                      <a:pt x="320" y="48"/>
                    </a:lnTo>
                    <a:lnTo>
                      <a:pt x="288" y="40"/>
                    </a:lnTo>
                    <a:lnTo>
                      <a:pt x="272" y="72"/>
                    </a:lnTo>
                    <a:lnTo>
                      <a:pt x="272" y="96"/>
                    </a:lnTo>
                    <a:lnTo>
                      <a:pt x="256" y="112"/>
                    </a:lnTo>
                    <a:lnTo>
                      <a:pt x="280" y="160"/>
                    </a:lnTo>
                    <a:lnTo>
                      <a:pt x="264" y="176"/>
                    </a:lnTo>
                    <a:lnTo>
                      <a:pt x="224" y="176"/>
                    </a:lnTo>
                    <a:lnTo>
                      <a:pt x="216" y="224"/>
                    </a:lnTo>
                    <a:lnTo>
                      <a:pt x="208" y="256"/>
                    </a:lnTo>
                    <a:lnTo>
                      <a:pt x="192" y="256"/>
                    </a:lnTo>
                    <a:lnTo>
                      <a:pt x="160" y="288"/>
                    </a:lnTo>
                    <a:lnTo>
                      <a:pt x="136" y="264"/>
                    </a:lnTo>
                    <a:lnTo>
                      <a:pt x="120" y="264"/>
                    </a:lnTo>
                    <a:lnTo>
                      <a:pt x="104" y="256"/>
                    </a:lnTo>
                    <a:lnTo>
                      <a:pt x="88" y="264"/>
                    </a:lnTo>
                    <a:lnTo>
                      <a:pt x="64" y="248"/>
                    </a:lnTo>
                    <a:lnTo>
                      <a:pt x="32" y="264"/>
                    </a:lnTo>
                    <a:lnTo>
                      <a:pt x="16" y="272"/>
                    </a:lnTo>
                    <a:lnTo>
                      <a:pt x="16" y="296"/>
                    </a:lnTo>
                    <a:lnTo>
                      <a:pt x="0" y="312"/>
                    </a:lnTo>
                    <a:close/>
                  </a:path>
                </a:pathLst>
              </a:custGeom>
              <a:solidFill>
                <a:srgbClr val="C6B89B"/>
              </a:solidFill>
              <a:ln w="9525">
                <a:solidFill>
                  <a:schemeClr val="bg1"/>
                </a:solidFill>
                <a:round/>
                <a:headEnd/>
                <a:tailEnd/>
              </a:ln>
            </p:spPr>
            <p:txBody>
              <a:bodyPr/>
              <a:lstStyle/>
              <a:p>
                <a:endParaRPr lang="en-US" sz="1050"/>
              </a:p>
            </p:txBody>
          </p:sp>
          <p:sp>
            <p:nvSpPr>
              <p:cNvPr id="142" name="Freeform 141"/>
              <p:cNvSpPr>
                <a:spLocks/>
              </p:cNvSpPr>
              <p:nvPr/>
            </p:nvSpPr>
            <p:spPr bwMode="auto">
              <a:xfrm>
                <a:off x="2987119" y="2999436"/>
                <a:ext cx="763697" cy="902208"/>
              </a:xfrm>
              <a:custGeom>
                <a:avLst/>
                <a:gdLst>
                  <a:gd name="T0" fmla="*/ 2147483646 w 648"/>
                  <a:gd name="T1" fmla="*/ 2147483646 h 832"/>
                  <a:gd name="T2" fmla="*/ 2147483646 w 648"/>
                  <a:gd name="T3" fmla="*/ 2147483646 h 832"/>
                  <a:gd name="T4" fmla="*/ 2147483646 w 648"/>
                  <a:gd name="T5" fmla="*/ 2147483646 h 832"/>
                  <a:gd name="T6" fmla="*/ 2147483646 w 648"/>
                  <a:gd name="T7" fmla="*/ 2147483646 h 832"/>
                  <a:gd name="T8" fmla="*/ 2147483646 w 648"/>
                  <a:gd name="T9" fmla="*/ 2147483646 h 832"/>
                  <a:gd name="T10" fmla="*/ 2147483646 w 648"/>
                  <a:gd name="T11" fmla="*/ 2147483646 h 832"/>
                  <a:gd name="T12" fmla="*/ 2147483646 w 648"/>
                  <a:gd name="T13" fmla="*/ 2147483646 h 832"/>
                  <a:gd name="T14" fmla="*/ 2147483646 w 648"/>
                  <a:gd name="T15" fmla="*/ 2147483646 h 832"/>
                  <a:gd name="T16" fmla="*/ 2147483646 w 648"/>
                  <a:gd name="T17" fmla="*/ 2147483646 h 832"/>
                  <a:gd name="T18" fmla="*/ 2147483646 w 648"/>
                  <a:gd name="T19" fmla="*/ 2147483646 h 832"/>
                  <a:gd name="T20" fmla="*/ 2147483646 w 648"/>
                  <a:gd name="T21" fmla="*/ 2147483646 h 832"/>
                  <a:gd name="T22" fmla="*/ 2147483646 w 648"/>
                  <a:gd name="T23" fmla="*/ 2147483646 h 832"/>
                  <a:gd name="T24" fmla="*/ 2147483646 w 648"/>
                  <a:gd name="T25" fmla="*/ 2147483646 h 832"/>
                  <a:gd name="T26" fmla="*/ 2147483646 w 648"/>
                  <a:gd name="T27" fmla="*/ 2147483646 h 832"/>
                  <a:gd name="T28" fmla="*/ 2147483646 w 648"/>
                  <a:gd name="T29" fmla="*/ 2147483646 h 832"/>
                  <a:gd name="T30" fmla="*/ 2147483646 w 648"/>
                  <a:gd name="T31" fmla="*/ 2147483646 h 832"/>
                  <a:gd name="T32" fmla="*/ 2147483646 w 648"/>
                  <a:gd name="T33" fmla="*/ 2147483646 h 832"/>
                  <a:gd name="T34" fmla="*/ 2147483646 w 648"/>
                  <a:gd name="T35" fmla="*/ 2147483646 h 832"/>
                  <a:gd name="T36" fmla="*/ 2147483646 w 648"/>
                  <a:gd name="T37" fmla="*/ 2147483646 h 832"/>
                  <a:gd name="T38" fmla="*/ 2147483646 w 648"/>
                  <a:gd name="T39" fmla="*/ 2147483646 h 832"/>
                  <a:gd name="T40" fmla="*/ 2147483646 w 648"/>
                  <a:gd name="T41" fmla="*/ 2147483646 h 832"/>
                  <a:gd name="T42" fmla="*/ 2147483646 w 648"/>
                  <a:gd name="T43" fmla="*/ 2147483646 h 832"/>
                  <a:gd name="T44" fmla="*/ 2147483646 w 648"/>
                  <a:gd name="T45" fmla="*/ 2147483646 h 832"/>
                  <a:gd name="T46" fmla="*/ 2147483646 w 648"/>
                  <a:gd name="T47" fmla="*/ 2147483646 h 832"/>
                  <a:gd name="T48" fmla="*/ 2147483646 w 648"/>
                  <a:gd name="T49" fmla="*/ 2147483646 h 832"/>
                  <a:gd name="T50" fmla="*/ 2147483646 w 648"/>
                  <a:gd name="T51" fmla="*/ 2147483646 h 832"/>
                  <a:gd name="T52" fmla="*/ 2147483646 w 648"/>
                  <a:gd name="T53" fmla="*/ 2147483646 h 832"/>
                  <a:gd name="T54" fmla="*/ 2147483646 w 648"/>
                  <a:gd name="T55" fmla="*/ 2147483646 h 832"/>
                  <a:gd name="T56" fmla="*/ 2147483646 w 648"/>
                  <a:gd name="T57" fmla="*/ 2147483646 h 832"/>
                  <a:gd name="T58" fmla="*/ 2147483646 w 648"/>
                  <a:gd name="T59" fmla="*/ 2147483646 h 832"/>
                  <a:gd name="T60" fmla="*/ 2147483646 w 648"/>
                  <a:gd name="T61" fmla="*/ 2147483646 h 832"/>
                  <a:gd name="T62" fmla="*/ 2147483646 w 648"/>
                  <a:gd name="T63" fmla="*/ 2147483646 h 832"/>
                  <a:gd name="T64" fmla="*/ 2147483646 w 648"/>
                  <a:gd name="T65" fmla="*/ 2147483646 h 8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832"/>
                  <a:gd name="T101" fmla="*/ 648 w 648"/>
                  <a:gd name="T102" fmla="*/ 832 h 8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832">
                    <a:moveTo>
                      <a:pt x="0" y="608"/>
                    </a:moveTo>
                    <a:lnTo>
                      <a:pt x="56" y="648"/>
                    </a:lnTo>
                    <a:lnTo>
                      <a:pt x="88" y="632"/>
                    </a:lnTo>
                    <a:lnTo>
                      <a:pt x="200" y="616"/>
                    </a:lnTo>
                    <a:lnTo>
                      <a:pt x="240" y="656"/>
                    </a:lnTo>
                    <a:lnTo>
                      <a:pt x="264" y="648"/>
                    </a:lnTo>
                    <a:lnTo>
                      <a:pt x="352" y="688"/>
                    </a:lnTo>
                    <a:lnTo>
                      <a:pt x="360" y="728"/>
                    </a:lnTo>
                    <a:lnTo>
                      <a:pt x="400" y="736"/>
                    </a:lnTo>
                    <a:lnTo>
                      <a:pt x="464" y="808"/>
                    </a:lnTo>
                    <a:lnTo>
                      <a:pt x="528" y="808"/>
                    </a:lnTo>
                    <a:lnTo>
                      <a:pt x="576" y="832"/>
                    </a:lnTo>
                    <a:lnTo>
                      <a:pt x="592" y="784"/>
                    </a:lnTo>
                    <a:lnTo>
                      <a:pt x="560" y="712"/>
                    </a:lnTo>
                    <a:lnTo>
                      <a:pt x="592" y="672"/>
                    </a:lnTo>
                    <a:lnTo>
                      <a:pt x="632" y="656"/>
                    </a:lnTo>
                    <a:lnTo>
                      <a:pt x="624" y="608"/>
                    </a:lnTo>
                    <a:lnTo>
                      <a:pt x="560" y="544"/>
                    </a:lnTo>
                    <a:lnTo>
                      <a:pt x="616" y="536"/>
                    </a:lnTo>
                    <a:lnTo>
                      <a:pt x="648" y="472"/>
                    </a:lnTo>
                    <a:lnTo>
                      <a:pt x="616" y="448"/>
                    </a:lnTo>
                    <a:lnTo>
                      <a:pt x="640" y="408"/>
                    </a:lnTo>
                    <a:lnTo>
                      <a:pt x="632" y="376"/>
                    </a:lnTo>
                    <a:lnTo>
                      <a:pt x="592" y="368"/>
                    </a:lnTo>
                    <a:lnTo>
                      <a:pt x="552" y="312"/>
                    </a:lnTo>
                    <a:lnTo>
                      <a:pt x="528" y="312"/>
                    </a:lnTo>
                    <a:lnTo>
                      <a:pt x="512" y="280"/>
                    </a:lnTo>
                    <a:lnTo>
                      <a:pt x="568" y="248"/>
                    </a:lnTo>
                    <a:lnTo>
                      <a:pt x="568" y="216"/>
                    </a:lnTo>
                    <a:lnTo>
                      <a:pt x="600" y="208"/>
                    </a:lnTo>
                    <a:lnTo>
                      <a:pt x="592" y="168"/>
                    </a:lnTo>
                    <a:lnTo>
                      <a:pt x="552" y="128"/>
                    </a:lnTo>
                    <a:lnTo>
                      <a:pt x="496" y="136"/>
                    </a:lnTo>
                    <a:lnTo>
                      <a:pt x="464" y="96"/>
                    </a:lnTo>
                    <a:lnTo>
                      <a:pt x="424" y="96"/>
                    </a:lnTo>
                    <a:lnTo>
                      <a:pt x="432" y="40"/>
                    </a:lnTo>
                    <a:lnTo>
                      <a:pt x="352" y="0"/>
                    </a:lnTo>
                    <a:lnTo>
                      <a:pt x="320" y="24"/>
                    </a:lnTo>
                    <a:lnTo>
                      <a:pt x="264" y="40"/>
                    </a:lnTo>
                    <a:lnTo>
                      <a:pt x="256" y="72"/>
                    </a:lnTo>
                    <a:lnTo>
                      <a:pt x="272" y="120"/>
                    </a:lnTo>
                    <a:lnTo>
                      <a:pt x="264" y="152"/>
                    </a:lnTo>
                    <a:lnTo>
                      <a:pt x="240" y="168"/>
                    </a:lnTo>
                    <a:lnTo>
                      <a:pt x="216" y="168"/>
                    </a:lnTo>
                    <a:lnTo>
                      <a:pt x="208" y="184"/>
                    </a:lnTo>
                    <a:lnTo>
                      <a:pt x="200" y="200"/>
                    </a:lnTo>
                    <a:lnTo>
                      <a:pt x="192" y="208"/>
                    </a:lnTo>
                    <a:lnTo>
                      <a:pt x="192" y="232"/>
                    </a:lnTo>
                    <a:lnTo>
                      <a:pt x="184" y="240"/>
                    </a:lnTo>
                    <a:lnTo>
                      <a:pt x="184" y="264"/>
                    </a:lnTo>
                    <a:lnTo>
                      <a:pt x="168" y="296"/>
                    </a:lnTo>
                    <a:lnTo>
                      <a:pt x="152" y="312"/>
                    </a:lnTo>
                    <a:lnTo>
                      <a:pt x="128" y="328"/>
                    </a:lnTo>
                    <a:lnTo>
                      <a:pt x="112" y="344"/>
                    </a:lnTo>
                    <a:lnTo>
                      <a:pt x="96" y="360"/>
                    </a:lnTo>
                    <a:lnTo>
                      <a:pt x="88" y="376"/>
                    </a:lnTo>
                    <a:lnTo>
                      <a:pt x="104" y="400"/>
                    </a:lnTo>
                    <a:lnTo>
                      <a:pt x="96" y="424"/>
                    </a:lnTo>
                    <a:lnTo>
                      <a:pt x="80" y="448"/>
                    </a:lnTo>
                    <a:lnTo>
                      <a:pt x="56" y="448"/>
                    </a:lnTo>
                    <a:lnTo>
                      <a:pt x="72" y="480"/>
                    </a:lnTo>
                    <a:lnTo>
                      <a:pt x="40" y="504"/>
                    </a:lnTo>
                    <a:lnTo>
                      <a:pt x="24" y="520"/>
                    </a:lnTo>
                    <a:lnTo>
                      <a:pt x="8" y="544"/>
                    </a:lnTo>
                    <a:lnTo>
                      <a:pt x="0" y="568"/>
                    </a:lnTo>
                    <a:lnTo>
                      <a:pt x="32" y="576"/>
                    </a:lnTo>
                    <a:lnTo>
                      <a:pt x="0" y="608"/>
                    </a:lnTo>
                    <a:close/>
                  </a:path>
                </a:pathLst>
              </a:custGeom>
              <a:solidFill>
                <a:srgbClr val="4670F8"/>
              </a:solidFill>
              <a:ln w="9525">
                <a:solidFill>
                  <a:schemeClr val="bg1"/>
                </a:solidFill>
                <a:round/>
                <a:headEnd/>
                <a:tailEnd/>
              </a:ln>
            </p:spPr>
            <p:txBody>
              <a:bodyPr/>
              <a:lstStyle/>
              <a:p>
                <a:endParaRPr lang="en-US" sz="1050"/>
              </a:p>
            </p:txBody>
          </p:sp>
          <p:sp>
            <p:nvSpPr>
              <p:cNvPr id="143" name="Freeform 142"/>
              <p:cNvSpPr>
                <a:spLocks/>
              </p:cNvSpPr>
              <p:nvPr/>
            </p:nvSpPr>
            <p:spPr bwMode="auto">
              <a:xfrm>
                <a:off x="3401967" y="2652433"/>
                <a:ext cx="791982" cy="572555"/>
              </a:xfrm>
              <a:custGeom>
                <a:avLst/>
                <a:gdLst>
                  <a:gd name="T0" fmla="*/ 0 w 672"/>
                  <a:gd name="T1" fmla="*/ 2147483646 h 528"/>
                  <a:gd name="T2" fmla="*/ 2147483646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2147483646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0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2147483646 w 672"/>
                  <a:gd name="T79" fmla="*/ 2147483646 h 528"/>
                  <a:gd name="T80" fmla="*/ 2147483646 w 672"/>
                  <a:gd name="T81" fmla="*/ 2147483646 h 528"/>
                  <a:gd name="T82" fmla="*/ 2147483646 w 672"/>
                  <a:gd name="T83" fmla="*/ 2147483646 h 528"/>
                  <a:gd name="T84" fmla="*/ 2147483646 w 672"/>
                  <a:gd name="T85" fmla="*/ 2147483646 h 528"/>
                  <a:gd name="T86" fmla="*/ 2147483646 w 672"/>
                  <a:gd name="T87" fmla="*/ 2147483646 h 528"/>
                  <a:gd name="T88" fmla="*/ 2147483646 w 672"/>
                  <a:gd name="T89" fmla="*/ 2147483646 h 528"/>
                  <a:gd name="T90" fmla="*/ 2147483646 w 672"/>
                  <a:gd name="T91" fmla="*/ 2147483646 h 528"/>
                  <a:gd name="T92" fmla="*/ 2147483646 w 672"/>
                  <a:gd name="T93" fmla="*/ 2147483646 h 528"/>
                  <a:gd name="T94" fmla="*/ 2147483646 w 672"/>
                  <a:gd name="T95" fmla="*/ 2147483646 h 528"/>
                  <a:gd name="T96" fmla="*/ 2147483646 w 672"/>
                  <a:gd name="T97" fmla="*/ 2147483646 h 528"/>
                  <a:gd name="T98" fmla="*/ 2147483646 w 672"/>
                  <a:gd name="T99" fmla="*/ 2147483646 h 528"/>
                  <a:gd name="T100" fmla="*/ 2147483646 w 672"/>
                  <a:gd name="T101" fmla="*/ 2147483646 h 528"/>
                  <a:gd name="T102" fmla="*/ 2147483646 w 672"/>
                  <a:gd name="T103" fmla="*/ 2147483646 h 528"/>
                  <a:gd name="T104" fmla="*/ 0 w 672"/>
                  <a:gd name="T105" fmla="*/ 2147483646 h 5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28"/>
                  <a:gd name="T161" fmla="*/ 672 w 672"/>
                  <a:gd name="T162" fmla="*/ 528 h 5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28">
                    <a:moveTo>
                      <a:pt x="0" y="320"/>
                    </a:moveTo>
                    <a:lnTo>
                      <a:pt x="80" y="360"/>
                    </a:lnTo>
                    <a:lnTo>
                      <a:pt x="72" y="416"/>
                    </a:lnTo>
                    <a:lnTo>
                      <a:pt x="112" y="416"/>
                    </a:lnTo>
                    <a:lnTo>
                      <a:pt x="144" y="456"/>
                    </a:lnTo>
                    <a:lnTo>
                      <a:pt x="200" y="448"/>
                    </a:lnTo>
                    <a:lnTo>
                      <a:pt x="240" y="488"/>
                    </a:lnTo>
                    <a:lnTo>
                      <a:pt x="336" y="456"/>
                    </a:lnTo>
                    <a:lnTo>
                      <a:pt x="320" y="488"/>
                    </a:lnTo>
                    <a:lnTo>
                      <a:pt x="352" y="488"/>
                    </a:lnTo>
                    <a:lnTo>
                      <a:pt x="408" y="528"/>
                    </a:lnTo>
                    <a:lnTo>
                      <a:pt x="440" y="488"/>
                    </a:lnTo>
                    <a:lnTo>
                      <a:pt x="440" y="480"/>
                    </a:lnTo>
                    <a:lnTo>
                      <a:pt x="376" y="480"/>
                    </a:lnTo>
                    <a:lnTo>
                      <a:pt x="376" y="440"/>
                    </a:lnTo>
                    <a:lnTo>
                      <a:pt x="408" y="432"/>
                    </a:lnTo>
                    <a:lnTo>
                      <a:pt x="400" y="384"/>
                    </a:lnTo>
                    <a:lnTo>
                      <a:pt x="448" y="336"/>
                    </a:lnTo>
                    <a:lnTo>
                      <a:pt x="512" y="368"/>
                    </a:lnTo>
                    <a:lnTo>
                      <a:pt x="520" y="304"/>
                    </a:lnTo>
                    <a:lnTo>
                      <a:pt x="544" y="264"/>
                    </a:lnTo>
                    <a:lnTo>
                      <a:pt x="472" y="256"/>
                    </a:lnTo>
                    <a:lnTo>
                      <a:pt x="480" y="224"/>
                    </a:lnTo>
                    <a:lnTo>
                      <a:pt x="632" y="200"/>
                    </a:lnTo>
                    <a:lnTo>
                      <a:pt x="672" y="128"/>
                    </a:lnTo>
                    <a:lnTo>
                      <a:pt x="624" y="112"/>
                    </a:lnTo>
                    <a:lnTo>
                      <a:pt x="624" y="72"/>
                    </a:lnTo>
                    <a:lnTo>
                      <a:pt x="592" y="96"/>
                    </a:lnTo>
                    <a:lnTo>
                      <a:pt x="568" y="80"/>
                    </a:lnTo>
                    <a:lnTo>
                      <a:pt x="536" y="80"/>
                    </a:lnTo>
                    <a:lnTo>
                      <a:pt x="520" y="56"/>
                    </a:lnTo>
                    <a:lnTo>
                      <a:pt x="488" y="16"/>
                    </a:lnTo>
                    <a:lnTo>
                      <a:pt x="464" y="16"/>
                    </a:lnTo>
                    <a:lnTo>
                      <a:pt x="448" y="0"/>
                    </a:lnTo>
                    <a:lnTo>
                      <a:pt x="424" y="24"/>
                    </a:lnTo>
                    <a:lnTo>
                      <a:pt x="416" y="56"/>
                    </a:lnTo>
                    <a:lnTo>
                      <a:pt x="384" y="88"/>
                    </a:lnTo>
                    <a:lnTo>
                      <a:pt x="352" y="64"/>
                    </a:lnTo>
                    <a:lnTo>
                      <a:pt x="344" y="96"/>
                    </a:lnTo>
                    <a:lnTo>
                      <a:pt x="320" y="96"/>
                    </a:lnTo>
                    <a:lnTo>
                      <a:pt x="304" y="136"/>
                    </a:lnTo>
                    <a:lnTo>
                      <a:pt x="256" y="152"/>
                    </a:lnTo>
                    <a:lnTo>
                      <a:pt x="280" y="184"/>
                    </a:lnTo>
                    <a:lnTo>
                      <a:pt x="240" y="184"/>
                    </a:lnTo>
                    <a:lnTo>
                      <a:pt x="216" y="216"/>
                    </a:lnTo>
                    <a:lnTo>
                      <a:pt x="168" y="224"/>
                    </a:lnTo>
                    <a:lnTo>
                      <a:pt x="136" y="200"/>
                    </a:lnTo>
                    <a:lnTo>
                      <a:pt x="112" y="200"/>
                    </a:lnTo>
                    <a:lnTo>
                      <a:pt x="104" y="232"/>
                    </a:lnTo>
                    <a:lnTo>
                      <a:pt x="80" y="248"/>
                    </a:lnTo>
                    <a:lnTo>
                      <a:pt x="56" y="232"/>
                    </a:lnTo>
                    <a:lnTo>
                      <a:pt x="24" y="264"/>
                    </a:lnTo>
                    <a:lnTo>
                      <a:pt x="0" y="320"/>
                    </a:lnTo>
                    <a:close/>
                  </a:path>
                </a:pathLst>
              </a:custGeom>
              <a:solidFill>
                <a:srgbClr val="C6CFEB"/>
              </a:solidFill>
              <a:ln w="9525">
                <a:solidFill>
                  <a:schemeClr val="bg1"/>
                </a:solidFill>
                <a:round/>
                <a:headEnd/>
                <a:tailEnd/>
              </a:ln>
            </p:spPr>
            <p:txBody>
              <a:bodyPr/>
              <a:lstStyle/>
              <a:p>
                <a:endParaRPr lang="en-US" sz="1050"/>
              </a:p>
            </p:txBody>
          </p:sp>
          <p:sp>
            <p:nvSpPr>
              <p:cNvPr id="144" name="Freeform 143"/>
              <p:cNvSpPr>
                <a:spLocks/>
              </p:cNvSpPr>
              <p:nvPr/>
            </p:nvSpPr>
            <p:spPr bwMode="auto">
              <a:xfrm>
                <a:off x="5155642" y="4526249"/>
                <a:ext cx="641128" cy="589905"/>
              </a:xfrm>
              <a:custGeom>
                <a:avLst/>
                <a:gdLst>
                  <a:gd name="T0" fmla="*/ 2147483646 w 544"/>
                  <a:gd name="T1" fmla="*/ 2147483646 h 544"/>
                  <a:gd name="T2" fmla="*/ 2147483646 w 544"/>
                  <a:gd name="T3" fmla="*/ 2147483646 h 544"/>
                  <a:gd name="T4" fmla="*/ 2147483646 w 544"/>
                  <a:gd name="T5" fmla="*/ 2147483646 h 544"/>
                  <a:gd name="T6" fmla="*/ 2147483646 w 544"/>
                  <a:gd name="T7" fmla="*/ 2147483646 h 544"/>
                  <a:gd name="T8" fmla="*/ 2147483646 w 544"/>
                  <a:gd name="T9" fmla="*/ 2147483646 h 544"/>
                  <a:gd name="T10" fmla="*/ 2147483646 w 544"/>
                  <a:gd name="T11" fmla="*/ 2147483646 h 544"/>
                  <a:gd name="T12" fmla="*/ 2147483646 w 544"/>
                  <a:gd name="T13" fmla="*/ 2147483646 h 544"/>
                  <a:gd name="T14" fmla="*/ 2147483646 w 544"/>
                  <a:gd name="T15" fmla="*/ 2147483646 h 544"/>
                  <a:gd name="T16" fmla="*/ 2147483646 w 544"/>
                  <a:gd name="T17" fmla="*/ 2147483646 h 544"/>
                  <a:gd name="T18" fmla="*/ 2147483646 w 544"/>
                  <a:gd name="T19" fmla="*/ 2147483646 h 544"/>
                  <a:gd name="T20" fmla="*/ 2147483646 w 544"/>
                  <a:gd name="T21" fmla="*/ 2147483646 h 544"/>
                  <a:gd name="T22" fmla="*/ 2147483646 w 544"/>
                  <a:gd name="T23" fmla="*/ 2147483646 h 544"/>
                  <a:gd name="T24" fmla="*/ 2147483646 w 544"/>
                  <a:gd name="T25" fmla="*/ 2147483646 h 544"/>
                  <a:gd name="T26" fmla="*/ 2147483646 w 544"/>
                  <a:gd name="T27" fmla="*/ 2147483646 h 544"/>
                  <a:gd name="T28" fmla="*/ 2147483646 w 544"/>
                  <a:gd name="T29" fmla="*/ 2147483646 h 544"/>
                  <a:gd name="T30" fmla="*/ 2147483646 w 544"/>
                  <a:gd name="T31" fmla="*/ 2147483646 h 544"/>
                  <a:gd name="T32" fmla="*/ 2147483646 w 544"/>
                  <a:gd name="T33" fmla="*/ 2147483646 h 544"/>
                  <a:gd name="T34" fmla="*/ 2147483646 w 544"/>
                  <a:gd name="T35" fmla="*/ 0 h 544"/>
                  <a:gd name="T36" fmla="*/ 2147483646 w 544"/>
                  <a:gd name="T37" fmla="*/ 2147483646 h 544"/>
                  <a:gd name="T38" fmla="*/ 2147483646 w 544"/>
                  <a:gd name="T39" fmla="*/ 2147483646 h 544"/>
                  <a:gd name="T40" fmla="*/ 2147483646 w 544"/>
                  <a:gd name="T41" fmla="*/ 2147483646 h 544"/>
                  <a:gd name="T42" fmla="*/ 2147483646 w 544"/>
                  <a:gd name="T43" fmla="*/ 2147483646 h 544"/>
                  <a:gd name="T44" fmla="*/ 2147483646 w 544"/>
                  <a:gd name="T45" fmla="*/ 2147483646 h 544"/>
                  <a:gd name="T46" fmla="*/ 2147483646 w 544"/>
                  <a:gd name="T47" fmla="*/ 2147483646 h 544"/>
                  <a:gd name="T48" fmla="*/ 0 w 544"/>
                  <a:gd name="T49" fmla="*/ 2147483646 h 544"/>
                  <a:gd name="T50" fmla="*/ 2147483646 w 544"/>
                  <a:gd name="T51" fmla="*/ 2147483646 h 544"/>
                  <a:gd name="T52" fmla="*/ 2147483646 w 544"/>
                  <a:gd name="T53" fmla="*/ 2147483646 h 544"/>
                  <a:gd name="T54" fmla="*/ 2147483646 w 544"/>
                  <a:gd name="T55" fmla="*/ 2147483646 h 544"/>
                  <a:gd name="T56" fmla="*/ 2147483646 w 544"/>
                  <a:gd name="T57" fmla="*/ 2147483646 h 544"/>
                  <a:gd name="T58" fmla="*/ 2147483646 w 544"/>
                  <a:gd name="T59" fmla="*/ 2147483646 h 544"/>
                  <a:gd name="T60" fmla="*/ 2147483646 w 544"/>
                  <a:gd name="T61" fmla="*/ 2147483646 h 544"/>
                  <a:gd name="T62" fmla="*/ 2147483646 w 544"/>
                  <a:gd name="T63" fmla="*/ 2147483646 h 544"/>
                  <a:gd name="T64" fmla="*/ 2147483646 w 544"/>
                  <a:gd name="T65" fmla="*/ 2147483646 h 544"/>
                  <a:gd name="T66" fmla="*/ 2147483646 w 544"/>
                  <a:gd name="T67" fmla="*/ 2147483646 h 544"/>
                  <a:gd name="T68" fmla="*/ 2147483646 w 544"/>
                  <a:gd name="T69" fmla="*/ 2147483646 h 544"/>
                  <a:gd name="T70" fmla="*/ 2147483646 w 544"/>
                  <a:gd name="T71" fmla="*/ 2147483646 h 544"/>
                  <a:gd name="T72" fmla="*/ 2147483646 w 544"/>
                  <a:gd name="T73" fmla="*/ 2147483646 h 5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4"/>
                  <a:gd name="T112" fmla="*/ 0 h 544"/>
                  <a:gd name="T113" fmla="*/ 544 w 544"/>
                  <a:gd name="T114" fmla="*/ 544 h 5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4" h="544">
                    <a:moveTo>
                      <a:pt x="368" y="544"/>
                    </a:moveTo>
                    <a:lnTo>
                      <a:pt x="400" y="504"/>
                    </a:lnTo>
                    <a:lnTo>
                      <a:pt x="488" y="496"/>
                    </a:lnTo>
                    <a:lnTo>
                      <a:pt x="504" y="464"/>
                    </a:lnTo>
                    <a:lnTo>
                      <a:pt x="544" y="456"/>
                    </a:lnTo>
                    <a:lnTo>
                      <a:pt x="496" y="392"/>
                    </a:lnTo>
                    <a:lnTo>
                      <a:pt x="528" y="384"/>
                    </a:lnTo>
                    <a:lnTo>
                      <a:pt x="520" y="344"/>
                    </a:lnTo>
                    <a:lnTo>
                      <a:pt x="464" y="328"/>
                    </a:lnTo>
                    <a:lnTo>
                      <a:pt x="448" y="248"/>
                    </a:lnTo>
                    <a:lnTo>
                      <a:pt x="400" y="264"/>
                    </a:lnTo>
                    <a:lnTo>
                      <a:pt x="392" y="232"/>
                    </a:lnTo>
                    <a:lnTo>
                      <a:pt x="352" y="224"/>
                    </a:lnTo>
                    <a:lnTo>
                      <a:pt x="360" y="160"/>
                    </a:lnTo>
                    <a:lnTo>
                      <a:pt x="320" y="136"/>
                    </a:lnTo>
                    <a:lnTo>
                      <a:pt x="320" y="72"/>
                    </a:lnTo>
                    <a:lnTo>
                      <a:pt x="288" y="40"/>
                    </a:lnTo>
                    <a:lnTo>
                      <a:pt x="224" y="0"/>
                    </a:lnTo>
                    <a:lnTo>
                      <a:pt x="184" y="72"/>
                    </a:lnTo>
                    <a:lnTo>
                      <a:pt x="104" y="32"/>
                    </a:lnTo>
                    <a:lnTo>
                      <a:pt x="64" y="32"/>
                    </a:lnTo>
                    <a:lnTo>
                      <a:pt x="48" y="48"/>
                    </a:lnTo>
                    <a:lnTo>
                      <a:pt x="16" y="32"/>
                    </a:lnTo>
                    <a:lnTo>
                      <a:pt x="8" y="64"/>
                    </a:lnTo>
                    <a:lnTo>
                      <a:pt x="0" y="120"/>
                    </a:lnTo>
                    <a:lnTo>
                      <a:pt x="64" y="176"/>
                    </a:lnTo>
                    <a:lnTo>
                      <a:pt x="32" y="224"/>
                    </a:lnTo>
                    <a:lnTo>
                      <a:pt x="112" y="304"/>
                    </a:lnTo>
                    <a:lnTo>
                      <a:pt x="104" y="368"/>
                    </a:lnTo>
                    <a:lnTo>
                      <a:pt x="160" y="384"/>
                    </a:lnTo>
                    <a:lnTo>
                      <a:pt x="160" y="480"/>
                    </a:lnTo>
                    <a:lnTo>
                      <a:pt x="192" y="480"/>
                    </a:lnTo>
                    <a:lnTo>
                      <a:pt x="224" y="520"/>
                    </a:lnTo>
                    <a:lnTo>
                      <a:pt x="224" y="544"/>
                    </a:lnTo>
                    <a:lnTo>
                      <a:pt x="304" y="544"/>
                    </a:lnTo>
                    <a:lnTo>
                      <a:pt x="328" y="528"/>
                    </a:lnTo>
                    <a:lnTo>
                      <a:pt x="368" y="544"/>
                    </a:lnTo>
                    <a:close/>
                  </a:path>
                </a:pathLst>
              </a:custGeom>
              <a:solidFill>
                <a:srgbClr val="9950A8"/>
              </a:solidFill>
              <a:ln w="9525">
                <a:solidFill>
                  <a:schemeClr val="bg1"/>
                </a:solidFill>
                <a:round/>
                <a:headEnd/>
                <a:tailEnd/>
              </a:ln>
            </p:spPr>
            <p:txBody>
              <a:bodyPr/>
              <a:lstStyle/>
              <a:p>
                <a:endParaRPr lang="en-US" sz="1050"/>
              </a:p>
            </p:txBody>
          </p:sp>
          <p:sp>
            <p:nvSpPr>
              <p:cNvPr id="145" name="Freeform 6"/>
              <p:cNvSpPr>
                <a:spLocks/>
              </p:cNvSpPr>
              <p:nvPr/>
            </p:nvSpPr>
            <p:spPr bwMode="auto">
              <a:xfrm>
                <a:off x="4882219" y="2756534"/>
                <a:ext cx="933408" cy="641956"/>
              </a:xfrm>
              <a:custGeom>
                <a:avLst/>
                <a:gdLst>
                  <a:gd name="T0" fmla="*/ 2147483646 w 792"/>
                  <a:gd name="T1" fmla="*/ 2147483646 h 592"/>
                  <a:gd name="T2" fmla="*/ 2147483646 w 792"/>
                  <a:gd name="T3" fmla="*/ 2147483646 h 592"/>
                  <a:gd name="T4" fmla="*/ 2147483646 w 792"/>
                  <a:gd name="T5" fmla="*/ 2147483646 h 592"/>
                  <a:gd name="T6" fmla="*/ 2147483646 w 792"/>
                  <a:gd name="T7" fmla="*/ 2147483646 h 592"/>
                  <a:gd name="T8" fmla="*/ 2147483646 w 792"/>
                  <a:gd name="T9" fmla="*/ 2147483646 h 592"/>
                  <a:gd name="T10" fmla="*/ 2147483646 w 792"/>
                  <a:gd name="T11" fmla="*/ 2147483646 h 592"/>
                  <a:gd name="T12" fmla="*/ 2147483646 w 792"/>
                  <a:gd name="T13" fmla="*/ 2147483646 h 592"/>
                  <a:gd name="T14" fmla="*/ 2147483646 w 792"/>
                  <a:gd name="T15" fmla="*/ 2147483646 h 592"/>
                  <a:gd name="T16" fmla="*/ 2147483646 w 792"/>
                  <a:gd name="T17" fmla="*/ 2147483646 h 592"/>
                  <a:gd name="T18" fmla="*/ 2147483646 w 792"/>
                  <a:gd name="T19" fmla="*/ 2147483646 h 592"/>
                  <a:gd name="T20" fmla="*/ 2147483646 w 792"/>
                  <a:gd name="T21" fmla="*/ 2147483646 h 592"/>
                  <a:gd name="T22" fmla="*/ 2147483646 w 792"/>
                  <a:gd name="T23" fmla="*/ 2147483646 h 592"/>
                  <a:gd name="T24" fmla="*/ 2147483646 w 792"/>
                  <a:gd name="T25" fmla="*/ 2147483646 h 592"/>
                  <a:gd name="T26" fmla="*/ 2147483646 w 792"/>
                  <a:gd name="T27" fmla="*/ 2147483646 h 592"/>
                  <a:gd name="T28" fmla="*/ 2147483646 w 792"/>
                  <a:gd name="T29" fmla="*/ 2147483646 h 592"/>
                  <a:gd name="T30" fmla="*/ 2147483646 w 792"/>
                  <a:gd name="T31" fmla="*/ 2147483646 h 592"/>
                  <a:gd name="T32" fmla="*/ 2147483646 w 792"/>
                  <a:gd name="T33" fmla="*/ 2147483646 h 592"/>
                  <a:gd name="T34" fmla="*/ 2147483646 w 792"/>
                  <a:gd name="T35" fmla="*/ 2147483646 h 592"/>
                  <a:gd name="T36" fmla="*/ 2147483646 w 792"/>
                  <a:gd name="T37" fmla="*/ 2147483646 h 592"/>
                  <a:gd name="T38" fmla="*/ 2147483646 w 792"/>
                  <a:gd name="T39" fmla="*/ 2147483646 h 592"/>
                  <a:gd name="T40" fmla="*/ 2147483646 w 792"/>
                  <a:gd name="T41" fmla="*/ 2147483646 h 592"/>
                  <a:gd name="T42" fmla="*/ 2147483646 w 792"/>
                  <a:gd name="T43" fmla="*/ 2147483646 h 592"/>
                  <a:gd name="T44" fmla="*/ 2147483646 w 792"/>
                  <a:gd name="T45" fmla="*/ 2147483646 h 592"/>
                  <a:gd name="T46" fmla="*/ 2147483646 w 792"/>
                  <a:gd name="T47" fmla="*/ 2147483646 h 592"/>
                  <a:gd name="T48" fmla="*/ 2147483646 w 792"/>
                  <a:gd name="T49" fmla="*/ 2147483646 h 592"/>
                  <a:gd name="T50" fmla="*/ 2147483646 w 792"/>
                  <a:gd name="T51" fmla="*/ 2147483646 h 592"/>
                  <a:gd name="T52" fmla="*/ 2147483646 w 792"/>
                  <a:gd name="T53" fmla="*/ 2147483646 h 592"/>
                  <a:gd name="T54" fmla="*/ 2147483646 w 792"/>
                  <a:gd name="T55" fmla="*/ 2147483646 h 592"/>
                  <a:gd name="T56" fmla="*/ 2147483646 w 792"/>
                  <a:gd name="T57" fmla="*/ 2147483646 h 592"/>
                  <a:gd name="T58" fmla="*/ 2147483646 w 792"/>
                  <a:gd name="T59" fmla="*/ 2147483646 h 592"/>
                  <a:gd name="T60" fmla="*/ 2147483646 w 792"/>
                  <a:gd name="T61" fmla="*/ 2147483646 h 592"/>
                  <a:gd name="T62" fmla="*/ 2147483646 w 792"/>
                  <a:gd name="T63" fmla="*/ 2147483646 h 592"/>
                  <a:gd name="T64" fmla="*/ 2147483646 w 792"/>
                  <a:gd name="T65" fmla="*/ 2147483646 h 592"/>
                  <a:gd name="T66" fmla="*/ 2147483646 w 792"/>
                  <a:gd name="T67" fmla="*/ 2147483646 h 592"/>
                  <a:gd name="T68" fmla="*/ 2147483646 w 792"/>
                  <a:gd name="T69" fmla="*/ 2147483646 h 592"/>
                  <a:gd name="T70" fmla="*/ 2147483646 w 792"/>
                  <a:gd name="T71" fmla="*/ 2147483646 h 592"/>
                  <a:gd name="T72" fmla="*/ 2147483646 w 792"/>
                  <a:gd name="T73" fmla="*/ 2147483646 h 592"/>
                  <a:gd name="T74" fmla="*/ 2147483646 w 792"/>
                  <a:gd name="T75" fmla="*/ 2147483646 h 592"/>
                  <a:gd name="T76" fmla="*/ 2147483646 w 792"/>
                  <a:gd name="T77" fmla="*/ 2147483646 h 592"/>
                  <a:gd name="T78" fmla="*/ 0 w 792"/>
                  <a:gd name="T79" fmla="*/ 2147483646 h 592"/>
                  <a:gd name="T80" fmla="*/ 2147483646 w 792"/>
                  <a:gd name="T81" fmla="*/ 2147483646 h 592"/>
                  <a:gd name="T82" fmla="*/ 2147483646 w 792"/>
                  <a:gd name="T83" fmla="*/ 2147483646 h 592"/>
                  <a:gd name="T84" fmla="*/ 2147483646 w 792"/>
                  <a:gd name="T85" fmla="*/ 2147483646 h 592"/>
                  <a:gd name="T86" fmla="*/ 2147483646 w 792"/>
                  <a:gd name="T87" fmla="*/ 2147483646 h 592"/>
                  <a:gd name="T88" fmla="*/ 2147483646 w 792"/>
                  <a:gd name="T89" fmla="*/ 2147483646 h 592"/>
                  <a:gd name="T90" fmla="*/ 2147483646 w 792"/>
                  <a:gd name="T91" fmla="*/ 2147483646 h 592"/>
                  <a:gd name="T92" fmla="*/ 2147483646 w 792"/>
                  <a:gd name="T93" fmla="*/ 2147483646 h 592"/>
                  <a:gd name="T94" fmla="*/ 2147483646 w 792"/>
                  <a:gd name="T95" fmla="*/ 2147483646 h 592"/>
                  <a:gd name="T96" fmla="*/ 2147483646 w 792"/>
                  <a:gd name="T97" fmla="*/ 2147483646 h 592"/>
                  <a:gd name="T98" fmla="*/ 2147483646 w 792"/>
                  <a:gd name="T99" fmla="*/ 2147483646 h 592"/>
                  <a:gd name="T100" fmla="*/ 2147483646 w 792"/>
                  <a:gd name="T101" fmla="*/ 0 h 592"/>
                  <a:gd name="T102" fmla="*/ 2147483646 w 792"/>
                  <a:gd name="T103" fmla="*/ 2147483646 h 5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2"/>
                  <a:gd name="T157" fmla="*/ 0 h 592"/>
                  <a:gd name="T158" fmla="*/ 792 w 792"/>
                  <a:gd name="T159" fmla="*/ 592 h 5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2" h="592">
                    <a:moveTo>
                      <a:pt x="504" y="8"/>
                    </a:moveTo>
                    <a:lnTo>
                      <a:pt x="512" y="32"/>
                    </a:lnTo>
                    <a:lnTo>
                      <a:pt x="544" y="64"/>
                    </a:lnTo>
                    <a:lnTo>
                      <a:pt x="568" y="56"/>
                    </a:lnTo>
                    <a:lnTo>
                      <a:pt x="624" y="128"/>
                    </a:lnTo>
                    <a:lnTo>
                      <a:pt x="640" y="104"/>
                    </a:lnTo>
                    <a:lnTo>
                      <a:pt x="688" y="144"/>
                    </a:lnTo>
                    <a:lnTo>
                      <a:pt x="688" y="192"/>
                    </a:lnTo>
                    <a:lnTo>
                      <a:pt x="744" y="288"/>
                    </a:lnTo>
                    <a:lnTo>
                      <a:pt x="712" y="320"/>
                    </a:lnTo>
                    <a:lnTo>
                      <a:pt x="728" y="352"/>
                    </a:lnTo>
                    <a:lnTo>
                      <a:pt x="784" y="328"/>
                    </a:lnTo>
                    <a:lnTo>
                      <a:pt x="792" y="392"/>
                    </a:lnTo>
                    <a:lnTo>
                      <a:pt x="760" y="384"/>
                    </a:lnTo>
                    <a:lnTo>
                      <a:pt x="760" y="416"/>
                    </a:lnTo>
                    <a:lnTo>
                      <a:pt x="712" y="400"/>
                    </a:lnTo>
                    <a:lnTo>
                      <a:pt x="728" y="480"/>
                    </a:lnTo>
                    <a:lnTo>
                      <a:pt x="664" y="424"/>
                    </a:lnTo>
                    <a:lnTo>
                      <a:pt x="544" y="424"/>
                    </a:lnTo>
                    <a:lnTo>
                      <a:pt x="480" y="432"/>
                    </a:lnTo>
                    <a:lnTo>
                      <a:pt x="432" y="456"/>
                    </a:lnTo>
                    <a:lnTo>
                      <a:pt x="376" y="416"/>
                    </a:lnTo>
                    <a:lnTo>
                      <a:pt x="392" y="480"/>
                    </a:lnTo>
                    <a:lnTo>
                      <a:pt x="336" y="528"/>
                    </a:lnTo>
                    <a:lnTo>
                      <a:pt x="328" y="584"/>
                    </a:lnTo>
                    <a:lnTo>
                      <a:pt x="240" y="592"/>
                    </a:lnTo>
                    <a:lnTo>
                      <a:pt x="256" y="536"/>
                    </a:lnTo>
                    <a:lnTo>
                      <a:pt x="176" y="528"/>
                    </a:lnTo>
                    <a:lnTo>
                      <a:pt x="136" y="584"/>
                    </a:lnTo>
                    <a:lnTo>
                      <a:pt x="96" y="552"/>
                    </a:lnTo>
                    <a:lnTo>
                      <a:pt x="56" y="576"/>
                    </a:lnTo>
                    <a:lnTo>
                      <a:pt x="16" y="560"/>
                    </a:lnTo>
                    <a:lnTo>
                      <a:pt x="32" y="496"/>
                    </a:lnTo>
                    <a:lnTo>
                      <a:pt x="8" y="456"/>
                    </a:lnTo>
                    <a:lnTo>
                      <a:pt x="32" y="408"/>
                    </a:lnTo>
                    <a:lnTo>
                      <a:pt x="8" y="360"/>
                    </a:lnTo>
                    <a:lnTo>
                      <a:pt x="48" y="360"/>
                    </a:lnTo>
                    <a:lnTo>
                      <a:pt x="56" y="328"/>
                    </a:lnTo>
                    <a:lnTo>
                      <a:pt x="40" y="288"/>
                    </a:lnTo>
                    <a:lnTo>
                      <a:pt x="0" y="264"/>
                    </a:lnTo>
                    <a:lnTo>
                      <a:pt x="32" y="232"/>
                    </a:lnTo>
                    <a:lnTo>
                      <a:pt x="8" y="176"/>
                    </a:lnTo>
                    <a:lnTo>
                      <a:pt x="72" y="152"/>
                    </a:lnTo>
                    <a:lnTo>
                      <a:pt x="96" y="104"/>
                    </a:lnTo>
                    <a:lnTo>
                      <a:pt x="136" y="56"/>
                    </a:lnTo>
                    <a:lnTo>
                      <a:pt x="184" y="48"/>
                    </a:lnTo>
                    <a:lnTo>
                      <a:pt x="248" y="32"/>
                    </a:lnTo>
                    <a:lnTo>
                      <a:pt x="360" y="40"/>
                    </a:lnTo>
                    <a:lnTo>
                      <a:pt x="392" y="16"/>
                    </a:lnTo>
                    <a:lnTo>
                      <a:pt x="448" y="16"/>
                    </a:lnTo>
                    <a:lnTo>
                      <a:pt x="472" y="0"/>
                    </a:lnTo>
                    <a:lnTo>
                      <a:pt x="504" y="8"/>
                    </a:lnTo>
                    <a:close/>
                  </a:path>
                </a:pathLst>
              </a:custGeom>
              <a:solidFill>
                <a:srgbClr val="9950A8"/>
              </a:solidFill>
              <a:ln w="9525">
                <a:solidFill>
                  <a:schemeClr val="bg1"/>
                </a:solidFill>
                <a:round/>
                <a:headEnd/>
                <a:tailEnd/>
              </a:ln>
            </p:spPr>
            <p:txBody>
              <a:bodyPr/>
              <a:lstStyle/>
              <a:p>
                <a:endParaRPr lang="en-US" sz="1050"/>
              </a:p>
            </p:txBody>
          </p:sp>
          <p:sp>
            <p:nvSpPr>
              <p:cNvPr id="146" name="Rectangle 145"/>
              <p:cNvSpPr/>
              <p:nvPr/>
            </p:nvSpPr>
            <p:spPr>
              <a:xfrm>
                <a:off x="5201121" y="2982085"/>
                <a:ext cx="207759" cy="163567"/>
              </a:xfrm>
              <a:prstGeom prst="rect">
                <a:avLst/>
              </a:prstGeom>
              <a:ln>
                <a:noFill/>
              </a:ln>
            </p:spPr>
            <p:txBody>
              <a:bodyPr wrap="square" lIns="0" tIns="0" rIns="0" bIns="0">
                <a:spAutoFit/>
              </a:bodyPr>
              <a:lstStyle/>
              <a:p>
                <a:pPr>
                  <a:lnSpc>
                    <a:spcPct val="93000"/>
                  </a:lnSpc>
                </a:pPr>
                <a:r>
                  <a:rPr lang="ro-RO" sz="1200" b="1" dirty="0">
                    <a:solidFill>
                      <a:schemeClr val="bg1"/>
                    </a:solidFill>
                    <a:latin typeface="Trebuchet MS" panose="020B0603020202020204" pitchFamily="34" charset="0"/>
                    <a:cs typeface="Arial" pitchFamily="34" charset="0"/>
                  </a:rPr>
                  <a:t>SV</a:t>
                </a:r>
                <a:endParaRPr lang="en-US" sz="1200" b="1" dirty="0">
                  <a:solidFill>
                    <a:schemeClr val="bg1"/>
                  </a:solidFill>
                  <a:latin typeface="Trebuchet MS" panose="020B0603020202020204" pitchFamily="34" charset="0"/>
                  <a:cs typeface="Arial" pitchFamily="34" charset="0"/>
                </a:endParaRPr>
              </a:p>
            </p:txBody>
          </p:sp>
        </p:grpSp>
        <p:sp>
          <p:nvSpPr>
            <p:cNvPr id="161" name="TextBox 160"/>
            <p:cNvSpPr txBox="1"/>
            <p:nvPr/>
          </p:nvSpPr>
          <p:spPr>
            <a:xfrm>
              <a:off x="3676958" y="1569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T</a:t>
              </a:r>
            </a:p>
          </p:txBody>
        </p:sp>
        <p:sp>
          <p:nvSpPr>
            <p:cNvPr id="162" name="Rectangle 161"/>
            <p:cNvSpPr/>
            <p:nvPr/>
          </p:nvSpPr>
          <p:spPr>
            <a:xfrm>
              <a:off x="4250112" y="2541919"/>
              <a:ext cx="359394"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VS</a:t>
              </a:r>
            </a:p>
          </p:txBody>
        </p:sp>
        <p:sp>
          <p:nvSpPr>
            <p:cNvPr id="163" name="Rectangle 162"/>
            <p:cNvSpPr/>
            <p:nvPr/>
          </p:nvSpPr>
          <p:spPr>
            <a:xfrm>
              <a:off x="3988142" y="1971843"/>
              <a:ext cx="306495" cy="276999"/>
            </a:xfrm>
            <a:prstGeom prst="rect">
              <a:avLst/>
            </a:prstGeom>
          </p:spPr>
          <p:txBody>
            <a:bodyPr wrap="none">
              <a:spAutoFit/>
            </a:bodyPr>
            <a:lstStyle/>
            <a:p>
              <a:pPr algn="ctr"/>
              <a:r>
                <a:rPr lang="en-US" sz="1200" b="1" dirty="0">
                  <a:solidFill>
                    <a:srgbClr val="002368"/>
                  </a:solidFill>
                  <a:latin typeface="Trebuchet MS" panose="020B0603020202020204" pitchFamily="34" charset="0"/>
                  <a:cs typeface="Arial" panose="020B0604020202020204" pitchFamily="34" charset="0"/>
                </a:rPr>
                <a:t>IS</a:t>
              </a:r>
            </a:p>
          </p:txBody>
        </p:sp>
        <p:sp>
          <p:nvSpPr>
            <p:cNvPr id="164" name="TextBox 163"/>
            <p:cNvSpPr txBox="1"/>
            <p:nvPr/>
          </p:nvSpPr>
          <p:spPr>
            <a:xfrm>
              <a:off x="4263886" y="31081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L</a:t>
              </a:r>
            </a:p>
          </p:txBody>
        </p:sp>
        <p:sp>
          <p:nvSpPr>
            <p:cNvPr id="165" name="TextBox 164"/>
            <p:cNvSpPr txBox="1"/>
            <p:nvPr/>
          </p:nvSpPr>
          <p:spPr>
            <a:xfrm>
              <a:off x="4733214" y="3745133"/>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L</a:t>
              </a:r>
            </a:p>
          </p:txBody>
        </p:sp>
        <p:sp>
          <p:nvSpPr>
            <p:cNvPr id="166" name="TextBox 165"/>
            <p:cNvSpPr txBox="1"/>
            <p:nvPr/>
          </p:nvSpPr>
          <p:spPr>
            <a:xfrm>
              <a:off x="4638389" y="429948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CT</a:t>
              </a:r>
            </a:p>
          </p:txBody>
        </p:sp>
        <p:sp>
          <p:nvSpPr>
            <p:cNvPr id="167" name="TextBox 166"/>
            <p:cNvSpPr txBox="1"/>
            <p:nvPr/>
          </p:nvSpPr>
          <p:spPr>
            <a:xfrm>
              <a:off x="4243322" y="368602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R</a:t>
              </a:r>
            </a:p>
          </p:txBody>
        </p:sp>
        <p:sp>
          <p:nvSpPr>
            <p:cNvPr id="168" name="TextBox 167"/>
            <p:cNvSpPr txBox="1"/>
            <p:nvPr/>
          </p:nvSpPr>
          <p:spPr>
            <a:xfrm>
              <a:off x="3880173" y="429165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L</a:t>
              </a:r>
            </a:p>
          </p:txBody>
        </p:sp>
        <p:sp>
          <p:nvSpPr>
            <p:cNvPr id="169" name="TextBox 168"/>
            <p:cNvSpPr txBox="1"/>
            <p:nvPr/>
          </p:nvSpPr>
          <p:spPr>
            <a:xfrm>
              <a:off x="4041365" y="404630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IL</a:t>
              </a:r>
            </a:p>
          </p:txBody>
        </p:sp>
        <p:sp>
          <p:nvSpPr>
            <p:cNvPr id="171" name="TextBox 170"/>
            <p:cNvSpPr txBox="1"/>
            <p:nvPr/>
          </p:nvSpPr>
          <p:spPr>
            <a:xfrm>
              <a:off x="3370944" y="4241221"/>
              <a:ext cx="754380" cy="138499"/>
            </a:xfrm>
            <a:prstGeom prst="rect">
              <a:avLst/>
            </a:prstGeom>
            <a:noFill/>
            <a:ln w="9525">
              <a:noFill/>
            </a:ln>
          </p:spPr>
          <p:txBody>
            <a:bodyPr wrap="square" lIns="0" tIns="0" rIns="0" bIns="0" rtlCol="0" anchor="ctr">
              <a:spAutoFit/>
            </a:bodyPr>
            <a:lstStyle/>
            <a:p>
              <a:r>
                <a:rPr lang="en-US" sz="900" b="1" dirty="0">
                  <a:solidFill>
                    <a:srgbClr val="FF0000"/>
                  </a:solidFill>
                  <a:latin typeface="Trebuchet MS" panose="020B0603020202020204" pitchFamily="34" charset="0"/>
                  <a:cs typeface="Arial" panose="020B0604020202020204" pitchFamily="34" charset="0"/>
                </a:rPr>
                <a:t>Bucharest</a:t>
              </a:r>
            </a:p>
          </p:txBody>
        </p:sp>
        <p:sp>
          <p:nvSpPr>
            <p:cNvPr id="172" name="Rectangle 171"/>
            <p:cNvSpPr/>
            <p:nvPr/>
          </p:nvSpPr>
          <p:spPr>
            <a:xfrm>
              <a:off x="3422224" y="2209171"/>
              <a:ext cx="381836"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NT</a:t>
              </a:r>
            </a:p>
          </p:txBody>
        </p:sp>
        <p:sp>
          <p:nvSpPr>
            <p:cNvPr id="173" name="TextBox 172"/>
            <p:cNvSpPr txBox="1"/>
            <p:nvPr/>
          </p:nvSpPr>
          <p:spPr>
            <a:xfrm>
              <a:off x="3710781" y="268155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C</a:t>
              </a:r>
            </a:p>
          </p:txBody>
        </p:sp>
        <p:sp>
          <p:nvSpPr>
            <p:cNvPr id="174" name="TextBox 173"/>
            <p:cNvSpPr txBox="1"/>
            <p:nvPr/>
          </p:nvSpPr>
          <p:spPr>
            <a:xfrm>
              <a:off x="3798490" y="314519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N</a:t>
              </a:r>
            </a:p>
          </p:txBody>
        </p:sp>
        <p:sp>
          <p:nvSpPr>
            <p:cNvPr id="175" name="TextBox 174"/>
            <p:cNvSpPr txBox="1"/>
            <p:nvPr/>
          </p:nvSpPr>
          <p:spPr>
            <a:xfrm>
              <a:off x="3718369" y="3545288"/>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Z</a:t>
              </a:r>
            </a:p>
          </p:txBody>
        </p:sp>
        <p:sp>
          <p:nvSpPr>
            <p:cNvPr id="176" name="TextBox 175"/>
            <p:cNvSpPr txBox="1"/>
            <p:nvPr/>
          </p:nvSpPr>
          <p:spPr>
            <a:xfrm>
              <a:off x="3288566" y="364959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PH</a:t>
              </a:r>
            </a:p>
          </p:txBody>
        </p:sp>
        <p:sp>
          <p:nvSpPr>
            <p:cNvPr id="177" name="TextBox 176"/>
            <p:cNvSpPr txBox="1"/>
            <p:nvPr/>
          </p:nvSpPr>
          <p:spPr>
            <a:xfrm>
              <a:off x="3298226" y="441070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GR</a:t>
              </a:r>
            </a:p>
          </p:txBody>
        </p:sp>
        <p:sp>
          <p:nvSpPr>
            <p:cNvPr id="178" name="TextBox 177"/>
            <p:cNvSpPr txBox="1"/>
            <p:nvPr/>
          </p:nvSpPr>
          <p:spPr>
            <a:xfrm>
              <a:off x="3010532" y="381557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DB</a:t>
              </a:r>
            </a:p>
          </p:txBody>
        </p:sp>
        <p:sp>
          <p:nvSpPr>
            <p:cNvPr id="179" name="TextBox 178"/>
            <p:cNvSpPr txBox="1"/>
            <p:nvPr/>
          </p:nvSpPr>
          <p:spPr>
            <a:xfrm>
              <a:off x="2662816" y="3646323"/>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G</a:t>
              </a:r>
            </a:p>
          </p:txBody>
        </p:sp>
        <p:sp>
          <p:nvSpPr>
            <p:cNvPr id="180" name="TextBox 179"/>
            <p:cNvSpPr txBox="1"/>
            <p:nvPr/>
          </p:nvSpPr>
          <p:spPr>
            <a:xfrm>
              <a:off x="2846150" y="312237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V</a:t>
              </a:r>
            </a:p>
          </p:txBody>
        </p:sp>
        <p:sp>
          <p:nvSpPr>
            <p:cNvPr id="181" name="TextBox 180"/>
            <p:cNvSpPr txBox="1"/>
            <p:nvPr/>
          </p:nvSpPr>
          <p:spPr>
            <a:xfrm>
              <a:off x="3309773" y="3045321"/>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V</a:t>
              </a:r>
            </a:p>
          </p:txBody>
        </p:sp>
        <p:sp>
          <p:nvSpPr>
            <p:cNvPr id="182" name="TextBox 181"/>
            <p:cNvSpPr txBox="1"/>
            <p:nvPr/>
          </p:nvSpPr>
          <p:spPr>
            <a:xfrm>
              <a:off x="3035030" y="260412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HR</a:t>
              </a:r>
            </a:p>
          </p:txBody>
        </p:sp>
        <p:sp>
          <p:nvSpPr>
            <p:cNvPr id="183" name="TextBox 182"/>
            <p:cNvSpPr txBox="1"/>
            <p:nvPr/>
          </p:nvSpPr>
          <p:spPr>
            <a:xfrm>
              <a:off x="2556905" y="2518028"/>
              <a:ext cx="342900" cy="177584"/>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MS</a:t>
              </a:r>
            </a:p>
          </p:txBody>
        </p:sp>
        <p:sp>
          <p:nvSpPr>
            <p:cNvPr id="184" name="TextBox 183"/>
            <p:cNvSpPr txBox="1"/>
            <p:nvPr/>
          </p:nvSpPr>
          <p:spPr>
            <a:xfrm>
              <a:off x="2325094" y="30932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SB</a:t>
              </a:r>
            </a:p>
          </p:txBody>
        </p:sp>
        <p:sp>
          <p:nvSpPr>
            <p:cNvPr id="185" name="TextBox 184"/>
            <p:cNvSpPr txBox="1"/>
            <p:nvPr/>
          </p:nvSpPr>
          <p:spPr>
            <a:xfrm>
              <a:off x="1591026" y="3144128"/>
              <a:ext cx="342900" cy="177584"/>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HD</a:t>
              </a:r>
            </a:p>
          </p:txBody>
        </p:sp>
        <p:sp>
          <p:nvSpPr>
            <p:cNvPr id="186" name="TextBox 185"/>
            <p:cNvSpPr txBox="1"/>
            <p:nvPr/>
          </p:nvSpPr>
          <p:spPr>
            <a:xfrm>
              <a:off x="1064621" y="359629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S</a:t>
              </a:r>
            </a:p>
          </p:txBody>
        </p:sp>
        <p:sp>
          <p:nvSpPr>
            <p:cNvPr id="187" name="TextBox 186"/>
            <p:cNvSpPr txBox="1"/>
            <p:nvPr/>
          </p:nvSpPr>
          <p:spPr>
            <a:xfrm>
              <a:off x="2295346" y="3634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L</a:t>
              </a:r>
            </a:p>
          </p:txBody>
        </p:sp>
        <p:sp>
          <p:nvSpPr>
            <p:cNvPr id="188" name="TextBox 187"/>
            <p:cNvSpPr txBox="1"/>
            <p:nvPr/>
          </p:nvSpPr>
          <p:spPr>
            <a:xfrm>
              <a:off x="1823048" y="371512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J</a:t>
              </a:r>
            </a:p>
          </p:txBody>
        </p:sp>
        <p:sp>
          <p:nvSpPr>
            <p:cNvPr id="189" name="TextBox 188"/>
            <p:cNvSpPr txBox="1"/>
            <p:nvPr/>
          </p:nvSpPr>
          <p:spPr>
            <a:xfrm>
              <a:off x="1522379" y="416741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MH</a:t>
              </a:r>
            </a:p>
          </p:txBody>
        </p:sp>
        <p:sp>
          <p:nvSpPr>
            <p:cNvPr id="190" name="TextBox 189"/>
            <p:cNvSpPr txBox="1"/>
            <p:nvPr/>
          </p:nvSpPr>
          <p:spPr>
            <a:xfrm>
              <a:off x="1957935" y="440552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DJ</a:t>
              </a:r>
            </a:p>
          </p:txBody>
        </p:sp>
        <p:sp>
          <p:nvSpPr>
            <p:cNvPr id="191" name="TextBox 190"/>
            <p:cNvSpPr txBox="1"/>
            <p:nvPr/>
          </p:nvSpPr>
          <p:spPr>
            <a:xfrm>
              <a:off x="2421570" y="428584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OT</a:t>
              </a:r>
            </a:p>
          </p:txBody>
        </p:sp>
        <p:sp>
          <p:nvSpPr>
            <p:cNvPr id="192" name="TextBox 191"/>
            <p:cNvSpPr txBox="1"/>
            <p:nvPr/>
          </p:nvSpPr>
          <p:spPr>
            <a:xfrm>
              <a:off x="2844848" y="446218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R</a:t>
              </a:r>
            </a:p>
          </p:txBody>
        </p:sp>
        <p:sp>
          <p:nvSpPr>
            <p:cNvPr id="193" name="TextBox 192"/>
            <p:cNvSpPr txBox="1"/>
            <p:nvPr/>
          </p:nvSpPr>
          <p:spPr>
            <a:xfrm>
              <a:off x="1190198" y="222484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H</a:t>
              </a:r>
            </a:p>
          </p:txBody>
        </p:sp>
        <p:sp>
          <p:nvSpPr>
            <p:cNvPr id="194" name="TextBox 193"/>
            <p:cNvSpPr txBox="1"/>
            <p:nvPr/>
          </p:nvSpPr>
          <p:spPr>
            <a:xfrm>
              <a:off x="1930937" y="283174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B</a:t>
              </a:r>
            </a:p>
          </p:txBody>
        </p:sp>
        <p:sp>
          <p:nvSpPr>
            <p:cNvPr id="195" name="TextBox 194"/>
            <p:cNvSpPr txBox="1"/>
            <p:nvPr/>
          </p:nvSpPr>
          <p:spPr>
            <a:xfrm>
              <a:off x="919393" y="271731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R</a:t>
              </a:r>
            </a:p>
          </p:txBody>
        </p:sp>
        <p:sp>
          <p:nvSpPr>
            <p:cNvPr id="196" name="TextBox 195"/>
            <p:cNvSpPr txBox="1"/>
            <p:nvPr/>
          </p:nvSpPr>
          <p:spPr>
            <a:xfrm>
              <a:off x="642056" y="314774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TM</a:t>
              </a:r>
            </a:p>
          </p:txBody>
        </p:sp>
        <p:sp>
          <p:nvSpPr>
            <p:cNvPr id="197" name="TextBox 196"/>
            <p:cNvSpPr txBox="1"/>
            <p:nvPr/>
          </p:nvSpPr>
          <p:spPr>
            <a:xfrm>
              <a:off x="2450659" y="201740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BN</a:t>
              </a:r>
            </a:p>
          </p:txBody>
        </p:sp>
        <p:sp>
          <p:nvSpPr>
            <p:cNvPr id="198" name="TextBox 197"/>
            <p:cNvSpPr txBox="1"/>
            <p:nvPr/>
          </p:nvSpPr>
          <p:spPr>
            <a:xfrm>
              <a:off x="2100349" y="1727247"/>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M</a:t>
              </a:r>
            </a:p>
          </p:txBody>
        </p:sp>
        <p:sp>
          <p:nvSpPr>
            <p:cNvPr id="199" name="TextBox 198"/>
            <p:cNvSpPr txBox="1"/>
            <p:nvPr/>
          </p:nvSpPr>
          <p:spPr>
            <a:xfrm>
              <a:off x="1548682" y="171859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M</a:t>
              </a:r>
            </a:p>
          </p:txBody>
        </p:sp>
        <p:sp>
          <p:nvSpPr>
            <p:cNvPr id="200" name="TextBox 199"/>
            <p:cNvSpPr txBox="1"/>
            <p:nvPr/>
          </p:nvSpPr>
          <p:spPr>
            <a:xfrm>
              <a:off x="1743876" y="208389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J</a:t>
              </a:r>
            </a:p>
          </p:txBody>
        </p:sp>
        <p:sp>
          <p:nvSpPr>
            <p:cNvPr id="201" name="TextBox 200"/>
            <p:cNvSpPr txBox="1"/>
            <p:nvPr/>
          </p:nvSpPr>
          <p:spPr>
            <a:xfrm>
              <a:off x="1960468" y="2401159"/>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J</a:t>
              </a:r>
            </a:p>
          </p:txBody>
        </p:sp>
        <p:sp>
          <p:nvSpPr>
            <p:cNvPr id="203" name="TextBox 202"/>
            <p:cNvSpPr txBox="1"/>
            <p:nvPr/>
          </p:nvSpPr>
          <p:spPr>
            <a:xfrm>
              <a:off x="3370666" y="4082053"/>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I</a:t>
              </a:r>
              <a:r>
                <a:rPr lang="ro-RO" sz="1200" b="1" dirty="0">
                  <a:solidFill>
                    <a:srgbClr val="002368"/>
                  </a:solidFill>
                  <a:latin typeface="Trebuchet MS" panose="020B0603020202020204" pitchFamily="34" charset="0"/>
                  <a:cs typeface="Arial" panose="020B0604020202020204" pitchFamily="34" charset="0"/>
                </a:rPr>
                <a:t>F</a:t>
              </a:r>
              <a:endParaRPr lang="en-US" sz="1200" b="1" dirty="0">
                <a:solidFill>
                  <a:srgbClr val="002368"/>
                </a:solidFill>
                <a:latin typeface="Trebuchet MS" panose="020B0603020202020204" pitchFamily="34" charset="0"/>
                <a:cs typeface="Arial" panose="020B0604020202020204" pitchFamily="34" charset="0"/>
              </a:endParaRPr>
            </a:p>
          </p:txBody>
        </p:sp>
      </p:grpSp>
      <p:grpSp>
        <p:nvGrpSpPr>
          <p:cNvPr id="2" name="Group 1"/>
          <p:cNvGrpSpPr/>
          <p:nvPr/>
        </p:nvGrpSpPr>
        <p:grpSpPr>
          <a:xfrm>
            <a:off x="7626026" y="2145650"/>
            <a:ext cx="1150562" cy="2029787"/>
            <a:chOff x="8369179" y="3125743"/>
            <a:chExt cx="1534083" cy="2706391"/>
          </a:xfrm>
        </p:grpSpPr>
        <p:sp>
          <p:nvSpPr>
            <p:cNvPr id="148" name="TextBox 147"/>
            <p:cNvSpPr txBox="1"/>
            <p:nvPr/>
          </p:nvSpPr>
          <p:spPr>
            <a:xfrm>
              <a:off x="8921326" y="3137111"/>
              <a:ext cx="457200" cy="246222"/>
            </a:xfrm>
            <a:prstGeom prst="rect">
              <a:avLst/>
            </a:prstGeom>
            <a:noFill/>
            <a:ln w="9525">
              <a:noFill/>
            </a:ln>
          </p:spPr>
          <p:txBody>
            <a:bodyPr wrap="square" lIns="0" tIns="0" rIns="0" bIns="0" rtlCol="0" anchor="ctr">
              <a:spAutoFit/>
            </a:bodyPr>
            <a:lstStyle/>
            <a:p>
              <a:pPr algn="ctr"/>
              <a:r>
                <a:rPr lang="en-US" sz="1200" b="1" dirty="0">
                  <a:solidFill>
                    <a:srgbClr val="545558"/>
                  </a:solidFill>
                  <a:latin typeface="Trebuchet MS" panose="020B0603020202020204" pitchFamily="34" charset="0"/>
                  <a:cs typeface="Arial" panose="020B0604020202020204" pitchFamily="34" charset="0"/>
                </a:rPr>
                <a:t>30%</a:t>
              </a:r>
            </a:p>
          </p:txBody>
        </p:sp>
        <p:sp>
          <p:nvSpPr>
            <p:cNvPr id="149" name="TextBox 148"/>
            <p:cNvSpPr txBox="1"/>
            <p:nvPr/>
          </p:nvSpPr>
          <p:spPr>
            <a:xfrm>
              <a:off x="8921326" y="3653767"/>
              <a:ext cx="457200" cy="246222"/>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40%</a:t>
              </a:r>
            </a:p>
          </p:txBody>
        </p:sp>
        <p:sp>
          <p:nvSpPr>
            <p:cNvPr id="150" name="TextBox 149"/>
            <p:cNvSpPr txBox="1"/>
            <p:nvPr/>
          </p:nvSpPr>
          <p:spPr>
            <a:xfrm>
              <a:off x="8921326" y="4150896"/>
              <a:ext cx="457200" cy="246222"/>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50%</a:t>
              </a:r>
            </a:p>
          </p:txBody>
        </p:sp>
        <p:sp>
          <p:nvSpPr>
            <p:cNvPr id="151" name="TextBox 150"/>
            <p:cNvSpPr txBox="1"/>
            <p:nvPr/>
          </p:nvSpPr>
          <p:spPr>
            <a:xfrm>
              <a:off x="8921324" y="4640904"/>
              <a:ext cx="548640" cy="246222"/>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60%</a:t>
              </a:r>
            </a:p>
          </p:txBody>
        </p:sp>
        <p:sp>
          <p:nvSpPr>
            <p:cNvPr id="152" name="TextBox 151"/>
            <p:cNvSpPr txBox="1"/>
            <p:nvPr/>
          </p:nvSpPr>
          <p:spPr>
            <a:xfrm>
              <a:off x="8897422" y="5105003"/>
              <a:ext cx="10058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Ineligible</a:t>
              </a:r>
            </a:p>
          </p:txBody>
        </p:sp>
        <p:sp>
          <p:nvSpPr>
            <p:cNvPr id="153" name="TextBox 152"/>
            <p:cNvSpPr txBox="1"/>
            <p:nvPr/>
          </p:nvSpPr>
          <p:spPr>
            <a:xfrm>
              <a:off x="8897422" y="5569182"/>
              <a:ext cx="9144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35%-45%</a:t>
              </a:r>
            </a:p>
          </p:txBody>
        </p:sp>
        <p:sp>
          <p:nvSpPr>
            <p:cNvPr id="154" name="Rectangle 153"/>
            <p:cNvSpPr/>
            <p:nvPr/>
          </p:nvSpPr>
          <p:spPr>
            <a:xfrm>
              <a:off x="8369179" y="5557814"/>
              <a:ext cx="274320" cy="2743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Rectangle 154"/>
            <p:cNvSpPr/>
            <p:nvPr/>
          </p:nvSpPr>
          <p:spPr>
            <a:xfrm>
              <a:off x="8369179" y="5092296"/>
              <a:ext cx="274320" cy="274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6" name="Rectangle 155"/>
            <p:cNvSpPr/>
            <p:nvPr/>
          </p:nvSpPr>
          <p:spPr>
            <a:xfrm>
              <a:off x="8369179" y="4631583"/>
              <a:ext cx="274320" cy="274321"/>
            </a:xfrm>
            <a:prstGeom prst="rect">
              <a:avLst/>
            </a:prstGeom>
            <a:solidFill>
              <a:srgbClr val="995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7" name="Rectangle 156"/>
            <p:cNvSpPr/>
            <p:nvPr/>
          </p:nvSpPr>
          <p:spPr>
            <a:xfrm>
              <a:off x="8369179" y="4138190"/>
              <a:ext cx="274320" cy="274321"/>
            </a:xfrm>
            <a:prstGeom prst="rect">
              <a:avLst/>
            </a:prstGeom>
            <a:solidFill>
              <a:srgbClr val="C6CF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8" name="Rectangle 157"/>
            <p:cNvSpPr/>
            <p:nvPr/>
          </p:nvSpPr>
          <p:spPr>
            <a:xfrm>
              <a:off x="8369179" y="3641058"/>
              <a:ext cx="274320" cy="274321"/>
            </a:xfrm>
            <a:prstGeom prst="rect">
              <a:avLst/>
            </a:prstGeom>
            <a:solidFill>
              <a:srgbClr val="4670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9" name="Rectangle 158"/>
            <p:cNvSpPr/>
            <p:nvPr/>
          </p:nvSpPr>
          <p:spPr>
            <a:xfrm>
              <a:off x="8369179" y="3125743"/>
              <a:ext cx="274320" cy="274321"/>
            </a:xfrm>
            <a:prstGeom prst="rect">
              <a:avLst/>
            </a:prstGeom>
            <a:solidFill>
              <a:srgbClr val="C6B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0" name="Rectangle 169"/>
          <p:cNvSpPr/>
          <p:nvPr/>
        </p:nvSpPr>
        <p:spPr>
          <a:xfrm>
            <a:off x="5390784" y="4037143"/>
            <a:ext cx="68580" cy="685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60" name="Picture 1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202" name="Google Shape;387;p31"/>
          <p:cNvSpPr txBox="1">
            <a:spLocks/>
          </p:cNvSpPr>
          <p:nvPr/>
        </p:nvSpPr>
        <p:spPr>
          <a:xfrm>
            <a:off x="126834" y="2218018"/>
            <a:ext cx="2085017" cy="9144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tensity </a:t>
            </a:r>
          </a:p>
          <a:p>
            <a:pPr algn="ctr"/>
            <a:r>
              <a:rPr lang="en-US" sz="2400" b="1" dirty="0">
                <a:solidFill>
                  <a:srgbClr val="2846A8"/>
                </a:solidFill>
                <a:latin typeface="Cambria" panose="02040503050406030204" pitchFamily="18" charset="0"/>
                <a:ea typeface="Cambria" panose="02040503050406030204" pitchFamily="18" charset="0"/>
              </a:rPr>
              <a:t>Map</a:t>
            </a:r>
          </a:p>
          <a:p>
            <a:pPr algn="ctr"/>
            <a:r>
              <a:rPr lang="en-US" sz="1200" b="1" dirty="0">
                <a:solidFill>
                  <a:srgbClr val="2846A8"/>
                </a:solidFill>
                <a:latin typeface="Cambria" panose="02040503050406030204" pitchFamily="18" charset="0"/>
                <a:ea typeface="Cambria" panose="02040503050406030204" pitchFamily="18" charset="0"/>
              </a:rPr>
              <a:t>STATE AID - GD 959 / 2022</a:t>
            </a:r>
            <a:endParaRPr lang="en-US" sz="2400" b="1" dirty="0">
              <a:solidFill>
                <a:srgbClr val="2846A8"/>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3861282825"/>
      </p:ext>
    </p:extLst>
  </p:cSld>
  <p:clrMapOvr>
    <a:masterClrMapping/>
  </p:clrMapOvr>
  <p:transition>
    <p:fade thruBlk="1"/>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8" name="Google Shape;387;p31"/>
          <p:cNvSpPr txBox="1">
            <a:spLocks/>
          </p:cNvSpPr>
          <p:nvPr/>
        </p:nvSpPr>
        <p:spPr>
          <a:xfrm>
            <a:off x="1373212" y="416900"/>
            <a:ext cx="7005148"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vestment support</a:t>
            </a:r>
          </a:p>
        </p:txBody>
      </p:sp>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33" name="TextBox 32"/>
          <p:cNvSpPr txBox="1"/>
          <p:nvPr/>
        </p:nvSpPr>
        <p:spPr>
          <a:xfrm>
            <a:off x="-1755" y="931609"/>
            <a:ext cx="9858135" cy="558230"/>
          </a:xfrm>
          <a:prstGeom prst="rect">
            <a:avLst/>
          </a:prstGeom>
          <a:noFill/>
          <a:ln w="9525">
            <a:noFill/>
          </a:ln>
        </p:spPr>
        <p:txBody>
          <a:bodyPr wrap="square" lIns="0" tIns="0" rIns="0" bIns="0" rtlCol="0">
            <a:spAutoFit/>
          </a:bodyPr>
          <a:lstStyle/>
          <a:p>
            <a:pPr algn="ctr">
              <a:lnSpc>
                <a:spcPct val="93000"/>
              </a:lnSpc>
            </a:pPr>
            <a:r>
              <a:rPr lang="en-US" sz="1300" b="1" dirty="0">
                <a:solidFill>
                  <a:srgbClr val="2846A8"/>
                </a:solidFill>
                <a:latin typeface="Cambria" panose="02040503050406030204" pitchFamily="18" charset="0"/>
              </a:rPr>
              <a:t>STATE AID - </a:t>
            </a:r>
            <a:r>
              <a:rPr lang="en-US" sz="1200" b="1" dirty="0">
                <a:solidFill>
                  <a:srgbClr val="2846A8"/>
                </a:solidFill>
                <a:latin typeface="Cambria" panose="02040503050406030204" pitchFamily="18" charset="0"/>
                <a:ea typeface="Cambria" panose="02040503050406030204" pitchFamily="18" charset="0"/>
              </a:rPr>
              <a:t>GD </a:t>
            </a:r>
            <a:r>
              <a:rPr lang="ro-RO" sz="1200" b="1" dirty="0">
                <a:solidFill>
                  <a:srgbClr val="2846A8"/>
                </a:solidFill>
                <a:latin typeface="Cambria" panose="02040503050406030204" pitchFamily="18" charset="0"/>
                <a:ea typeface="Cambria" panose="02040503050406030204" pitchFamily="18" charset="0"/>
              </a:rPr>
              <a:t>702</a:t>
            </a:r>
            <a:r>
              <a:rPr lang="en-US" sz="1200" b="1" dirty="0">
                <a:solidFill>
                  <a:srgbClr val="2846A8"/>
                </a:solidFill>
                <a:latin typeface="Cambria" panose="02040503050406030204" pitchFamily="18" charset="0"/>
                <a:ea typeface="Cambria" panose="02040503050406030204" pitchFamily="18" charset="0"/>
              </a:rPr>
              <a:t> / 202</a:t>
            </a:r>
            <a:r>
              <a:rPr lang="ro-RO" sz="1200" b="1" dirty="0">
                <a:solidFill>
                  <a:srgbClr val="2846A8"/>
                </a:solidFill>
                <a:latin typeface="Cambria" panose="02040503050406030204" pitchFamily="18" charset="0"/>
                <a:ea typeface="Cambria" panose="02040503050406030204" pitchFamily="18" charset="0"/>
              </a:rPr>
              <a:t>4</a:t>
            </a:r>
            <a:endParaRPr lang="en-US" sz="1200" b="1" dirty="0">
              <a:solidFill>
                <a:srgbClr val="2846A8"/>
              </a:solidFill>
              <a:latin typeface="Cambria" panose="02040503050406030204" pitchFamily="18" charset="0"/>
              <a:ea typeface="Cambria" panose="02040503050406030204" pitchFamily="18" charset="0"/>
            </a:endParaRPr>
          </a:p>
          <a:p>
            <a:pPr algn="ctr">
              <a:lnSpc>
                <a:spcPct val="93000"/>
              </a:lnSpc>
            </a:pPr>
            <a:r>
              <a:rPr lang="en-US" sz="1300" dirty="0">
                <a:solidFill>
                  <a:srgbClr val="2846A8"/>
                </a:solidFill>
                <a:latin typeface="Cambria" panose="02040503050406030204" pitchFamily="18" charset="0"/>
              </a:rPr>
              <a:t>202</a:t>
            </a:r>
            <a:r>
              <a:rPr lang="ro-RO" sz="1300" dirty="0">
                <a:solidFill>
                  <a:srgbClr val="2846A8"/>
                </a:solidFill>
                <a:latin typeface="Cambria" panose="02040503050406030204" pitchFamily="18" charset="0"/>
              </a:rPr>
              <a:t>4</a:t>
            </a:r>
            <a:r>
              <a:rPr lang="en-US" sz="1300" dirty="0">
                <a:solidFill>
                  <a:srgbClr val="2846A8"/>
                </a:solidFill>
                <a:latin typeface="Cambria" panose="02040503050406030204" pitchFamily="18" charset="0"/>
              </a:rPr>
              <a:t>-202</a:t>
            </a:r>
            <a:r>
              <a:rPr lang="ro-RO" sz="1300" dirty="0">
                <a:solidFill>
                  <a:srgbClr val="2846A8"/>
                </a:solidFill>
                <a:latin typeface="Cambria" panose="02040503050406030204" pitchFamily="18" charset="0"/>
              </a:rPr>
              <a:t>6</a:t>
            </a:r>
            <a:r>
              <a:rPr lang="en-US" sz="1300" b="1" dirty="0">
                <a:solidFill>
                  <a:srgbClr val="2846A8"/>
                </a:solidFill>
                <a:latin typeface="Cambria" panose="02040503050406030204" pitchFamily="18" charset="0"/>
              </a:rPr>
              <a:t> </a:t>
            </a:r>
            <a:r>
              <a:rPr lang="en-US" sz="1300" dirty="0">
                <a:solidFill>
                  <a:srgbClr val="2846A8"/>
                </a:solidFill>
                <a:latin typeface="Cambria" panose="02040503050406030204" pitchFamily="18" charset="0"/>
              </a:rPr>
              <a:t>Total Budget: € </a:t>
            </a:r>
            <a:r>
              <a:rPr lang="ro-RO" sz="1300" dirty="0">
                <a:solidFill>
                  <a:srgbClr val="2846A8"/>
                </a:solidFill>
                <a:latin typeface="Cambria" panose="02040503050406030204" pitchFamily="18" charset="0"/>
              </a:rPr>
              <a:t>447</a:t>
            </a:r>
            <a:r>
              <a:rPr lang="en-US" sz="1300" dirty="0">
                <a:solidFill>
                  <a:srgbClr val="2846A8"/>
                </a:solidFill>
                <a:latin typeface="Cambria" panose="02040503050406030204" pitchFamily="18" charset="0"/>
              </a:rPr>
              <a:t> Mill.</a:t>
            </a:r>
          </a:p>
          <a:p>
            <a:pPr algn="ctr">
              <a:lnSpc>
                <a:spcPct val="93000"/>
              </a:lnSpc>
            </a:pPr>
            <a:r>
              <a:rPr lang="en-US" sz="1200" dirty="0">
                <a:solidFill>
                  <a:srgbClr val="2846A8"/>
                </a:solidFill>
                <a:latin typeface="Cambria" panose="02040503050406030204" pitchFamily="18" charset="0"/>
                <a:ea typeface="Cambria" panose="02040503050406030204" pitchFamily="18" charset="0"/>
              </a:rPr>
              <a:t>Annual Budget: </a:t>
            </a:r>
            <a:r>
              <a:rPr lang="en-US" sz="1200" dirty="0">
                <a:solidFill>
                  <a:srgbClr val="2846A8"/>
                </a:solidFill>
                <a:latin typeface="Cambria" panose="02040503050406030204" pitchFamily="18" charset="0"/>
              </a:rPr>
              <a:t>€</a:t>
            </a:r>
            <a:r>
              <a:rPr lang="en-US" sz="1200" dirty="0">
                <a:solidFill>
                  <a:srgbClr val="2846A8"/>
                </a:solidFill>
                <a:latin typeface="Cambria" panose="02040503050406030204" pitchFamily="18" charset="0"/>
                <a:ea typeface="Cambria" panose="02040503050406030204" pitchFamily="18" charset="0"/>
              </a:rPr>
              <a:t> 1</a:t>
            </a:r>
            <a:r>
              <a:rPr lang="ro-RO" sz="1200" dirty="0">
                <a:solidFill>
                  <a:srgbClr val="2846A8"/>
                </a:solidFill>
                <a:latin typeface="Cambria" panose="02040503050406030204" pitchFamily="18" charset="0"/>
                <a:ea typeface="Cambria" panose="02040503050406030204" pitchFamily="18" charset="0"/>
              </a:rPr>
              <a:t>49</a:t>
            </a:r>
            <a:r>
              <a:rPr lang="en-US" sz="1200" dirty="0">
                <a:solidFill>
                  <a:srgbClr val="2846A8"/>
                </a:solidFill>
                <a:latin typeface="Cambria" panose="02040503050406030204" pitchFamily="18" charset="0"/>
                <a:ea typeface="Cambria" panose="02040503050406030204" pitchFamily="18" charset="0"/>
              </a:rPr>
              <a:t> Mill.</a:t>
            </a:r>
          </a:p>
        </p:txBody>
      </p:sp>
      <p:sp>
        <p:nvSpPr>
          <p:cNvPr id="35" name="Google Shape;583;p46"/>
          <p:cNvSpPr txBox="1"/>
          <p:nvPr/>
        </p:nvSpPr>
        <p:spPr>
          <a:xfrm>
            <a:off x="1373212" y="1745037"/>
            <a:ext cx="3781148" cy="3322554"/>
          </a:xfrm>
          <a:custGeom>
            <a:avLst/>
            <a:gdLst>
              <a:gd name="connsiteX0" fmla="*/ 0 w 2149387"/>
              <a:gd name="connsiteY0" fmla="*/ 291911 h 1751430"/>
              <a:gd name="connsiteX1" fmla="*/ 291911 w 2149387"/>
              <a:gd name="connsiteY1" fmla="*/ 0 h 1751430"/>
              <a:gd name="connsiteX2" fmla="*/ 1857476 w 2149387"/>
              <a:gd name="connsiteY2" fmla="*/ 0 h 1751430"/>
              <a:gd name="connsiteX3" fmla="*/ 2149387 w 2149387"/>
              <a:gd name="connsiteY3" fmla="*/ 291911 h 1751430"/>
              <a:gd name="connsiteX4" fmla="*/ 2149387 w 2149387"/>
              <a:gd name="connsiteY4" fmla="*/ 1459519 h 1751430"/>
              <a:gd name="connsiteX5" fmla="*/ 1857476 w 2149387"/>
              <a:gd name="connsiteY5" fmla="*/ 1751430 h 1751430"/>
              <a:gd name="connsiteX6" fmla="*/ 291911 w 2149387"/>
              <a:gd name="connsiteY6" fmla="*/ 1751430 h 1751430"/>
              <a:gd name="connsiteX7" fmla="*/ 0 w 2149387"/>
              <a:gd name="connsiteY7" fmla="*/ 1459519 h 1751430"/>
              <a:gd name="connsiteX8" fmla="*/ 0 w 2149387"/>
              <a:gd name="connsiteY8" fmla="*/ 291911 h 1751430"/>
              <a:gd name="connsiteX0" fmla="*/ 297531 w 2446918"/>
              <a:gd name="connsiteY0" fmla="*/ 291911 h 1751430"/>
              <a:gd name="connsiteX1" fmla="*/ 36708 w 2446918"/>
              <a:gd name="connsiteY1" fmla="*/ 6824 h 1751430"/>
              <a:gd name="connsiteX2" fmla="*/ 2155007 w 2446918"/>
              <a:gd name="connsiteY2" fmla="*/ 0 h 1751430"/>
              <a:gd name="connsiteX3" fmla="*/ 2446918 w 2446918"/>
              <a:gd name="connsiteY3" fmla="*/ 291911 h 1751430"/>
              <a:gd name="connsiteX4" fmla="*/ 2446918 w 2446918"/>
              <a:gd name="connsiteY4" fmla="*/ 1459519 h 1751430"/>
              <a:gd name="connsiteX5" fmla="*/ 2155007 w 2446918"/>
              <a:gd name="connsiteY5" fmla="*/ 1751430 h 1751430"/>
              <a:gd name="connsiteX6" fmla="*/ 589442 w 2446918"/>
              <a:gd name="connsiteY6" fmla="*/ 1751430 h 1751430"/>
              <a:gd name="connsiteX7" fmla="*/ 297531 w 2446918"/>
              <a:gd name="connsiteY7" fmla="*/ 1459519 h 1751430"/>
              <a:gd name="connsiteX8" fmla="*/ 297531 w 2446918"/>
              <a:gd name="connsiteY8" fmla="*/ 291911 h 175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6918" h="1751430">
                <a:moveTo>
                  <a:pt x="297531" y="291911"/>
                </a:moveTo>
                <a:cubicBezTo>
                  <a:pt x="297531" y="130693"/>
                  <a:pt x="-124510" y="6824"/>
                  <a:pt x="36708" y="6824"/>
                </a:cubicBezTo>
                <a:lnTo>
                  <a:pt x="2155007" y="0"/>
                </a:lnTo>
                <a:cubicBezTo>
                  <a:pt x="2316225" y="0"/>
                  <a:pt x="2446918" y="130693"/>
                  <a:pt x="2446918" y="291911"/>
                </a:cubicBezTo>
                <a:lnTo>
                  <a:pt x="2446918" y="1459519"/>
                </a:lnTo>
                <a:cubicBezTo>
                  <a:pt x="2446918" y="1620737"/>
                  <a:pt x="2316225" y="1751430"/>
                  <a:pt x="2155007" y="1751430"/>
                </a:cubicBezTo>
                <a:lnTo>
                  <a:pt x="589442" y="1751430"/>
                </a:lnTo>
                <a:cubicBezTo>
                  <a:pt x="428224" y="1751430"/>
                  <a:pt x="297531" y="1620737"/>
                  <a:pt x="297531" y="1459519"/>
                </a:cubicBezTo>
                <a:lnTo>
                  <a:pt x="297531" y="291911"/>
                </a:lnTo>
                <a:close/>
              </a:path>
            </a:pathLst>
          </a:custGeom>
          <a:solidFill>
            <a:srgbClr val="E9DBBD">
              <a:alpha val="44000"/>
            </a:srgb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sz="1200" b="1" dirty="0">
              <a:solidFill>
                <a:srgbClr val="2846A8"/>
              </a:solidFill>
              <a:latin typeface="Cambria" panose="02040503050406030204" pitchFamily="18" charset="0"/>
              <a:ea typeface="Cambria" panose="02040503050406030204" pitchFamily="18" charset="0"/>
            </a:endParaRPr>
          </a:p>
        </p:txBody>
      </p:sp>
      <p:sp>
        <p:nvSpPr>
          <p:cNvPr id="2" name="TextBox 1"/>
          <p:cNvSpPr txBox="1"/>
          <p:nvPr/>
        </p:nvSpPr>
        <p:spPr>
          <a:xfrm>
            <a:off x="1905716" y="2780062"/>
            <a:ext cx="6737684" cy="1200329"/>
          </a:xfrm>
          <a:prstGeom prst="rect">
            <a:avLst/>
          </a:prstGeom>
          <a:noFill/>
        </p:spPr>
        <p:txBody>
          <a:bodyPr wrap="square" rtlCol="0">
            <a:spAutoFit/>
          </a:bodyPr>
          <a:lstStyle/>
          <a:p>
            <a:pPr>
              <a:buClr>
                <a:srgbClr val="2846A8"/>
              </a:buClr>
            </a:pPr>
            <a:r>
              <a:rPr lang="en-US" sz="1200" b="1" dirty="0">
                <a:solidFill>
                  <a:srgbClr val="2846A8"/>
                </a:solidFill>
                <a:latin typeface="Cambria" panose="02040503050406030204" pitchFamily="18" charset="0"/>
                <a:ea typeface="Cambria" panose="02040503050406030204" pitchFamily="18" charset="0"/>
              </a:rPr>
              <a:t>Eligible expenses:</a:t>
            </a:r>
          </a:p>
          <a:p>
            <a:pPr algn="just">
              <a:buClr>
                <a:srgbClr val="2846A8"/>
              </a:buClr>
            </a:pPr>
            <a:r>
              <a:rPr lang="en-US" sz="1200" dirty="0">
                <a:solidFill>
                  <a:srgbClr val="2846A8"/>
                </a:solidFill>
                <a:latin typeface="Cambria" panose="02040503050406030204" pitchFamily="18" charset="0"/>
                <a:ea typeface="Cambria" panose="02040503050406030204" pitchFamily="18" charset="0"/>
              </a:rPr>
              <a:t>a)      costs of investments in tangible and intangible assets</a:t>
            </a:r>
          </a:p>
          <a:p>
            <a:pPr marL="346075" indent="-346075" algn="just">
              <a:buClr>
                <a:srgbClr val="2846A8"/>
              </a:buClr>
            </a:pPr>
            <a:r>
              <a:rPr lang="en-US" sz="1200" dirty="0">
                <a:solidFill>
                  <a:srgbClr val="2846A8"/>
                </a:solidFill>
                <a:latin typeface="Cambria" panose="02040503050406030204" pitchFamily="18" charset="0"/>
                <a:ea typeface="Cambria" panose="02040503050406030204" pitchFamily="18" charset="0"/>
              </a:rPr>
              <a:t>b)     estimated salary costs for jobs created following an initial investment, calculated over a period </a:t>
            </a:r>
            <a:r>
              <a:rPr lang="ro-RO"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of 2 years</a:t>
            </a:r>
          </a:p>
          <a:p>
            <a:pPr marL="346075" indent="-346075" algn="just">
              <a:buClr>
                <a:srgbClr val="2846A8"/>
              </a:buClr>
            </a:pPr>
            <a:r>
              <a:rPr lang="en-US" sz="1200" dirty="0">
                <a:solidFill>
                  <a:srgbClr val="2846A8"/>
                </a:solidFill>
                <a:latin typeface="Cambria" panose="02040503050406030204" pitchFamily="18" charset="0"/>
                <a:ea typeface="Cambria" panose="02040503050406030204" pitchFamily="18" charset="0"/>
              </a:rPr>
              <a:t>c)     a merger between a fraction of the costs stipulated at </a:t>
            </a:r>
            <a:r>
              <a:rPr lang="en-US" sz="1200" dirty="0" err="1">
                <a:solidFill>
                  <a:srgbClr val="2846A8"/>
                </a:solidFill>
                <a:latin typeface="Cambria" panose="02040503050406030204" pitchFamily="18" charset="0"/>
                <a:ea typeface="Cambria" panose="02040503050406030204" pitchFamily="18" charset="0"/>
              </a:rPr>
              <a:t>ltr</a:t>
            </a:r>
            <a:r>
              <a:rPr lang="en-US" sz="1200" dirty="0">
                <a:solidFill>
                  <a:srgbClr val="2846A8"/>
                </a:solidFill>
                <a:latin typeface="Cambria" panose="02040503050406030204" pitchFamily="18" charset="0"/>
                <a:ea typeface="Cambria" panose="02040503050406030204" pitchFamily="18" charset="0"/>
              </a:rPr>
              <a:t>. a) and b) that should not exceed the </a:t>
            </a:r>
            <a:r>
              <a:rPr lang="ro-RO"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value provided at </a:t>
            </a:r>
            <a:r>
              <a:rPr lang="en-US" sz="1200" dirty="0" err="1">
                <a:solidFill>
                  <a:srgbClr val="2846A8"/>
                </a:solidFill>
                <a:latin typeface="Cambria" panose="02040503050406030204" pitchFamily="18" charset="0"/>
                <a:ea typeface="Cambria" panose="02040503050406030204" pitchFamily="18" charset="0"/>
              </a:rPr>
              <a:t>ltr</a:t>
            </a:r>
            <a:r>
              <a:rPr lang="en-US" sz="1200" dirty="0">
                <a:solidFill>
                  <a:srgbClr val="2846A8"/>
                </a:solidFill>
                <a:latin typeface="Cambria" panose="02040503050406030204" pitchFamily="18" charset="0"/>
                <a:ea typeface="Cambria" panose="02040503050406030204" pitchFamily="18" charset="0"/>
              </a:rPr>
              <a:t>. a) or b), whichever is higher</a:t>
            </a:r>
          </a:p>
        </p:txBody>
      </p:sp>
      <p:sp>
        <p:nvSpPr>
          <p:cNvPr id="37" name="TextBox 36"/>
          <p:cNvSpPr txBox="1"/>
          <p:nvPr/>
        </p:nvSpPr>
        <p:spPr>
          <a:xfrm>
            <a:off x="1771917" y="2416438"/>
            <a:ext cx="7005283" cy="276999"/>
          </a:xfrm>
          <a:prstGeom prst="rect">
            <a:avLst/>
          </a:prstGeom>
          <a:noFill/>
        </p:spPr>
        <p:txBody>
          <a:bodyPr wrap="square" rtlCol="0">
            <a:spAutoFit/>
          </a:bodyPr>
          <a:lstStyle/>
          <a:p>
            <a:pPr algn="ctr"/>
            <a:r>
              <a:rPr lang="en-US" sz="1200" b="1" dirty="0">
                <a:solidFill>
                  <a:srgbClr val="2846A8"/>
                </a:solidFill>
                <a:latin typeface="Cambria" panose="02040503050406030204" pitchFamily="18" charset="0"/>
                <a:ea typeface="Cambria" panose="02040503050406030204" pitchFamily="18" charset="0"/>
              </a:rPr>
              <a:t>Minimum € </a:t>
            </a:r>
            <a:r>
              <a:rPr lang="ro-RO" sz="1200" b="1" dirty="0">
                <a:solidFill>
                  <a:srgbClr val="2846A8"/>
                </a:solidFill>
                <a:latin typeface="Cambria" panose="02040503050406030204" pitchFamily="18" charset="0"/>
                <a:ea typeface="Cambria" panose="02040503050406030204" pitchFamily="18" charset="0"/>
              </a:rPr>
              <a:t>5</a:t>
            </a:r>
            <a:r>
              <a:rPr lang="en-US" sz="1200" b="1" dirty="0">
                <a:solidFill>
                  <a:srgbClr val="2846A8"/>
                </a:solidFill>
                <a:latin typeface="Cambria" panose="02040503050406030204" pitchFamily="18" charset="0"/>
                <a:ea typeface="Cambria" panose="02040503050406030204" pitchFamily="18" charset="0"/>
              </a:rPr>
              <a:t> Mill. investment value</a:t>
            </a:r>
          </a:p>
        </p:txBody>
      </p:sp>
      <p:sp>
        <p:nvSpPr>
          <p:cNvPr id="14" name="TextBox 13"/>
          <p:cNvSpPr txBox="1"/>
          <p:nvPr/>
        </p:nvSpPr>
        <p:spPr>
          <a:xfrm>
            <a:off x="1905716" y="1957398"/>
            <a:ext cx="6737684" cy="461665"/>
          </a:xfrm>
          <a:prstGeom prst="rect">
            <a:avLst/>
          </a:prstGeom>
          <a:noFill/>
        </p:spPr>
        <p:txBody>
          <a:bodyPr wrap="square" rtlCol="0">
            <a:spAutoFit/>
          </a:bodyPr>
          <a:lstStyle/>
          <a:p>
            <a:pPr algn="ctr">
              <a:buClr>
                <a:srgbClr val="2846A8"/>
              </a:buClr>
            </a:pPr>
            <a:r>
              <a:rPr lang="en-US" sz="1200" dirty="0">
                <a:solidFill>
                  <a:srgbClr val="2846A8"/>
                </a:solidFill>
                <a:latin typeface="Cambria" panose="02040503050406030204" pitchFamily="18" charset="0"/>
                <a:ea typeface="Cambria" panose="02040503050406030204" pitchFamily="18" charset="0"/>
              </a:rPr>
              <a:t>	Grants for an initial investment “per se”, or an initial investment generating a new economic activity</a:t>
            </a:r>
          </a:p>
        </p:txBody>
      </p:sp>
      <p:sp>
        <p:nvSpPr>
          <p:cNvPr id="15" name="TextBox 14"/>
          <p:cNvSpPr txBox="1"/>
          <p:nvPr/>
        </p:nvSpPr>
        <p:spPr>
          <a:xfrm>
            <a:off x="2427850" y="1494939"/>
            <a:ext cx="4998924" cy="171714"/>
          </a:xfrm>
          <a:prstGeom prst="rect">
            <a:avLst/>
          </a:prstGeom>
          <a:noFill/>
          <a:ln w="9525">
            <a:noFill/>
          </a:ln>
        </p:spPr>
        <p:txBody>
          <a:bodyPr wrap="square" lIns="0" tIns="0" rIns="0" bIns="0" rtlCol="0">
            <a:spAutoFit/>
          </a:bodyPr>
          <a:lstStyle/>
          <a:p>
            <a:pPr algn="ctr">
              <a:lnSpc>
                <a:spcPct val="93000"/>
              </a:lnSpc>
            </a:pPr>
            <a:r>
              <a:rPr lang="en-US" sz="1200" dirty="0">
                <a:solidFill>
                  <a:srgbClr val="2846A8"/>
                </a:solidFill>
                <a:latin typeface="Cambria" panose="02040503050406030204" pitchFamily="18" charset="0"/>
                <a:ea typeface="Cambria" panose="02040503050406030204" pitchFamily="18" charset="0"/>
              </a:rPr>
              <a:t>Managed by: </a:t>
            </a:r>
            <a:r>
              <a:rPr lang="en-US" sz="1200" dirty="0">
                <a:solidFill>
                  <a:srgbClr val="2846A8"/>
                </a:solidFill>
                <a:latin typeface="Cambria" panose="02040503050406030204" pitchFamily="18" charset="0"/>
                <a:ea typeface="Cambria" panose="02040503050406030204" pitchFamily="18" charset="0"/>
                <a:cs typeface="Arial" panose="020B0604020202020204" pitchFamily="34" charset="0"/>
              </a:rPr>
              <a:t>The Ministry of Economy, Entrepreneurship and Tourism</a:t>
            </a:r>
          </a:p>
        </p:txBody>
      </p:sp>
      <p:sp>
        <p:nvSpPr>
          <p:cNvPr id="16" name="TextBox 15"/>
          <p:cNvSpPr txBox="1"/>
          <p:nvPr/>
        </p:nvSpPr>
        <p:spPr>
          <a:xfrm>
            <a:off x="1905716" y="4130131"/>
            <a:ext cx="6737684" cy="461665"/>
          </a:xfrm>
          <a:prstGeom prst="rect">
            <a:avLst/>
          </a:prstGeom>
          <a:noFill/>
        </p:spPr>
        <p:txBody>
          <a:bodyPr wrap="square" rtlCol="0">
            <a:spAutoFit/>
          </a:bodyPr>
          <a:lstStyle/>
          <a:p>
            <a:pPr algn="just">
              <a:buClr>
                <a:srgbClr val="2846A8"/>
              </a:buClr>
            </a:pPr>
            <a:r>
              <a:rPr lang="en-US" sz="1200" dirty="0">
                <a:solidFill>
                  <a:srgbClr val="2846A8"/>
                </a:solidFill>
                <a:latin typeface="Cambria" panose="02040503050406030204" pitchFamily="18" charset="0"/>
                <a:ea typeface="Cambria" panose="02040503050406030204" pitchFamily="18" charset="0"/>
              </a:rPr>
              <a:t>The investment must be maintained in the beneficiary region for a minimum of 5 years after its completion or, at least 3 years for SMEs. </a:t>
            </a:r>
            <a:endParaRPr lang="en-US" sz="1200" dirty="0"/>
          </a:p>
        </p:txBody>
      </p:sp>
    </p:spTree>
    <p:extLst>
      <p:ext uri="{BB962C8B-B14F-4D97-AF65-F5344CB8AC3E}">
        <p14:creationId xmlns:p14="http://schemas.microsoft.com/office/powerpoint/2010/main" val="36918520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6307708" y="4834381"/>
            <a:ext cx="2468880" cy="128818"/>
          </a:xfrm>
          <a:prstGeom prst="rect">
            <a:avLst/>
          </a:prstGeom>
          <a:noFill/>
          <a:ln w="9525">
            <a:noFill/>
          </a:ln>
        </p:spPr>
        <p:txBody>
          <a:bodyPr wrap="square" lIns="0" tIns="0" rIns="0" bIns="0" rtlCol="0">
            <a:spAutoFit/>
          </a:bodyPr>
          <a:lstStyle/>
          <a:p>
            <a:pPr>
              <a:lnSpc>
                <a:spcPct val="93000"/>
              </a:lnSpc>
            </a:pPr>
            <a:r>
              <a:rPr lang="en-US" sz="900" dirty="0">
                <a:solidFill>
                  <a:srgbClr val="2846A8"/>
                </a:solidFill>
                <a:latin typeface="Cambria" panose="02040503050406030204" pitchFamily="18" charset="0"/>
                <a:cs typeface="Arial" pitchFamily="34" charset="0"/>
              </a:rPr>
              <a:t>(Source: The Official Monitor, </a:t>
            </a:r>
            <a:r>
              <a:rPr lang="ro-RO" sz="900" dirty="0">
                <a:solidFill>
                  <a:srgbClr val="2846A8"/>
                </a:solidFill>
                <a:latin typeface="Cambria" panose="02040503050406030204" pitchFamily="18" charset="0"/>
                <a:cs typeface="Arial" pitchFamily="34" charset="0"/>
              </a:rPr>
              <a:t>June</a:t>
            </a:r>
            <a:r>
              <a:rPr lang="en-US" sz="900" dirty="0">
                <a:solidFill>
                  <a:srgbClr val="2846A8"/>
                </a:solidFill>
                <a:latin typeface="Cambria" panose="02040503050406030204" pitchFamily="18" charset="0"/>
                <a:cs typeface="Arial" pitchFamily="34" charset="0"/>
              </a:rPr>
              <a:t> </a:t>
            </a:r>
            <a:r>
              <a:rPr lang="ro-RO" sz="900" dirty="0">
                <a:solidFill>
                  <a:srgbClr val="2846A8"/>
                </a:solidFill>
                <a:latin typeface="Cambria" panose="02040503050406030204" pitchFamily="18" charset="0"/>
                <a:cs typeface="Arial" pitchFamily="34" charset="0"/>
              </a:rPr>
              <a:t>21</a:t>
            </a:r>
            <a:r>
              <a:rPr lang="ro-RO" sz="900" baseline="30000" dirty="0">
                <a:solidFill>
                  <a:srgbClr val="2846A8"/>
                </a:solidFill>
                <a:latin typeface="Cambria" panose="02040503050406030204" pitchFamily="18" charset="0"/>
                <a:cs typeface="Arial" pitchFamily="34" charset="0"/>
              </a:rPr>
              <a:t>st</a:t>
            </a:r>
            <a:r>
              <a:rPr lang="en-US" sz="900" dirty="0">
                <a:solidFill>
                  <a:srgbClr val="2846A8"/>
                </a:solidFill>
                <a:latin typeface="Cambria" panose="02040503050406030204" pitchFamily="18" charset="0"/>
                <a:cs typeface="Arial" pitchFamily="34" charset="0"/>
              </a:rPr>
              <a:t>, 202</a:t>
            </a:r>
            <a:r>
              <a:rPr lang="ro-RO" sz="900" dirty="0">
                <a:solidFill>
                  <a:srgbClr val="2846A8"/>
                </a:solidFill>
                <a:latin typeface="Cambria" panose="02040503050406030204" pitchFamily="18" charset="0"/>
                <a:cs typeface="Arial" pitchFamily="34" charset="0"/>
              </a:rPr>
              <a:t>4</a:t>
            </a:r>
            <a:r>
              <a:rPr lang="en-US" sz="900" dirty="0">
                <a:solidFill>
                  <a:srgbClr val="2846A8"/>
                </a:solidFill>
                <a:latin typeface="Cambria" panose="02040503050406030204" pitchFamily="18" charset="0"/>
                <a:cs typeface="Arial" pitchFamily="34" charset="0"/>
              </a:rPr>
              <a:t>)</a:t>
            </a:r>
          </a:p>
        </p:txBody>
      </p:sp>
      <p:grpSp>
        <p:nvGrpSpPr>
          <p:cNvPr id="3" name="Group 2"/>
          <p:cNvGrpSpPr/>
          <p:nvPr/>
        </p:nvGrpSpPr>
        <p:grpSpPr>
          <a:xfrm>
            <a:off x="1924950" y="1104186"/>
            <a:ext cx="5488423" cy="3693453"/>
            <a:chOff x="243637" y="1390639"/>
            <a:chExt cx="5312337" cy="3551804"/>
          </a:xfrm>
        </p:grpSpPr>
        <p:grpSp>
          <p:nvGrpSpPr>
            <p:cNvPr id="104" name="Group 103"/>
            <p:cNvGrpSpPr/>
            <p:nvPr/>
          </p:nvGrpSpPr>
          <p:grpSpPr>
            <a:xfrm>
              <a:off x="243637" y="1390639"/>
              <a:ext cx="5312337" cy="3551804"/>
              <a:chOff x="2298850" y="2557007"/>
              <a:chExt cx="5185596" cy="3383280"/>
            </a:xfrm>
          </p:grpSpPr>
          <p:sp>
            <p:nvSpPr>
              <p:cNvPr id="105" name="Freeform 10"/>
              <p:cNvSpPr>
                <a:spLocks/>
              </p:cNvSpPr>
              <p:nvPr/>
            </p:nvSpPr>
            <p:spPr bwMode="auto">
              <a:xfrm>
                <a:off x="6076120" y="3467890"/>
                <a:ext cx="594693" cy="711356"/>
              </a:xfrm>
              <a:custGeom>
                <a:avLst/>
                <a:gdLst>
                  <a:gd name="T0" fmla="*/ 2147483646 w 504"/>
                  <a:gd name="T1" fmla="*/ 2147483646 h 656"/>
                  <a:gd name="T2" fmla="*/ 2147483646 w 504"/>
                  <a:gd name="T3" fmla="*/ 2147483646 h 656"/>
                  <a:gd name="T4" fmla="*/ 2147483646 w 504"/>
                  <a:gd name="T5" fmla="*/ 2147483646 h 656"/>
                  <a:gd name="T6" fmla="*/ 2147483646 w 504"/>
                  <a:gd name="T7" fmla="*/ 2147483646 h 656"/>
                  <a:gd name="T8" fmla="*/ 2147483646 w 504"/>
                  <a:gd name="T9" fmla="*/ 2147483646 h 656"/>
                  <a:gd name="T10" fmla="*/ 2147483646 w 504"/>
                  <a:gd name="T11" fmla="*/ 2147483646 h 656"/>
                  <a:gd name="T12" fmla="*/ 2147483646 w 504"/>
                  <a:gd name="T13" fmla="*/ 2147483646 h 656"/>
                  <a:gd name="T14" fmla="*/ 2147483646 w 504"/>
                  <a:gd name="T15" fmla="*/ 2147483646 h 656"/>
                  <a:gd name="T16" fmla="*/ 2147483646 w 504"/>
                  <a:gd name="T17" fmla="*/ 0 h 656"/>
                  <a:gd name="T18" fmla="*/ 2147483646 w 504"/>
                  <a:gd name="T19" fmla="*/ 2147483646 h 656"/>
                  <a:gd name="T20" fmla="*/ 2147483646 w 504"/>
                  <a:gd name="T21" fmla="*/ 2147483646 h 656"/>
                  <a:gd name="T22" fmla="*/ 2147483646 w 504"/>
                  <a:gd name="T23" fmla="*/ 2147483646 h 656"/>
                  <a:gd name="T24" fmla="*/ 2147483646 w 504"/>
                  <a:gd name="T25" fmla="*/ 2147483646 h 656"/>
                  <a:gd name="T26" fmla="*/ 2147483646 w 504"/>
                  <a:gd name="T27" fmla="*/ 2147483646 h 656"/>
                  <a:gd name="T28" fmla="*/ 0 w 504"/>
                  <a:gd name="T29" fmla="*/ 2147483646 h 656"/>
                  <a:gd name="T30" fmla="*/ 2147483646 w 504"/>
                  <a:gd name="T31" fmla="*/ 2147483646 h 656"/>
                  <a:gd name="T32" fmla="*/ 2147483646 w 504"/>
                  <a:gd name="T33" fmla="*/ 2147483646 h 656"/>
                  <a:gd name="T34" fmla="*/ 2147483646 w 504"/>
                  <a:gd name="T35" fmla="*/ 2147483646 h 656"/>
                  <a:gd name="T36" fmla="*/ 2147483646 w 504"/>
                  <a:gd name="T37" fmla="*/ 2147483646 h 656"/>
                  <a:gd name="T38" fmla="*/ 2147483646 w 504"/>
                  <a:gd name="T39" fmla="*/ 2147483646 h 656"/>
                  <a:gd name="T40" fmla="*/ 2147483646 w 504"/>
                  <a:gd name="T41" fmla="*/ 2147483646 h 656"/>
                  <a:gd name="T42" fmla="*/ 2147483646 w 504"/>
                  <a:gd name="T43" fmla="*/ 2147483646 h 656"/>
                  <a:gd name="T44" fmla="*/ 2147483646 w 504"/>
                  <a:gd name="T45" fmla="*/ 2147483646 h 656"/>
                  <a:gd name="T46" fmla="*/ 2147483646 w 504"/>
                  <a:gd name="T47" fmla="*/ 2147483646 h 656"/>
                  <a:gd name="T48" fmla="*/ 2147483646 w 504"/>
                  <a:gd name="T49" fmla="*/ 2147483646 h 656"/>
                  <a:gd name="T50" fmla="*/ 2147483646 w 504"/>
                  <a:gd name="T51" fmla="*/ 2147483646 h 656"/>
                  <a:gd name="T52" fmla="*/ 2147483646 w 504"/>
                  <a:gd name="T53" fmla="*/ 2147483646 h 656"/>
                  <a:gd name="T54" fmla="*/ 2147483646 w 504"/>
                  <a:gd name="T55" fmla="*/ 2147483646 h 656"/>
                  <a:gd name="T56" fmla="*/ 2147483646 w 504"/>
                  <a:gd name="T57" fmla="*/ 2147483646 h 656"/>
                  <a:gd name="T58" fmla="*/ 2147483646 w 504"/>
                  <a:gd name="T59" fmla="*/ 2147483646 h 656"/>
                  <a:gd name="T60" fmla="*/ 2147483646 w 504"/>
                  <a:gd name="T61" fmla="*/ 2147483646 h 656"/>
                  <a:gd name="T62" fmla="*/ 2147483646 w 504"/>
                  <a:gd name="T63" fmla="*/ 2147483646 h 656"/>
                  <a:gd name="T64" fmla="*/ 2147483646 w 504"/>
                  <a:gd name="T65" fmla="*/ 2147483646 h 656"/>
                  <a:gd name="T66" fmla="*/ 2147483646 w 504"/>
                  <a:gd name="T67" fmla="*/ 2147483646 h 656"/>
                  <a:gd name="T68" fmla="*/ 2147483646 w 504"/>
                  <a:gd name="T69" fmla="*/ 2147483646 h 656"/>
                  <a:gd name="T70" fmla="*/ 2147483646 w 504"/>
                  <a:gd name="T71" fmla="*/ 2147483646 h 656"/>
                  <a:gd name="T72" fmla="*/ 2147483646 w 504"/>
                  <a:gd name="T73" fmla="*/ 2147483646 h 656"/>
                  <a:gd name="T74" fmla="*/ 2147483646 w 504"/>
                  <a:gd name="T75" fmla="*/ 2147483646 h 656"/>
                  <a:gd name="T76" fmla="*/ 2147483646 w 504"/>
                  <a:gd name="T77" fmla="*/ 2147483646 h 656"/>
                  <a:gd name="T78" fmla="*/ 2147483646 w 504"/>
                  <a:gd name="T79" fmla="*/ 2147483646 h 656"/>
                  <a:gd name="T80" fmla="*/ 2147483646 w 504"/>
                  <a:gd name="T81" fmla="*/ 2147483646 h 656"/>
                  <a:gd name="T82" fmla="*/ 2147483646 w 504"/>
                  <a:gd name="T83" fmla="*/ 2147483646 h 6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4"/>
                  <a:gd name="T127" fmla="*/ 0 h 656"/>
                  <a:gd name="T128" fmla="*/ 504 w 504"/>
                  <a:gd name="T129" fmla="*/ 656 h 6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4" h="656">
                    <a:moveTo>
                      <a:pt x="432" y="88"/>
                    </a:moveTo>
                    <a:lnTo>
                      <a:pt x="392" y="96"/>
                    </a:lnTo>
                    <a:lnTo>
                      <a:pt x="360" y="72"/>
                    </a:lnTo>
                    <a:lnTo>
                      <a:pt x="344" y="120"/>
                    </a:lnTo>
                    <a:lnTo>
                      <a:pt x="304" y="80"/>
                    </a:lnTo>
                    <a:lnTo>
                      <a:pt x="296" y="24"/>
                    </a:lnTo>
                    <a:lnTo>
                      <a:pt x="256" y="64"/>
                    </a:lnTo>
                    <a:lnTo>
                      <a:pt x="240" y="8"/>
                    </a:lnTo>
                    <a:lnTo>
                      <a:pt x="200" y="0"/>
                    </a:lnTo>
                    <a:lnTo>
                      <a:pt x="200" y="48"/>
                    </a:lnTo>
                    <a:lnTo>
                      <a:pt x="136" y="80"/>
                    </a:lnTo>
                    <a:lnTo>
                      <a:pt x="96" y="40"/>
                    </a:lnTo>
                    <a:lnTo>
                      <a:pt x="64" y="72"/>
                    </a:lnTo>
                    <a:lnTo>
                      <a:pt x="8" y="80"/>
                    </a:lnTo>
                    <a:lnTo>
                      <a:pt x="0" y="112"/>
                    </a:lnTo>
                    <a:lnTo>
                      <a:pt x="8" y="152"/>
                    </a:lnTo>
                    <a:lnTo>
                      <a:pt x="48" y="184"/>
                    </a:lnTo>
                    <a:lnTo>
                      <a:pt x="40" y="256"/>
                    </a:lnTo>
                    <a:lnTo>
                      <a:pt x="120" y="376"/>
                    </a:lnTo>
                    <a:lnTo>
                      <a:pt x="128" y="416"/>
                    </a:lnTo>
                    <a:lnTo>
                      <a:pt x="160" y="464"/>
                    </a:lnTo>
                    <a:lnTo>
                      <a:pt x="160" y="544"/>
                    </a:lnTo>
                    <a:lnTo>
                      <a:pt x="160" y="584"/>
                    </a:lnTo>
                    <a:lnTo>
                      <a:pt x="184" y="592"/>
                    </a:lnTo>
                    <a:lnTo>
                      <a:pt x="184" y="656"/>
                    </a:lnTo>
                    <a:lnTo>
                      <a:pt x="232" y="624"/>
                    </a:lnTo>
                    <a:lnTo>
                      <a:pt x="240" y="576"/>
                    </a:lnTo>
                    <a:lnTo>
                      <a:pt x="312" y="568"/>
                    </a:lnTo>
                    <a:lnTo>
                      <a:pt x="344" y="536"/>
                    </a:lnTo>
                    <a:lnTo>
                      <a:pt x="376" y="568"/>
                    </a:lnTo>
                    <a:lnTo>
                      <a:pt x="456" y="576"/>
                    </a:lnTo>
                    <a:lnTo>
                      <a:pt x="464" y="528"/>
                    </a:lnTo>
                    <a:lnTo>
                      <a:pt x="432" y="496"/>
                    </a:lnTo>
                    <a:lnTo>
                      <a:pt x="456" y="464"/>
                    </a:lnTo>
                    <a:lnTo>
                      <a:pt x="480" y="440"/>
                    </a:lnTo>
                    <a:lnTo>
                      <a:pt x="472" y="416"/>
                    </a:lnTo>
                    <a:lnTo>
                      <a:pt x="504" y="344"/>
                    </a:lnTo>
                    <a:lnTo>
                      <a:pt x="472" y="312"/>
                    </a:lnTo>
                    <a:lnTo>
                      <a:pt x="496" y="248"/>
                    </a:lnTo>
                    <a:lnTo>
                      <a:pt x="488" y="208"/>
                    </a:lnTo>
                    <a:lnTo>
                      <a:pt x="456" y="152"/>
                    </a:lnTo>
                    <a:lnTo>
                      <a:pt x="432" y="88"/>
                    </a:lnTo>
                    <a:close/>
                  </a:path>
                </a:pathLst>
              </a:custGeom>
              <a:solidFill>
                <a:srgbClr val="9950A8"/>
              </a:solidFill>
              <a:ln w="9525">
                <a:solidFill>
                  <a:schemeClr val="bg1"/>
                </a:solidFill>
                <a:round/>
                <a:headEnd/>
                <a:tailEnd/>
              </a:ln>
            </p:spPr>
            <p:txBody>
              <a:bodyPr/>
              <a:lstStyle/>
              <a:p>
                <a:endParaRPr lang="en-US" sz="1050"/>
              </a:p>
            </p:txBody>
          </p:sp>
          <p:sp>
            <p:nvSpPr>
              <p:cNvPr id="106" name="Freeform 4"/>
              <p:cNvSpPr>
                <a:spLocks/>
              </p:cNvSpPr>
              <p:nvPr/>
            </p:nvSpPr>
            <p:spPr bwMode="auto">
              <a:xfrm>
                <a:off x="5476206" y="2557007"/>
                <a:ext cx="678842" cy="581230"/>
              </a:xfrm>
              <a:custGeom>
                <a:avLst/>
                <a:gdLst>
                  <a:gd name="T0" fmla="*/ 0 w 576"/>
                  <a:gd name="T1" fmla="*/ 2147483646 h 536"/>
                  <a:gd name="T2" fmla="*/ 2147483646 w 576"/>
                  <a:gd name="T3" fmla="*/ 2147483646 h 536"/>
                  <a:gd name="T4" fmla="*/ 2147483646 w 576"/>
                  <a:gd name="T5" fmla="*/ 2147483646 h 536"/>
                  <a:gd name="T6" fmla="*/ 2147483646 w 576"/>
                  <a:gd name="T7" fmla="*/ 2147483646 h 536"/>
                  <a:gd name="T8" fmla="*/ 2147483646 w 576"/>
                  <a:gd name="T9" fmla="*/ 2147483646 h 536"/>
                  <a:gd name="T10" fmla="*/ 2147483646 w 576"/>
                  <a:gd name="T11" fmla="*/ 2147483646 h 536"/>
                  <a:gd name="T12" fmla="*/ 2147483646 w 576"/>
                  <a:gd name="T13" fmla="*/ 2147483646 h 536"/>
                  <a:gd name="T14" fmla="*/ 2147483646 w 576"/>
                  <a:gd name="T15" fmla="*/ 0 h 536"/>
                  <a:gd name="T16" fmla="*/ 2147483646 w 576"/>
                  <a:gd name="T17" fmla="*/ 2147483646 h 536"/>
                  <a:gd name="T18" fmla="*/ 2147483646 w 576"/>
                  <a:gd name="T19" fmla="*/ 2147483646 h 536"/>
                  <a:gd name="T20" fmla="*/ 2147483646 w 576"/>
                  <a:gd name="T21" fmla="*/ 2147483646 h 536"/>
                  <a:gd name="T22" fmla="*/ 2147483646 w 576"/>
                  <a:gd name="T23" fmla="*/ 2147483646 h 536"/>
                  <a:gd name="T24" fmla="*/ 2147483646 w 576"/>
                  <a:gd name="T25" fmla="*/ 2147483646 h 536"/>
                  <a:gd name="T26" fmla="*/ 2147483646 w 576"/>
                  <a:gd name="T27" fmla="*/ 2147483646 h 536"/>
                  <a:gd name="T28" fmla="*/ 2147483646 w 576"/>
                  <a:gd name="T29" fmla="*/ 2147483646 h 536"/>
                  <a:gd name="T30" fmla="*/ 2147483646 w 576"/>
                  <a:gd name="T31" fmla="*/ 2147483646 h 536"/>
                  <a:gd name="T32" fmla="*/ 2147483646 w 576"/>
                  <a:gd name="T33" fmla="*/ 2147483646 h 536"/>
                  <a:gd name="T34" fmla="*/ 2147483646 w 576"/>
                  <a:gd name="T35" fmla="*/ 2147483646 h 536"/>
                  <a:gd name="T36" fmla="*/ 2147483646 w 576"/>
                  <a:gd name="T37" fmla="*/ 2147483646 h 536"/>
                  <a:gd name="T38" fmla="*/ 2147483646 w 576"/>
                  <a:gd name="T39" fmla="*/ 2147483646 h 536"/>
                  <a:gd name="T40" fmla="*/ 2147483646 w 576"/>
                  <a:gd name="T41" fmla="*/ 2147483646 h 536"/>
                  <a:gd name="T42" fmla="*/ 2147483646 w 576"/>
                  <a:gd name="T43" fmla="*/ 2147483646 h 536"/>
                  <a:gd name="T44" fmla="*/ 2147483646 w 576"/>
                  <a:gd name="T45" fmla="*/ 2147483646 h 536"/>
                  <a:gd name="T46" fmla="*/ 2147483646 w 576"/>
                  <a:gd name="T47" fmla="*/ 2147483646 h 536"/>
                  <a:gd name="T48" fmla="*/ 2147483646 w 576"/>
                  <a:gd name="T49" fmla="*/ 2147483646 h 536"/>
                  <a:gd name="T50" fmla="*/ 2147483646 w 576"/>
                  <a:gd name="T51" fmla="*/ 2147483646 h 536"/>
                  <a:gd name="T52" fmla="*/ 2147483646 w 576"/>
                  <a:gd name="T53" fmla="*/ 2147483646 h 536"/>
                  <a:gd name="T54" fmla="*/ 2147483646 w 576"/>
                  <a:gd name="T55" fmla="*/ 2147483646 h 536"/>
                  <a:gd name="T56" fmla="*/ 2147483646 w 576"/>
                  <a:gd name="T57" fmla="*/ 2147483646 h 536"/>
                  <a:gd name="T58" fmla="*/ 2147483646 w 576"/>
                  <a:gd name="T59" fmla="*/ 2147483646 h 536"/>
                  <a:gd name="T60" fmla="*/ 2147483646 w 576"/>
                  <a:gd name="T61" fmla="*/ 2147483646 h 536"/>
                  <a:gd name="T62" fmla="*/ 2147483646 w 576"/>
                  <a:gd name="T63" fmla="*/ 2147483646 h 536"/>
                  <a:gd name="T64" fmla="*/ 2147483646 w 576"/>
                  <a:gd name="T65" fmla="*/ 2147483646 h 536"/>
                  <a:gd name="T66" fmla="*/ 2147483646 w 576"/>
                  <a:gd name="T67" fmla="*/ 2147483646 h 536"/>
                  <a:gd name="T68" fmla="*/ 2147483646 w 576"/>
                  <a:gd name="T69" fmla="*/ 2147483646 h 536"/>
                  <a:gd name="T70" fmla="*/ 2147483646 w 576"/>
                  <a:gd name="T71" fmla="*/ 2147483646 h 536"/>
                  <a:gd name="T72" fmla="*/ 2147483646 w 576"/>
                  <a:gd name="T73" fmla="*/ 2147483646 h 536"/>
                  <a:gd name="T74" fmla="*/ 2147483646 w 576"/>
                  <a:gd name="T75" fmla="*/ 2147483646 h 536"/>
                  <a:gd name="T76" fmla="*/ 0 w 576"/>
                  <a:gd name="T77" fmla="*/ 2147483646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6"/>
                  <a:gd name="T118" fmla="*/ 0 h 536"/>
                  <a:gd name="T119" fmla="*/ 576 w 576"/>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6" h="536">
                    <a:moveTo>
                      <a:pt x="0" y="192"/>
                    </a:moveTo>
                    <a:lnTo>
                      <a:pt x="48" y="168"/>
                    </a:lnTo>
                    <a:lnTo>
                      <a:pt x="72" y="128"/>
                    </a:lnTo>
                    <a:lnTo>
                      <a:pt x="96" y="64"/>
                    </a:lnTo>
                    <a:lnTo>
                      <a:pt x="96" y="40"/>
                    </a:lnTo>
                    <a:lnTo>
                      <a:pt x="184" y="32"/>
                    </a:lnTo>
                    <a:lnTo>
                      <a:pt x="200" y="32"/>
                    </a:lnTo>
                    <a:lnTo>
                      <a:pt x="256" y="0"/>
                    </a:lnTo>
                    <a:lnTo>
                      <a:pt x="344" y="16"/>
                    </a:lnTo>
                    <a:lnTo>
                      <a:pt x="360" y="48"/>
                    </a:lnTo>
                    <a:lnTo>
                      <a:pt x="392" y="32"/>
                    </a:lnTo>
                    <a:lnTo>
                      <a:pt x="392" y="80"/>
                    </a:lnTo>
                    <a:lnTo>
                      <a:pt x="424" y="72"/>
                    </a:lnTo>
                    <a:lnTo>
                      <a:pt x="424" y="112"/>
                    </a:lnTo>
                    <a:lnTo>
                      <a:pt x="472" y="184"/>
                    </a:lnTo>
                    <a:lnTo>
                      <a:pt x="472" y="232"/>
                    </a:lnTo>
                    <a:lnTo>
                      <a:pt x="496" y="248"/>
                    </a:lnTo>
                    <a:lnTo>
                      <a:pt x="520" y="280"/>
                    </a:lnTo>
                    <a:lnTo>
                      <a:pt x="536" y="344"/>
                    </a:lnTo>
                    <a:lnTo>
                      <a:pt x="536" y="384"/>
                    </a:lnTo>
                    <a:lnTo>
                      <a:pt x="576" y="424"/>
                    </a:lnTo>
                    <a:lnTo>
                      <a:pt x="504" y="464"/>
                    </a:lnTo>
                    <a:lnTo>
                      <a:pt x="456" y="456"/>
                    </a:lnTo>
                    <a:lnTo>
                      <a:pt x="432" y="512"/>
                    </a:lnTo>
                    <a:lnTo>
                      <a:pt x="400" y="488"/>
                    </a:lnTo>
                    <a:lnTo>
                      <a:pt x="304" y="488"/>
                    </a:lnTo>
                    <a:lnTo>
                      <a:pt x="328" y="512"/>
                    </a:lnTo>
                    <a:lnTo>
                      <a:pt x="280" y="512"/>
                    </a:lnTo>
                    <a:lnTo>
                      <a:pt x="224" y="536"/>
                    </a:lnTo>
                    <a:lnTo>
                      <a:pt x="208" y="504"/>
                    </a:lnTo>
                    <a:lnTo>
                      <a:pt x="240" y="472"/>
                    </a:lnTo>
                    <a:lnTo>
                      <a:pt x="184" y="376"/>
                    </a:lnTo>
                    <a:lnTo>
                      <a:pt x="184" y="328"/>
                    </a:lnTo>
                    <a:lnTo>
                      <a:pt x="136" y="288"/>
                    </a:lnTo>
                    <a:lnTo>
                      <a:pt x="120" y="312"/>
                    </a:lnTo>
                    <a:lnTo>
                      <a:pt x="64" y="240"/>
                    </a:lnTo>
                    <a:lnTo>
                      <a:pt x="40" y="248"/>
                    </a:lnTo>
                    <a:lnTo>
                      <a:pt x="8" y="216"/>
                    </a:lnTo>
                    <a:lnTo>
                      <a:pt x="0" y="192"/>
                    </a:lnTo>
                    <a:close/>
                  </a:path>
                </a:pathLst>
              </a:custGeom>
              <a:solidFill>
                <a:srgbClr val="9950A8"/>
              </a:solidFill>
              <a:ln w="9525">
                <a:solidFill>
                  <a:schemeClr val="bg1"/>
                </a:solidFill>
                <a:round/>
                <a:headEnd/>
                <a:tailEnd/>
              </a:ln>
            </p:spPr>
            <p:txBody>
              <a:bodyPr/>
              <a:lstStyle/>
              <a:p>
                <a:endParaRPr lang="en-US" sz="1050"/>
              </a:p>
            </p:txBody>
          </p:sp>
          <p:sp>
            <p:nvSpPr>
              <p:cNvPr id="107" name="Freeform 5"/>
              <p:cNvSpPr>
                <a:spLocks/>
              </p:cNvSpPr>
              <p:nvPr/>
            </p:nvSpPr>
            <p:spPr bwMode="auto">
              <a:xfrm>
                <a:off x="5721343" y="3016786"/>
                <a:ext cx="857981" cy="581230"/>
              </a:xfrm>
              <a:custGeom>
                <a:avLst/>
                <a:gdLst>
                  <a:gd name="T0" fmla="*/ 2147483646 w 728"/>
                  <a:gd name="T1" fmla="*/ 0 h 536"/>
                  <a:gd name="T2" fmla="*/ 2147483646 w 728"/>
                  <a:gd name="T3" fmla="*/ 2147483646 h 536"/>
                  <a:gd name="T4" fmla="*/ 2147483646 w 728"/>
                  <a:gd name="T5" fmla="*/ 2147483646 h 536"/>
                  <a:gd name="T6" fmla="*/ 2147483646 w 728"/>
                  <a:gd name="T7" fmla="*/ 2147483646 h 536"/>
                  <a:gd name="T8" fmla="*/ 2147483646 w 728"/>
                  <a:gd name="T9" fmla="*/ 2147483646 h 536"/>
                  <a:gd name="T10" fmla="*/ 2147483646 w 728"/>
                  <a:gd name="T11" fmla="*/ 2147483646 h 536"/>
                  <a:gd name="T12" fmla="*/ 2147483646 w 728"/>
                  <a:gd name="T13" fmla="*/ 2147483646 h 536"/>
                  <a:gd name="T14" fmla="*/ 2147483646 w 728"/>
                  <a:gd name="T15" fmla="*/ 2147483646 h 536"/>
                  <a:gd name="T16" fmla="*/ 2147483646 w 728"/>
                  <a:gd name="T17" fmla="*/ 2147483646 h 536"/>
                  <a:gd name="T18" fmla="*/ 2147483646 w 728"/>
                  <a:gd name="T19" fmla="*/ 2147483646 h 536"/>
                  <a:gd name="T20" fmla="*/ 2147483646 w 728"/>
                  <a:gd name="T21" fmla="*/ 2147483646 h 536"/>
                  <a:gd name="T22" fmla="*/ 0 w 728"/>
                  <a:gd name="T23" fmla="*/ 2147483646 h 536"/>
                  <a:gd name="T24" fmla="*/ 2147483646 w 728"/>
                  <a:gd name="T25" fmla="*/ 2147483646 h 536"/>
                  <a:gd name="T26" fmla="*/ 2147483646 w 728"/>
                  <a:gd name="T27" fmla="*/ 2147483646 h 536"/>
                  <a:gd name="T28" fmla="*/ 2147483646 w 728"/>
                  <a:gd name="T29" fmla="*/ 2147483646 h 536"/>
                  <a:gd name="T30" fmla="*/ 2147483646 w 728"/>
                  <a:gd name="T31" fmla="*/ 2147483646 h 536"/>
                  <a:gd name="T32" fmla="*/ 2147483646 w 728"/>
                  <a:gd name="T33" fmla="*/ 2147483646 h 536"/>
                  <a:gd name="T34" fmla="*/ 2147483646 w 728"/>
                  <a:gd name="T35" fmla="*/ 2147483646 h 536"/>
                  <a:gd name="T36" fmla="*/ 2147483646 w 728"/>
                  <a:gd name="T37" fmla="*/ 2147483646 h 536"/>
                  <a:gd name="T38" fmla="*/ 2147483646 w 728"/>
                  <a:gd name="T39" fmla="*/ 2147483646 h 536"/>
                  <a:gd name="T40" fmla="*/ 2147483646 w 728"/>
                  <a:gd name="T41" fmla="*/ 2147483646 h 536"/>
                  <a:gd name="T42" fmla="*/ 2147483646 w 728"/>
                  <a:gd name="T43" fmla="*/ 2147483646 h 536"/>
                  <a:gd name="T44" fmla="*/ 2147483646 w 728"/>
                  <a:gd name="T45" fmla="*/ 2147483646 h 536"/>
                  <a:gd name="T46" fmla="*/ 2147483646 w 728"/>
                  <a:gd name="T47" fmla="*/ 2147483646 h 536"/>
                  <a:gd name="T48" fmla="*/ 2147483646 w 728"/>
                  <a:gd name="T49" fmla="*/ 2147483646 h 536"/>
                  <a:gd name="T50" fmla="*/ 2147483646 w 728"/>
                  <a:gd name="T51" fmla="*/ 2147483646 h 536"/>
                  <a:gd name="T52" fmla="*/ 2147483646 w 728"/>
                  <a:gd name="T53" fmla="*/ 2147483646 h 536"/>
                  <a:gd name="T54" fmla="*/ 2147483646 w 728"/>
                  <a:gd name="T55" fmla="*/ 2147483646 h 536"/>
                  <a:gd name="T56" fmla="*/ 2147483646 w 728"/>
                  <a:gd name="T57" fmla="*/ 2147483646 h 536"/>
                  <a:gd name="T58" fmla="*/ 2147483646 w 728"/>
                  <a:gd name="T59" fmla="*/ 2147483646 h 536"/>
                  <a:gd name="T60" fmla="*/ 2147483646 w 728"/>
                  <a:gd name="T61" fmla="*/ 2147483646 h 536"/>
                  <a:gd name="T62" fmla="*/ 2147483646 w 728"/>
                  <a:gd name="T63" fmla="*/ 2147483646 h 536"/>
                  <a:gd name="T64" fmla="*/ 2147483646 w 728"/>
                  <a:gd name="T65" fmla="*/ 2147483646 h 536"/>
                  <a:gd name="T66" fmla="*/ 2147483646 w 728"/>
                  <a:gd name="T67" fmla="*/ 2147483646 h 536"/>
                  <a:gd name="T68" fmla="*/ 2147483646 w 728"/>
                  <a:gd name="T69" fmla="*/ 2147483646 h 536"/>
                  <a:gd name="T70" fmla="*/ 2147483646 w 728"/>
                  <a:gd name="T71" fmla="*/ 2147483646 h 536"/>
                  <a:gd name="T72" fmla="*/ 2147483646 w 728"/>
                  <a:gd name="T73" fmla="*/ 2147483646 h 536"/>
                  <a:gd name="T74" fmla="*/ 2147483646 w 728"/>
                  <a:gd name="T75" fmla="*/ 2147483646 h 536"/>
                  <a:gd name="T76" fmla="*/ 2147483646 w 728"/>
                  <a:gd name="T77" fmla="*/ 2147483646 h 536"/>
                  <a:gd name="T78" fmla="*/ 2147483646 w 728"/>
                  <a:gd name="T79" fmla="*/ 2147483646 h 536"/>
                  <a:gd name="T80" fmla="*/ 2147483646 w 728"/>
                  <a:gd name="T81" fmla="*/ 2147483646 h 536"/>
                  <a:gd name="T82" fmla="*/ 2147483646 w 728"/>
                  <a:gd name="T83" fmla="*/ 2147483646 h 536"/>
                  <a:gd name="T84" fmla="*/ 2147483646 w 728"/>
                  <a:gd name="T85" fmla="*/ 2147483646 h 536"/>
                  <a:gd name="T86" fmla="*/ 2147483646 w 728"/>
                  <a:gd name="T87" fmla="*/ 2147483646 h 536"/>
                  <a:gd name="T88" fmla="*/ 2147483646 w 728"/>
                  <a:gd name="T89" fmla="*/ 2147483646 h 536"/>
                  <a:gd name="T90" fmla="*/ 2147483646 w 728"/>
                  <a:gd name="T91" fmla="*/ 2147483646 h 536"/>
                  <a:gd name="T92" fmla="*/ 2147483646 w 728"/>
                  <a:gd name="T93" fmla="*/ 2147483646 h 536"/>
                  <a:gd name="T94" fmla="*/ 2147483646 w 728"/>
                  <a:gd name="T95" fmla="*/ 0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8"/>
                  <a:gd name="T145" fmla="*/ 0 h 536"/>
                  <a:gd name="T146" fmla="*/ 728 w 728"/>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8" h="536">
                    <a:moveTo>
                      <a:pt x="368" y="0"/>
                    </a:moveTo>
                    <a:lnTo>
                      <a:pt x="296" y="40"/>
                    </a:lnTo>
                    <a:lnTo>
                      <a:pt x="248" y="32"/>
                    </a:lnTo>
                    <a:lnTo>
                      <a:pt x="224" y="88"/>
                    </a:lnTo>
                    <a:lnTo>
                      <a:pt x="192" y="64"/>
                    </a:lnTo>
                    <a:lnTo>
                      <a:pt x="96" y="64"/>
                    </a:lnTo>
                    <a:lnTo>
                      <a:pt x="120" y="88"/>
                    </a:lnTo>
                    <a:lnTo>
                      <a:pt x="72" y="88"/>
                    </a:lnTo>
                    <a:lnTo>
                      <a:pt x="80" y="152"/>
                    </a:lnTo>
                    <a:lnTo>
                      <a:pt x="48" y="144"/>
                    </a:lnTo>
                    <a:lnTo>
                      <a:pt x="48" y="176"/>
                    </a:lnTo>
                    <a:lnTo>
                      <a:pt x="0" y="160"/>
                    </a:lnTo>
                    <a:lnTo>
                      <a:pt x="16" y="240"/>
                    </a:lnTo>
                    <a:lnTo>
                      <a:pt x="48" y="312"/>
                    </a:lnTo>
                    <a:lnTo>
                      <a:pt x="80" y="352"/>
                    </a:lnTo>
                    <a:lnTo>
                      <a:pt x="128" y="352"/>
                    </a:lnTo>
                    <a:lnTo>
                      <a:pt x="152" y="392"/>
                    </a:lnTo>
                    <a:lnTo>
                      <a:pt x="216" y="384"/>
                    </a:lnTo>
                    <a:lnTo>
                      <a:pt x="272" y="344"/>
                    </a:lnTo>
                    <a:lnTo>
                      <a:pt x="296" y="392"/>
                    </a:lnTo>
                    <a:lnTo>
                      <a:pt x="248" y="424"/>
                    </a:lnTo>
                    <a:lnTo>
                      <a:pt x="304" y="496"/>
                    </a:lnTo>
                    <a:lnTo>
                      <a:pt x="360" y="488"/>
                    </a:lnTo>
                    <a:lnTo>
                      <a:pt x="392" y="456"/>
                    </a:lnTo>
                    <a:lnTo>
                      <a:pt x="432" y="496"/>
                    </a:lnTo>
                    <a:lnTo>
                      <a:pt x="496" y="464"/>
                    </a:lnTo>
                    <a:lnTo>
                      <a:pt x="496" y="416"/>
                    </a:lnTo>
                    <a:lnTo>
                      <a:pt x="536" y="424"/>
                    </a:lnTo>
                    <a:lnTo>
                      <a:pt x="552" y="480"/>
                    </a:lnTo>
                    <a:lnTo>
                      <a:pt x="592" y="440"/>
                    </a:lnTo>
                    <a:lnTo>
                      <a:pt x="600" y="496"/>
                    </a:lnTo>
                    <a:lnTo>
                      <a:pt x="640" y="536"/>
                    </a:lnTo>
                    <a:lnTo>
                      <a:pt x="656" y="488"/>
                    </a:lnTo>
                    <a:lnTo>
                      <a:pt x="688" y="512"/>
                    </a:lnTo>
                    <a:lnTo>
                      <a:pt x="728" y="504"/>
                    </a:lnTo>
                    <a:lnTo>
                      <a:pt x="704" y="400"/>
                    </a:lnTo>
                    <a:lnTo>
                      <a:pt x="656" y="376"/>
                    </a:lnTo>
                    <a:lnTo>
                      <a:pt x="616" y="352"/>
                    </a:lnTo>
                    <a:lnTo>
                      <a:pt x="600" y="320"/>
                    </a:lnTo>
                    <a:lnTo>
                      <a:pt x="560" y="312"/>
                    </a:lnTo>
                    <a:lnTo>
                      <a:pt x="560" y="256"/>
                    </a:lnTo>
                    <a:lnTo>
                      <a:pt x="528" y="208"/>
                    </a:lnTo>
                    <a:lnTo>
                      <a:pt x="480" y="208"/>
                    </a:lnTo>
                    <a:lnTo>
                      <a:pt x="464" y="160"/>
                    </a:lnTo>
                    <a:lnTo>
                      <a:pt x="464" y="96"/>
                    </a:lnTo>
                    <a:lnTo>
                      <a:pt x="424" y="88"/>
                    </a:lnTo>
                    <a:lnTo>
                      <a:pt x="400" y="48"/>
                    </a:lnTo>
                    <a:lnTo>
                      <a:pt x="368" y="0"/>
                    </a:lnTo>
                    <a:close/>
                  </a:path>
                </a:pathLst>
              </a:custGeom>
              <a:solidFill>
                <a:srgbClr val="C6CFEB"/>
              </a:solidFill>
              <a:ln w="9525">
                <a:solidFill>
                  <a:schemeClr val="bg1"/>
                </a:solidFill>
                <a:round/>
                <a:headEnd/>
                <a:tailEnd/>
              </a:ln>
            </p:spPr>
            <p:txBody>
              <a:bodyPr/>
              <a:lstStyle/>
              <a:p>
                <a:endParaRPr lang="en-US" sz="1050"/>
              </a:p>
            </p:txBody>
          </p:sp>
          <p:sp>
            <p:nvSpPr>
              <p:cNvPr id="108" name="Freeform 7"/>
              <p:cNvSpPr>
                <a:spLocks/>
              </p:cNvSpPr>
              <p:nvPr/>
            </p:nvSpPr>
            <p:spPr bwMode="auto">
              <a:xfrm>
                <a:off x="5268782" y="3207638"/>
                <a:ext cx="810839" cy="555205"/>
              </a:xfrm>
              <a:custGeom>
                <a:avLst/>
                <a:gdLst>
                  <a:gd name="T0" fmla="*/ 2147483646 w 688"/>
                  <a:gd name="T1" fmla="*/ 2147483646 h 512"/>
                  <a:gd name="T2" fmla="*/ 2147483646 w 688"/>
                  <a:gd name="T3" fmla="*/ 2147483646 h 512"/>
                  <a:gd name="T4" fmla="*/ 2147483646 w 688"/>
                  <a:gd name="T5" fmla="*/ 2147483646 h 512"/>
                  <a:gd name="T6" fmla="*/ 2147483646 w 688"/>
                  <a:gd name="T7" fmla="*/ 2147483646 h 512"/>
                  <a:gd name="T8" fmla="*/ 2147483646 w 688"/>
                  <a:gd name="T9" fmla="*/ 2147483646 h 512"/>
                  <a:gd name="T10" fmla="*/ 2147483646 w 688"/>
                  <a:gd name="T11" fmla="*/ 2147483646 h 512"/>
                  <a:gd name="T12" fmla="*/ 2147483646 w 688"/>
                  <a:gd name="T13" fmla="*/ 2147483646 h 512"/>
                  <a:gd name="T14" fmla="*/ 2147483646 w 688"/>
                  <a:gd name="T15" fmla="*/ 2147483646 h 512"/>
                  <a:gd name="T16" fmla="*/ 2147483646 w 688"/>
                  <a:gd name="T17" fmla="*/ 2147483646 h 512"/>
                  <a:gd name="T18" fmla="*/ 2147483646 w 688"/>
                  <a:gd name="T19" fmla="*/ 2147483646 h 512"/>
                  <a:gd name="T20" fmla="*/ 2147483646 w 688"/>
                  <a:gd name="T21" fmla="*/ 2147483646 h 512"/>
                  <a:gd name="T22" fmla="*/ 2147483646 w 688"/>
                  <a:gd name="T23" fmla="*/ 2147483646 h 512"/>
                  <a:gd name="T24" fmla="*/ 2147483646 w 688"/>
                  <a:gd name="T25" fmla="*/ 2147483646 h 512"/>
                  <a:gd name="T26" fmla="*/ 2147483646 w 688"/>
                  <a:gd name="T27" fmla="*/ 2147483646 h 512"/>
                  <a:gd name="T28" fmla="*/ 2147483646 w 688"/>
                  <a:gd name="T29" fmla="*/ 0 h 512"/>
                  <a:gd name="T30" fmla="*/ 2147483646 w 688"/>
                  <a:gd name="T31" fmla="*/ 2147483646 h 512"/>
                  <a:gd name="T32" fmla="*/ 2147483646 w 688"/>
                  <a:gd name="T33" fmla="*/ 2147483646 h 512"/>
                  <a:gd name="T34" fmla="*/ 0 w 688"/>
                  <a:gd name="T35" fmla="*/ 2147483646 h 512"/>
                  <a:gd name="T36" fmla="*/ 2147483646 w 688"/>
                  <a:gd name="T37" fmla="*/ 2147483646 h 512"/>
                  <a:gd name="T38" fmla="*/ 2147483646 w 688"/>
                  <a:gd name="T39" fmla="*/ 2147483646 h 512"/>
                  <a:gd name="T40" fmla="*/ 2147483646 w 688"/>
                  <a:gd name="T41" fmla="*/ 2147483646 h 512"/>
                  <a:gd name="T42" fmla="*/ 2147483646 w 688"/>
                  <a:gd name="T43" fmla="*/ 2147483646 h 512"/>
                  <a:gd name="T44" fmla="*/ 2147483646 w 688"/>
                  <a:gd name="T45" fmla="*/ 2147483646 h 512"/>
                  <a:gd name="T46" fmla="*/ 2147483646 w 688"/>
                  <a:gd name="T47" fmla="*/ 2147483646 h 512"/>
                  <a:gd name="T48" fmla="*/ 2147483646 w 688"/>
                  <a:gd name="T49" fmla="*/ 2147483646 h 512"/>
                  <a:gd name="T50" fmla="*/ 2147483646 w 688"/>
                  <a:gd name="T51" fmla="*/ 2147483646 h 512"/>
                  <a:gd name="T52" fmla="*/ 2147483646 w 688"/>
                  <a:gd name="T53" fmla="*/ 2147483646 h 512"/>
                  <a:gd name="T54" fmla="*/ 2147483646 w 688"/>
                  <a:gd name="T55" fmla="*/ 2147483646 h 512"/>
                  <a:gd name="T56" fmla="*/ 2147483646 w 688"/>
                  <a:gd name="T57" fmla="*/ 2147483646 h 512"/>
                  <a:gd name="T58" fmla="*/ 2147483646 w 688"/>
                  <a:gd name="T59" fmla="*/ 2147483646 h 512"/>
                  <a:gd name="T60" fmla="*/ 2147483646 w 688"/>
                  <a:gd name="T61" fmla="*/ 2147483646 h 512"/>
                  <a:gd name="T62" fmla="*/ 2147483646 w 688"/>
                  <a:gd name="T63" fmla="*/ 2147483646 h 512"/>
                  <a:gd name="T64" fmla="*/ 2147483646 w 688"/>
                  <a:gd name="T65" fmla="*/ 2147483646 h 512"/>
                  <a:gd name="T66" fmla="*/ 2147483646 w 688"/>
                  <a:gd name="T67" fmla="*/ 2147483646 h 512"/>
                  <a:gd name="T68" fmla="*/ 2147483646 w 688"/>
                  <a:gd name="T69" fmla="*/ 2147483646 h 512"/>
                  <a:gd name="T70" fmla="*/ 2147483646 w 688"/>
                  <a:gd name="T71" fmla="*/ 2147483646 h 512"/>
                  <a:gd name="T72" fmla="*/ 2147483646 w 688"/>
                  <a:gd name="T73" fmla="*/ 2147483646 h 512"/>
                  <a:gd name="T74" fmla="*/ 2147483646 w 688"/>
                  <a:gd name="T75" fmla="*/ 2147483646 h 512"/>
                  <a:gd name="T76" fmla="*/ 2147483646 w 688"/>
                  <a:gd name="T77" fmla="*/ 2147483646 h 512"/>
                  <a:gd name="T78" fmla="*/ 2147483646 w 688"/>
                  <a:gd name="T79" fmla="*/ 2147483646 h 512"/>
                  <a:gd name="T80" fmla="*/ 2147483646 w 688"/>
                  <a:gd name="T81" fmla="*/ 2147483646 h 512"/>
                  <a:gd name="T82" fmla="*/ 2147483646 w 688"/>
                  <a:gd name="T83" fmla="*/ 2147483646 h 512"/>
                  <a:gd name="T84" fmla="*/ 2147483646 w 688"/>
                  <a:gd name="T85" fmla="*/ 2147483646 h 5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8"/>
                  <a:gd name="T130" fmla="*/ 0 h 512"/>
                  <a:gd name="T131" fmla="*/ 688 w 688"/>
                  <a:gd name="T132" fmla="*/ 512 h 5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8" h="512">
                    <a:moveTo>
                      <a:pt x="688" y="320"/>
                    </a:moveTo>
                    <a:lnTo>
                      <a:pt x="632" y="248"/>
                    </a:lnTo>
                    <a:lnTo>
                      <a:pt x="680" y="216"/>
                    </a:lnTo>
                    <a:lnTo>
                      <a:pt x="656" y="168"/>
                    </a:lnTo>
                    <a:lnTo>
                      <a:pt x="600" y="208"/>
                    </a:lnTo>
                    <a:lnTo>
                      <a:pt x="536" y="216"/>
                    </a:lnTo>
                    <a:lnTo>
                      <a:pt x="512" y="176"/>
                    </a:lnTo>
                    <a:lnTo>
                      <a:pt x="464" y="176"/>
                    </a:lnTo>
                    <a:lnTo>
                      <a:pt x="432" y="136"/>
                    </a:lnTo>
                    <a:lnTo>
                      <a:pt x="400" y="64"/>
                    </a:lnTo>
                    <a:lnTo>
                      <a:pt x="336" y="8"/>
                    </a:lnTo>
                    <a:lnTo>
                      <a:pt x="216" y="8"/>
                    </a:lnTo>
                    <a:lnTo>
                      <a:pt x="152" y="16"/>
                    </a:lnTo>
                    <a:lnTo>
                      <a:pt x="104" y="40"/>
                    </a:lnTo>
                    <a:lnTo>
                      <a:pt x="48" y="0"/>
                    </a:lnTo>
                    <a:lnTo>
                      <a:pt x="64" y="64"/>
                    </a:lnTo>
                    <a:lnTo>
                      <a:pt x="8" y="112"/>
                    </a:lnTo>
                    <a:lnTo>
                      <a:pt x="0" y="168"/>
                    </a:lnTo>
                    <a:lnTo>
                      <a:pt x="32" y="192"/>
                    </a:lnTo>
                    <a:lnTo>
                      <a:pt x="40" y="256"/>
                    </a:lnTo>
                    <a:lnTo>
                      <a:pt x="72" y="256"/>
                    </a:lnTo>
                    <a:lnTo>
                      <a:pt x="80" y="304"/>
                    </a:lnTo>
                    <a:lnTo>
                      <a:pt x="48" y="280"/>
                    </a:lnTo>
                    <a:lnTo>
                      <a:pt x="40" y="336"/>
                    </a:lnTo>
                    <a:lnTo>
                      <a:pt x="64" y="344"/>
                    </a:lnTo>
                    <a:lnTo>
                      <a:pt x="64" y="456"/>
                    </a:lnTo>
                    <a:lnTo>
                      <a:pt x="96" y="512"/>
                    </a:lnTo>
                    <a:lnTo>
                      <a:pt x="120" y="480"/>
                    </a:lnTo>
                    <a:lnTo>
                      <a:pt x="144" y="480"/>
                    </a:lnTo>
                    <a:lnTo>
                      <a:pt x="168" y="456"/>
                    </a:lnTo>
                    <a:lnTo>
                      <a:pt x="200" y="480"/>
                    </a:lnTo>
                    <a:lnTo>
                      <a:pt x="256" y="432"/>
                    </a:lnTo>
                    <a:lnTo>
                      <a:pt x="280" y="464"/>
                    </a:lnTo>
                    <a:lnTo>
                      <a:pt x="392" y="440"/>
                    </a:lnTo>
                    <a:lnTo>
                      <a:pt x="440" y="384"/>
                    </a:lnTo>
                    <a:lnTo>
                      <a:pt x="520" y="384"/>
                    </a:lnTo>
                    <a:lnTo>
                      <a:pt x="552" y="352"/>
                    </a:lnTo>
                    <a:lnTo>
                      <a:pt x="576" y="392"/>
                    </a:lnTo>
                    <a:lnTo>
                      <a:pt x="624" y="376"/>
                    </a:lnTo>
                    <a:lnTo>
                      <a:pt x="648" y="408"/>
                    </a:lnTo>
                    <a:lnTo>
                      <a:pt x="688" y="392"/>
                    </a:lnTo>
                    <a:lnTo>
                      <a:pt x="680" y="352"/>
                    </a:lnTo>
                    <a:lnTo>
                      <a:pt x="688" y="320"/>
                    </a:lnTo>
                    <a:close/>
                  </a:path>
                </a:pathLst>
              </a:custGeom>
              <a:solidFill>
                <a:srgbClr val="9950A8"/>
              </a:solidFill>
              <a:ln w="9525">
                <a:solidFill>
                  <a:schemeClr val="bg1"/>
                </a:solidFill>
                <a:round/>
                <a:headEnd/>
                <a:tailEnd/>
              </a:ln>
            </p:spPr>
            <p:txBody>
              <a:bodyPr/>
              <a:lstStyle/>
              <a:p>
                <a:endParaRPr lang="en-US" sz="1050"/>
              </a:p>
            </p:txBody>
          </p:sp>
          <p:sp>
            <p:nvSpPr>
              <p:cNvPr id="109" name="Freeform 8"/>
              <p:cNvSpPr>
                <a:spLocks/>
              </p:cNvSpPr>
              <p:nvPr/>
            </p:nvSpPr>
            <p:spPr bwMode="auto">
              <a:xfrm>
                <a:off x="4835078" y="3329089"/>
                <a:ext cx="744840" cy="789432"/>
              </a:xfrm>
              <a:custGeom>
                <a:avLst/>
                <a:gdLst>
                  <a:gd name="T0" fmla="*/ 2147483646 w 632"/>
                  <a:gd name="T1" fmla="*/ 2147483646 h 728"/>
                  <a:gd name="T2" fmla="*/ 2147483646 w 632"/>
                  <a:gd name="T3" fmla="*/ 0 h 728"/>
                  <a:gd name="T4" fmla="*/ 2147483646 w 632"/>
                  <a:gd name="T5" fmla="*/ 2147483646 h 728"/>
                  <a:gd name="T6" fmla="*/ 2147483646 w 632"/>
                  <a:gd name="T7" fmla="*/ 2147483646 h 728"/>
                  <a:gd name="T8" fmla="*/ 2147483646 w 632"/>
                  <a:gd name="T9" fmla="*/ 2147483646 h 728"/>
                  <a:gd name="T10" fmla="*/ 2147483646 w 632"/>
                  <a:gd name="T11" fmla="*/ 2147483646 h 728"/>
                  <a:gd name="T12" fmla="*/ 2147483646 w 632"/>
                  <a:gd name="T13" fmla="*/ 2147483646 h 728"/>
                  <a:gd name="T14" fmla="*/ 2147483646 w 632"/>
                  <a:gd name="T15" fmla="*/ 2147483646 h 728"/>
                  <a:gd name="T16" fmla="*/ 2147483646 w 632"/>
                  <a:gd name="T17" fmla="*/ 2147483646 h 728"/>
                  <a:gd name="T18" fmla="*/ 2147483646 w 632"/>
                  <a:gd name="T19" fmla="*/ 2147483646 h 728"/>
                  <a:gd name="T20" fmla="*/ 2147483646 w 632"/>
                  <a:gd name="T21" fmla="*/ 2147483646 h 728"/>
                  <a:gd name="T22" fmla="*/ 2147483646 w 632"/>
                  <a:gd name="T23" fmla="*/ 2147483646 h 728"/>
                  <a:gd name="T24" fmla="*/ 2147483646 w 632"/>
                  <a:gd name="T25" fmla="*/ 2147483646 h 728"/>
                  <a:gd name="T26" fmla="*/ 2147483646 w 632"/>
                  <a:gd name="T27" fmla="*/ 2147483646 h 728"/>
                  <a:gd name="T28" fmla="*/ 2147483646 w 632"/>
                  <a:gd name="T29" fmla="*/ 2147483646 h 728"/>
                  <a:gd name="T30" fmla="*/ 2147483646 w 632"/>
                  <a:gd name="T31" fmla="*/ 2147483646 h 728"/>
                  <a:gd name="T32" fmla="*/ 2147483646 w 632"/>
                  <a:gd name="T33" fmla="*/ 2147483646 h 728"/>
                  <a:gd name="T34" fmla="*/ 2147483646 w 632"/>
                  <a:gd name="T35" fmla="*/ 2147483646 h 728"/>
                  <a:gd name="T36" fmla="*/ 2147483646 w 632"/>
                  <a:gd name="T37" fmla="*/ 2147483646 h 728"/>
                  <a:gd name="T38" fmla="*/ 2147483646 w 632"/>
                  <a:gd name="T39" fmla="*/ 2147483646 h 728"/>
                  <a:gd name="T40" fmla="*/ 2147483646 w 632"/>
                  <a:gd name="T41" fmla="*/ 2147483646 h 728"/>
                  <a:gd name="T42" fmla="*/ 2147483646 w 632"/>
                  <a:gd name="T43" fmla="*/ 2147483646 h 728"/>
                  <a:gd name="T44" fmla="*/ 2147483646 w 632"/>
                  <a:gd name="T45" fmla="*/ 2147483646 h 728"/>
                  <a:gd name="T46" fmla="*/ 2147483646 w 632"/>
                  <a:gd name="T47" fmla="*/ 2147483646 h 728"/>
                  <a:gd name="T48" fmla="*/ 2147483646 w 632"/>
                  <a:gd name="T49" fmla="*/ 2147483646 h 728"/>
                  <a:gd name="T50" fmla="*/ 2147483646 w 632"/>
                  <a:gd name="T51" fmla="*/ 2147483646 h 728"/>
                  <a:gd name="T52" fmla="*/ 2147483646 w 632"/>
                  <a:gd name="T53" fmla="*/ 2147483646 h 728"/>
                  <a:gd name="T54" fmla="*/ 2147483646 w 632"/>
                  <a:gd name="T55" fmla="*/ 2147483646 h 728"/>
                  <a:gd name="T56" fmla="*/ 2147483646 w 632"/>
                  <a:gd name="T57" fmla="*/ 2147483646 h 728"/>
                  <a:gd name="T58" fmla="*/ 2147483646 w 632"/>
                  <a:gd name="T59" fmla="*/ 2147483646 h 728"/>
                  <a:gd name="T60" fmla="*/ 2147483646 w 632"/>
                  <a:gd name="T61" fmla="*/ 2147483646 h 728"/>
                  <a:gd name="T62" fmla="*/ 2147483646 w 632"/>
                  <a:gd name="T63" fmla="*/ 2147483646 h 728"/>
                  <a:gd name="T64" fmla="*/ 2147483646 w 632"/>
                  <a:gd name="T65" fmla="*/ 2147483646 h 728"/>
                  <a:gd name="T66" fmla="*/ 2147483646 w 632"/>
                  <a:gd name="T67" fmla="*/ 2147483646 h 728"/>
                  <a:gd name="T68" fmla="*/ 0 w 632"/>
                  <a:gd name="T69" fmla="*/ 2147483646 h 728"/>
                  <a:gd name="T70" fmla="*/ 2147483646 w 632"/>
                  <a:gd name="T71" fmla="*/ 2147483646 h 728"/>
                  <a:gd name="T72" fmla="*/ 2147483646 w 632"/>
                  <a:gd name="T73" fmla="*/ 2147483646 h 728"/>
                  <a:gd name="T74" fmla="*/ 2147483646 w 632"/>
                  <a:gd name="T75" fmla="*/ 2147483646 h 728"/>
                  <a:gd name="T76" fmla="*/ 2147483646 w 632"/>
                  <a:gd name="T77" fmla="*/ 2147483646 h 728"/>
                  <a:gd name="T78" fmla="*/ 2147483646 w 632"/>
                  <a:gd name="T79" fmla="*/ 2147483646 h 728"/>
                  <a:gd name="T80" fmla="*/ 2147483646 w 632"/>
                  <a:gd name="T81" fmla="*/ 2147483646 h 728"/>
                  <a:gd name="T82" fmla="*/ 2147483646 w 632"/>
                  <a:gd name="T83" fmla="*/ 2147483646 h 728"/>
                  <a:gd name="T84" fmla="*/ 2147483646 w 632"/>
                  <a:gd name="T85" fmla="*/ 2147483646 h 728"/>
                  <a:gd name="T86" fmla="*/ 2147483646 w 632"/>
                  <a:gd name="T87" fmla="*/ 2147483646 h 728"/>
                  <a:gd name="T88" fmla="*/ 2147483646 w 632"/>
                  <a:gd name="T89" fmla="*/ 2147483646 h 728"/>
                  <a:gd name="T90" fmla="*/ 2147483646 w 632"/>
                  <a:gd name="T91" fmla="*/ 2147483646 h 7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2"/>
                  <a:gd name="T139" fmla="*/ 0 h 728"/>
                  <a:gd name="T140" fmla="*/ 632 w 632"/>
                  <a:gd name="T141" fmla="*/ 728 h 7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2" h="728">
                    <a:moveTo>
                      <a:pt x="176" y="56"/>
                    </a:moveTo>
                    <a:lnTo>
                      <a:pt x="216" y="0"/>
                    </a:lnTo>
                    <a:lnTo>
                      <a:pt x="296" y="8"/>
                    </a:lnTo>
                    <a:lnTo>
                      <a:pt x="280" y="64"/>
                    </a:lnTo>
                    <a:lnTo>
                      <a:pt x="368" y="56"/>
                    </a:lnTo>
                    <a:lnTo>
                      <a:pt x="400" y="80"/>
                    </a:lnTo>
                    <a:lnTo>
                      <a:pt x="408" y="144"/>
                    </a:lnTo>
                    <a:lnTo>
                      <a:pt x="440" y="144"/>
                    </a:lnTo>
                    <a:lnTo>
                      <a:pt x="448" y="192"/>
                    </a:lnTo>
                    <a:lnTo>
                      <a:pt x="416" y="168"/>
                    </a:lnTo>
                    <a:lnTo>
                      <a:pt x="408" y="224"/>
                    </a:lnTo>
                    <a:lnTo>
                      <a:pt x="432" y="232"/>
                    </a:lnTo>
                    <a:lnTo>
                      <a:pt x="432" y="344"/>
                    </a:lnTo>
                    <a:lnTo>
                      <a:pt x="464" y="400"/>
                    </a:lnTo>
                    <a:lnTo>
                      <a:pt x="488" y="368"/>
                    </a:lnTo>
                    <a:lnTo>
                      <a:pt x="512" y="368"/>
                    </a:lnTo>
                    <a:lnTo>
                      <a:pt x="528" y="432"/>
                    </a:lnTo>
                    <a:lnTo>
                      <a:pt x="560" y="472"/>
                    </a:lnTo>
                    <a:lnTo>
                      <a:pt x="528" y="504"/>
                    </a:lnTo>
                    <a:lnTo>
                      <a:pt x="520" y="544"/>
                    </a:lnTo>
                    <a:lnTo>
                      <a:pt x="576" y="552"/>
                    </a:lnTo>
                    <a:lnTo>
                      <a:pt x="560" y="584"/>
                    </a:lnTo>
                    <a:lnTo>
                      <a:pt x="632" y="584"/>
                    </a:lnTo>
                    <a:lnTo>
                      <a:pt x="632" y="648"/>
                    </a:lnTo>
                    <a:lnTo>
                      <a:pt x="600" y="712"/>
                    </a:lnTo>
                    <a:lnTo>
                      <a:pt x="424" y="728"/>
                    </a:lnTo>
                    <a:lnTo>
                      <a:pt x="376" y="680"/>
                    </a:lnTo>
                    <a:lnTo>
                      <a:pt x="352" y="600"/>
                    </a:lnTo>
                    <a:lnTo>
                      <a:pt x="296" y="632"/>
                    </a:lnTo>
                    <a:lnTo>
                      <a:pt x="240" y="720"/>
                    </a:lnTo>
                    <a:lnTo>
                      <a:pt x="192" y="680"/>
                    </a:lnTo>
                    <a:lnTo>
                      <a:pt x="168" y="696"/>
                    </a:lnTo>
                    <a:lnTo>
                      <a:pt x="120" y="664"/>
                    </a:lnTo>
                    <a:lnTo>
                      <a:pt x="40" y="632"/>
                    </a:lnTo>
                    <a:lnTo>
                      <a:pt x="0" y="552"/>
                    </a:lnTo>
                    <a:lnTo>
                      <a:pt x="32" y="544"/>
                    </a:lnTo>
                    <a:lnTo>
                      <a:pt x="32" y="496"/>
                    </a:lnTo>
                    <a:lnTo>
                      <a:pt x="112" y="424"/>
                    </a:lnTo>
                    <a:lnTo>
                      <a:pt x="112" y="392"/>
                    </a:lnTo>
                    <a:lnTo>
                      <a:pt x="160" y="376"/>
                    </a:lnTo>
                    <a:lnTo>
                      <a:pt x="176" y="328"/>
                    </a:lnTo>
                    <a:lnTo>
                      <a:pt x="208" y="312"/>
                    </a:lnTo>
                    <a:lnTo>
                      <a:pt x="168" y="216"/>
                    </a:lnTo>
                    <a:lnTo>
                      <a:pt x="200" y="152"/>
                    </a:lnTo>
                    <a:lnTo>
                      <a:pt x="192" y="104"/>
                    </a:lnTo>
                    <a:lnTo>
                      <a:pt x="176" y="56"/>
                    </a:lnTo>
                    <a:close/>
                  </a:path>
                </a:pathLst>
              </a:custGeom>
              <a:solidFill>
                <a:srgbClr val="4670F8"/>
              </a:solidFill>
              <a:ln w="9525">
                <a:solidFill>
                  <a:schemeClr val="bg1"/>
                </a:solidFill>
                <a:round/>
                <a:headEnd/>
                <a:tailEnd/>
              </a:ln>
            </p:spPr>
            <p:txBody>
              <a:bodyPr/>
              <a:lstStyle/>
              <a:p>
                <a:endParaRPr lang="en-US" sz="1050"/>
              </a:p>
            </p:txBody>
          </p:sp>
          <p:sp>
            <p:nvSpPr>
              <p:cNvPr id="110" name="Freeform 9"/>
              <p:cNvSpPr>
                <a:spLocks/>
              </p:cNvSpPr>
              <p:nvPr/>
            </p:nvSpPr>
            <p:spPr bwMode="auto">
              <a:xfrm>
                <a:off x="5438493" y="3589341"/>
                <a:ext cx="820267" cy="572555"/>
              </a:xfrm>
              <a:custGeom>
                <a:avLst/>
                <a:gdLst>
                  <a:gd name="T0" fmla="*/ 2147483646 w 696"/>
                  <a:gd name="T1" fmla="*/ 2147483646 h 528"/>
                  <a:gd name="T2" fmla="*/ 2147483646 w 696"/>
                  <a:gd name="T3" fmla="*/ 2147483646 h 528"/>
                  <a:gd name="T4" fmla="*/ 2147483646 w 696"/>
                  <a:gd name="T5" fmla="*/ 2147483646 h 528"/>
                  <a:gd name="T6" fmla="*/ 2147483646 w 696"/>
                  <a:gd name="T7" fmla="*/ 2147483646 h 528"/>
                  <a:gd name="T8" fmla="*/ 2147483646 w 696"/>
                  <a:gd name="T9" fmla="*/ 2147483646 h 528"/>
                  <a:gd name="T10" fmla="*/ 2147483646 w 696"/>
                  <a:gd name="T11" fmla="*/ 2147483646 h 528"/>
                  <a:gd name="T12" fmla="*/ 2147483646 w 696"/>
                  <a:gd name="T13" fmla="*/ 2147483646 h 528"/>
                  <a:gd name="T14" fmla="*/ 2147483646 w 696"/>
                  <a:gd name="T15" fmla="*/ 2147483646 h 528"/>
                  <a:gd name="T16" fmla="*/ 0 w 696"/>
                  <a:gd name="T17" fmla="*/ 2147483646 h 528"/>
                  <a:gd name="T18" fmla="*/ 2147483646 w 696"/>
                  <a:gd name="T19" fmla="*/ 2147483646 h 528"/>
                  <a:gd name="T20" fmla="*/ 2147483646 w 696"/>
                  <a:gd name="T21" fmla="*/ 2147483646 h 528"/>
                  <a:gd name="T22" fmla="*/ 2147483646 w 696"/>
                  <a:gd name="T23" fmla="*/ 2147483646 h 528"/>
                  <a:gd name="T24" fmla="*/ 2147483646 w 696"/>
                  <a:gd name="T25" fmla="*/ 2147483646 h 528"/>
                  <a:gd name="T26" fmla="*/ 2147483646 w 696"/>
                  <a:gd name="T27" fmla="*/ 2147483646 h 528"/>
                  <a:gd name="T28" fmla="*/ 2147483646 w 696"/>
                  <a:gd name="T29" fmla="*/ 2147483646 h 528"/>
                  <a:gd name="T30" fmla="*/ 2147483646 w 696"/>
                  <a:gd name="T31" fmla="*/ 2147483646 h 528"/>
                  <a:gd name="T32" fmla="*/ 2147483646 w 696"/>
                  <a:gd name="T33" fmla="*/ 0 h 528"/>
                  <a:gd name="T34" fmla="*/ 2147483646 w 696"/>
                  <a:gd name="T35" fmla="*/ 2147483646 h 528"/>
                  <a:gd name="T36" fmla="*/ 2147483646 w 696"/>
                  <a:gd name="T37" fmla="*/ 2147483646 h 528"/>
                  <a:gd name="T38" fmla="*/ 2147483646 w 696"/>
                  <a:gd name="T39" fmla="*/ 2147483646 h 528"/>
                  <a:gd name="T40" fmla="*/ 2147483646 w 696"/>
                  <a:gd name="T41" fmla="*/ 2147483646 h 528"/>
                  <a:gd name="T42" fmla="*/ 2147483646 w 696"/>
                  <a:gd name="T43" fmla="*/ 2147483646 h 528"/>
                  <a:gd name="T44" fmla="*/ 2147483646 w 696"/>
                  <a:gd name="T45" fmla="*/ 2147483646 h 528"/>
                  <a:gd name="T46" fmla="*/ 2147483646 w 696"/>
                  <a:gd name="T47" fmla="*/ 2147483646 h 528"/>
                  <a:gd name="T48" fmla="*/ 2147483646 w 696"/>
                  <a:gd name="T49" fmla="*/ 2147483646 h 528"/>
                  <a:gd name="T50" fmla="*/ 2147483646 w 696"/>
                  <a:gd name="T51" fmla="*/ 2147483646 h 528"/>
                  <a:gd name="T52" fmla="*/ 2147483646 w 696"/>
                  <a:gd name="T53" fmla="*/ 2147483646 h 528"/>
                  <a:gd name="T54" fmla="*/ 2147483646 w 696"/>
                  <a:gd name="T55" fmla="*/ 2147483646 h 528"/>
                  <a:gd name="T56" fmla="*/ 2147483646 w 696"/>
                  <a:gd name="T57" fmla="*/ 2147483646 h 528"/>
                  <a:gd name="T58" fmla="*/ 2147483646 w 696"/>
                  <a:gd name="T59" fmla="*/ 2147483646 h 528"/>
                  <a:gd name="T60" fmla="*/ 2147483646 w 696"/>
                  <a:gd name="T61" fmla="*/ 2147483646 h 528"/>
                  <a:gd name="T62" fmla="*/ 2147483646 w 696"/>
                  <a:gd name="T63" fmla="*/ 2147483646 h 528"/>
                  <a:gd name="T64" fmla="*/ 2147483646 w 696"/>
                  <a:gd name="T65" fmla="*/ 2147483646 h 528"/>
                  <a:gd name="T66" fmla="*/ 2147483646 w 696"/>
                  <a:gd name="T67" fmla="*/ 2147483646 h 528"/>
                  <a:gd name="T68" fmla="*/ 2147483646 w 696"/>
                  <a:gd name="T69" fmla="*/ 2147483646 h 528"/>
                  <a:gd name="T70" fmla="*/ 2147483646 w 696"/>
                  <a:gd name="T71" fmla="*/ 2147483646 h 528"/>
                  <a:gd name="T72" fmla="*/ 2147483646 w 696"/>
                  <a:gd name="T73" fmla="*/ 2147483646 h 528"/>
                  <a:gd name="T74" fmla="*/ 2147483646 w 696"/>
                  <a:gd name="T75" fmla="*/ 2147483646 h 5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6"/>
                  <a:gd name="T115" fmla="*/ 0 h 528"/>
                  <a:gd name="T116" fmla="*/ 696 w 696"/>
                  <a:gd name="T117" fmla="*/ 528 h 5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6" h="528">
                    <a:moveTo>
                      <a:pt x="120" y="408"/>
                    </a:moveTo>
                    <a:lnTo>
                      <a:pt x="120" y="344"/>
                    </a:lnTo>
                    <a:lnTo>
                      <a:pt x="48" y="344"/>
                    </a:lnTo>
                    <a:lnTo>
                      <a:pt x="64" y="312"/>
                    </a:lnTo>
                    <a:lnTo>
                      <a:pt x="8" y="304"/>
                    </a:lnTo>
                    <a:lnTo>
                      <a:pt x="16" y="264"/>
                    </a:lnTo>
                    <a:lnTo>
                      <a:pt x="48" y="232"/>
                    </a:lnTo>
                    <a:lnTo>
                      <a:pt x="16" y="192"/>
                    </a:lnTo>
                    <a:lnTo>
                      <a:pt x="0" y="128"/>
                    </a:lnTo>
                    <a:lnTo>
                      <a:pt x="24" y="104"/>
                    </a:lnTo>
                    <a:lnTo>
                      <a:pt x="56" y="128"/>
                    </a:lnTo>
                    <a:lnTo>
                      <a:pt x="112" y="80"/>
                    </a:lnTo>
                    <a:lnTo>
                      <a:pt x="136" y="112"/>
                    </a:lnTo>
                    <a:lnTo>
                      <a:pt x="248" y="88"/>
                    </a:lnTo>
                    <a:lnTo>
                      <a:pt x="296" y="32"/>
                    </a:lnTo>
                    <a:lnTo>
                      <a:pt x="376" y="32"/>
                    </a:lnTo>
                    <a:lnTo>
                      <a:pt x="408" y="0"/>
                    </a:lnTo>
                    <a:lnTo>
                      <a:pt x="432" y="40"/>
                    </a:lnTo>
                    <a:lnTo>
                      <a:pt x="480" y="24"/>
                    </a:lnTo>
                    <a:lnTo>
                      <a:pt x="504" y="56"/>
                    </a:lnTo>
                    <a:lnTo>
                      <a:pt x="544" y="40"/>
                    </a:lnTo>
                    <a:lnTo>
                      <a:pt x="584" y="72"/>
                    </a:lnTo>
                    <a:lnTo>
                      <a:pt x="576" y="144"/>
                    </a:lnTo>
                    <a:lnTo>
                      <a:pt x="656" y="264"/>
                    </a:lnTo>
                    <a:lnTo>
                      <a:pt x="664" y="304"/>
                    </a:lnTo>
                    <a:lnTo>
                      <a:pt x="696" y="352"/>
                    </a:lnTo>
                    <a:lnTo>
                      <a:pt x="696" y="432"/>
                    </a:lnTo>
                    <a:lnTo>
                      <a:pt x="648" y="424"/>
                    </a:lnTo>
                    <a:lnTo>
                      <a:pt x="624" y="448"/>
                    </a:lnTo>
                    <a:lnTo>
                      <a:pt x="576" y="432"/>
                    </a:lnTo>
                    <a:lnTo>
                      <a:pt x="512" y="456"/>
                    </a:lnTo>
                    <a:lnTo>
                      <a:pt x="440" y="504"/>
                    </a:lnTo>
                    <a:lnTo>
                      <a:pt x="336" y="488"/>
                    </a:lnTo>
                    <a:lnTo>
                      <a:pt x="272" y="528"/>
                    </a:lnTo>
                    <a:lnTo>
                      <a:pt x="192" y="512"/>
                    </a:lnTo>
                    <a:lnTo>
                      <a:pt x="160" y="472"/>
                    </a:lnTo>
                    <a:lnTo>
                      <a:pt x="152" y="408"/>
                    </a:lnTo>
                    <a:lnTo>
                      <a:pt x="120" y="408"/>
                    </a:lnTo>
                    <a:close/>
                  </a:path>
                </a:pathLst>
              </a:custGeom>
              <a:solidFill>
                <a:srgbClr val="9950A8"/>
              </a:solidFill>
              <a:ln w="9525">
                <a:solidFill>
                  <a:schemeClr val="bg1"/>
                </a:solidFill>
                <a:round/>
                <a:headEnd/>
                <a:tailEnd/>
              </a:ln>
            </p:spPr>
            <p:txBody>
              <a:bodyPr/>
              <a:lstStyle/>
              <a:p>
                <a:endParaRPr lang="en-US" sz="1050"/>
              </a:p>
            </p:txBody>
          </p:sp>
          <p:sp>
            <p:nvSpPr>
              <p:cNvPr id="111" name="Freeform 110"/>
              <p:cNvSpPr>
                <a:spLocks/>
              </p:cNvSpPr>
              <p:nvPr/>
            </p:nvSpPr>
            <p:spPr bwMode="auto">
              <a:xfrm>
                <a:off x="3845100" y="2730509"/>
                <a:ext cx="1074832" cy="494479"/>
              </a:xfrm>
              <a:custGeom>
                <a:avLst/>
                <a:gdLst>
                  <a:gd name="T0" fmla="*/ 2147483646 w 912"/>
                  <a:gd name="T1" fmla="*/ 2147483646 h 456"/>
                  <a:gd name="T2" fmla="*/ 2147483646 w 912"/>
                  <a:gd name="T3" fmla="*/ 2147483646 h 456"/>
                  <a:gd name="T4" fmla="*/ 2147483646 w 912"/>
                  <a:gd name="T5" fmla="*/ 2147483646 h 456"/>
                  <a:gd name="T6" fmla="*/ 2147483646 w 912"/>
                  <a:gd name="T7" fmla="*/ 2147483646 h 456"/>
                  <a:gd name="T8" fmla="*/ 2147483646 w 912"/>
                  <a:gd name="T9" fmla="*/ 2147483646 h 456"/>
                  <a:gd name="T10" fmla="*/ 2147483646 w 912"/>
                  <a:gd name="T11" fmla="*/ 2147483646 h 456"/>
                  <a:gd name="T12" fmla="*/ 2147483646 w 912"/>
                  <a:gd name="T13" fmla="*/ 2147483646 h 456"/>
                  <a:gd name="T14" fmla="*/ 2147483646 w 912"/>
                  <a:gd name="T15" fmla="*/ 2147483646 h 456"/>
                  <a:gd name="T16" fmla="*/ 2147483646 w 912"/>
                  <a:gd name="T17" fmla="*/ 2147483646 h 456"/>
                  <a:gd name="T18" fmla="*/ 2147483646 w 912"/>
                  <a:gd name="T19" fmla="*/ 2147483646 h 456"/>
                  <a:gd name="T20" fmla="*/ 2147483646 w 912"/>
                  <a:gd name="T21" fmla="*/ 2147483646 h 456"/>
                  <a:gd name="T22" fmla="*/ 2147483646 w 912"/>
                  <a:gd name="T23" fmla="*/ 2147483646 h 456"/>
                  <a:gd name="T24" fmla="*/ 2147483646 w 912"/>
                  <a:gd name="T25" fmla="*/ 2147483646 h 456"/>
                  <a:gd name="T26" fmla="*/ 2147483646 w 912"/>
                  <a:gd name="T27" fmla="*/ 2147483646 h 456"/>
                  <a:gd name="T28" fmla="*/ 2147483646 w 912"/>
                  <a:gd name="T29" fmla="*/ 2147483646 h 456"/>
                  <a:gd name="T30" fmla="*/ 2147483646 w 912"/>
                  <a:gd name="T31" fmla="*/ 2147483646 h 456"/>
                  <a:gd name="T32" fmla="*/ 2147483646 w 912"/>
                  <a:gd name="T33" fmla="*/ 2147483646 h 456"/>
                  <a:gd name="T34" fmla="*/ 2147483646 w 912"/>
                  <a:gd name="T35" fmla="*/ 2147483646 h 456"/>
                  <a:gd name="T36" fmla="*/ 2147483646 w 912"/>
                  <a:gd name="T37" fmla="*/ 2147483646 h 456"/>
                  <a:gd name="T38" fmla="*/ 0 w 912"/>
                  <a:gd name="T39" fmla="*/ 2147483646 h 456"/>
                  <a:gd name="T40" fmla="*/ 0 w 912"/>
                  <a:gd name="T41" fmla="*/ 2147483646 h 456"/>
                  <a:gd name="T42" fmla="*/ 2147483646 w 912"/>
                  <a:gd name="T43" fmla="*/ 2147483646 h 456"/>
                  <a:gd name="T44" fmla="*/ 2147483646 w 912"/>
                  <a:gd name="T45" fmla="*/ 2147483646 h 456"/>
                  <a:gd name="T46" fmla="*/ 2147483646 w 912"/>
                  <a:gd name="T47" fmla="*/ 2147483646 h 456"/>
                  <a:gd name="T48" fmla="*/ 2147483646 w 912"/>
                  <a:gd name="T49" fmla="*/ 2147483646 h 456"/>
                  <a:gd name="T50" fmla="*/ 2147483646 w 912"/>
                  <a:gd name="T51" fmla="*/ 2147483646 h 456"/>
                  <a:gd name="T52" fmla="*/ 2147483646 w 912"/>
                  <a:gd name="T53" fmla="*/ 2147483646 h 456"/>
                  <a:gd name="T54" fmla="*/ 2147483646 w 912"/>
                  <a:gd name="T55" fmla="*/ 2147483646 h 456"/>
                  <a:gd name="T56" fmla="*/ 2147483646 w 912"/>
                  <a:gd name="T57" fmla="*/ 2147483646 h 456"/>
                  <a:gd name="T58" fmla="*/ 2147483646 w 912"/>
                  <a:gd name="T59" fmla="*/ 2147483646 h 456"/>
                  <a:gd name="T60" fmla="*/ 2147483646 w 912"/>
                  <a:gd name="T61" fmla="*/ 2147483646 h 456"/>
                  <a:gd name="T62" fmla="*/ 2147483646 w 912"/>
                  <a:gd name="T63" fmla="*/ 2147483646 h 456"/>
                  <a:gd name="T64" fmla="*/ 2147483646 w 912"/>
                  <a:gd name="T65" fmla="*/ 0 h 456"/>
                  <a:gd name="T66" fmla="*/ 2147483646 w 912"/>
                  <a:gd name="T67" fmla="*/ 2147483646 h 456"/>
                  <a:gd name="T68" fmla="*/ 2147483646 w 912"/>
                  <a:gd name="T69" fmla="*/ 2147483646 h 456"/>
                  <a:gd name="T70" fmla="*/ 2147483646 w 912"/>
                  <a:gd name="T71" fmla="*/ 2147483646 h 456"/>
                  <a:gd name="T72" fmla="*/ 2147483646 w 912"/>
                  <a:gd name="T73" fmla="*/ 2147483646 h 456"/>
                  <a:gd name="T74" fmla="*/ 2147483646 w 912"/>
                  <a:gd name="T75" fmla="*/ 2147483646 h 456"/>
                  <a:gd name="T76" fmla="*/ 2147483646 w 912"/>
                  <a:gd name="T77" fmla="*/ 2147483646 h 456"/>
                  <a:gd name="T78" fmla="*/ 2147483646 w 912"/>
                  <a:gd name="T79" fmla="*/ 2147483646 h 456"/>
                  <a:gd name="T80" fmla="*/ 2147483646 w 912"/>
                  <a:gd name="T81" fmla="*/ 2147483646 h 456"/>
                  <a:gd name="T82" fmla="*/ 2147483646 w 912"/>
                  <a:gd name="T83" fmla="*/ 2147483646 h 456"/>
                  <a:gd name="T84" fmla="*/ 2147483646 w 912"/>
                  <a:gd name="T85" fmla="*/ 2147483646 h 456"/>
                  <a:gd name="T86" fmla="*/ 2147483646 w 912"/>
                  <a:gd name="T87" fmla="*/ 2147483646 h 456"/>
                  <a:gd name="T88" fmla="*/ 2147483646 w 912"/>
                  <a:gd name="T89" fmla="*/ 2147483646 h 456"/>
                  <a:gd name="T90" fmla="*/ 2147483646 w 912"/>
                  <a:gd name="T91" fmla="*/ 2147483646 h 456"/>
                  <a:gd name="T92" fmla="*/ 2147483646 w 912"/>
                  <a:gd name="T93" fmla="*/ 2147483646 h 456"/>
                  <a:gd name="T94" fmla="*/ 2147483646 w 912"/>
                  <a:gd name="T95" fmla="*/ 2147483646 h 456"/>
                  <a:gd name="T96" fmla="*/ 2147483646 w 912"/>
                  <a:gd name="T97" fmla="*/ 214748364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12"/>
                  <a:gd name="T148" fmla="*/ 0 h 456"/>
                  <a:gd name="T149" fmla="*/ 912 w 912"/>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12" h="456">
                    <a:moveTo>
                      <a:pt x="888" y="200"/>
                    </a:moveTo>
                    <a:lnTo>
                      <a:pt x="912" y="256"/>
                    </a:lnTo>
                    <a:lnTo>
                      <a:pt x="880" y="288"/>
                    </a:lnTo>
                    <a:lnTo>
                      <a:pt x="776" y="312"/>
                    </a:lnTo>
                    <a:lnTo>
                      <a:pt x="672" y="288"/>
                    </a:lnTo>
                    <a:lnTo>
                      <a:pt x="616" y="280"/>
                    </a:lnTo>
                    <a:lnTo>
                      <a:pt x="592" y="296"/>
                    </a:lnTo>
                    <a:lnTo>
                      <a:pt x="568" y="296"/>
                    </a:lnTo>
                    <a:lnTo>
                      <a:pt x="544" y="336"/>
                    </a:lnTo>
                    <a:lnTo>
                      <a:pt x="496" y="344"/>
                    </a:lnTo>
                    <a:lnTo>
                      <a:pt x="488" y="392"/>
                    </a:lnTo>
                    <a:lnTo>
                      <a:pt x="448" y="432"/>
                    </a:lnTo>
                    <a:lnTo>
                      <a:pt x="376" y="448"/>
                    </a:lnTo>
                    <a:lnTo>
                      <a:pt x="328" y="456"/>
                    </a:lnTo>
                    <a:lnTo>
                      <a:pt x="312" y="408"/>
                    </a:lnTo>
                    <a:lnTo>
                      <a:pt x="240" y="424"/>
                    </a:lnTo>
                    <a:lnTo>
                      <a:pt x="152" y="408"/>
                    </a:lnTo>
                    <a:lnTo>
                      <a:pt x="120" y="376"/>
                    </a:lnTo>
                    <a:lnTo>
                      <a:pt x="64" y="408"/>
                    </a:lnTo>
                    <a:lnTo>
                      <a:pt x="0" y="408"/>
                    </a:lnTo>
                    <a:lnTo>
                      <a:pt x="0" y="368"/>
                    </a:lnTo>
                    <a:lnTo>
                      <a:pt x="32" y="360"/>
                    </a:lnTo>
                    <a:lnTo>
                      <a:pt x="24" y="312"/>
                    </a:lnTo>
                    <a:lnTo>
                      <a:pt x="72" y="264"/>
                    </a:lnTo>
                    <a:lnTo>
                      <a:pt x="136" y="296"/>
                    </a:lnTo>
                    <a:lnTo>
                      <a:pt x="144" y="232"/>
                    </a:lnTo>
                    <a:lnTo>
                      <a:pt x="168" y="192"/>
                    </a:lnTo>
                    <a:lnTo>
                      <a:pt x="96" y="184"/>
                    </a:lnTo>
                    <a:lnTo>
                      <a:pt x="104" y="152"/>
                    </a:lnTo>
                    <a:lnTo>
                      <a:pt x="256" y="128"/>
                    </a:lnTo>
                    <a:lnTo>
                      <a:pt x="296" y="56"/>
                    </a:lnTo>
                    <a:lnTo>
                      <a:pt x="248" y="40"/>
                    </a:lnTo>
                    <a:lnTo>
                      <a:pt x="248" y="0"/>
                    </a:lnTo>
                    <a:lnTo>
                      <a:pt x="296" y="24"/>
                    </a:lnTo>
                    <a:lnTo>
                      <a:pt x="352" y="16"/>
                    </a:lnTo>
                    <a:lnTo>
                      <a:pt x="384" y="64"/>
                    </a:lnTo>
                    <a:lnTo>
                      <a:pt x="432" y="40"/>
                    </a:lnTo>
                    <a:lnTo>
                      <a:pt x="504" y="72"/>
                    </a:lnTo>
                    <a:lnTo>
                      <a:pt x="520" y="64"/>
                    </a:lnTo>
                    <a:lnTo>
                      <a:pt x="552" y="88"/>
                    </a:lnTo>
                    <a:lnTo>
                      <a:pt x="584" y="56"/>
                    </a:lnTo>
                    <a:lnTo>
                      <a:pt x="608" y="72"/>
                    </a:lnTo>
                    <a:lnTo>
                      <a:pt x="632" y="40"/>
                    </a:lnTo>
                    <a:lnTo>
                      <a:pt x="704" y="48"/>
                    </a:lnTo>
                    <a:lnTo>
                      <a:pt x="752" y="88"/>
                    </a:lnTo>
                    <a:lnTo>
                      <a:pt x="744" y="112"/>
                    </a:lnTo>
                    <a:lnTo>
                      <a:pt x="816" y="152"/>
                    </a:lnTo>
                    <a:lnTo>
                      <a:pt x="848" y="208"/>
                    </a:lnTo>
                    <a:lnTo>
                      <a:pt x="888" y="200"/>
                    </a:lnTo>
                    <a:close/>
                  </a:path>
                </a:pathLst>
              </a:custGeom>
              <a:solidFill>
                <a:srgbClr val="C6CFEB"/>
              </a:solidFill>
              <a:ln w="9525">
                <a:solidFill>
                  <a:schemeClr val="bg1"/>
                </a:solidFill>
                <a:round/>
                <a:headEnd/>
                <a:tailEnd/>
              </a:ln>
            </p:spPr>
            <p:txBody>
              <a:bodyPr/>
              <a:lstStyle/>
              <a:p>
                <a:endParaRPr lang="en-US" sz="1050"/>
              </a:p>
            </p:txBody>
          </p:sp>
          <p:sp>
            <p:nvSpPr>
              <p:cNvPr id="112" name="Freeform 111"/>
              <p:cNvSpPr>
                <a:spLocks/>
              </p:cNvSpPr>
              <p:nvPr/>
            </p:nvSpPr>
            <p:spPr bwMode="auto">
              <a:xfrm>
                <a:off x="4325946" y="3034136"/>
                <a:ext cx="622271" cy="615930"/>
              </a:xfrm>
              <a:custGeom>
                <a:avLst/>
                <a:gdLst>
                  <a:gd name="T0" fmla="*/ 2147483646 w 528"/>
                  <a:gd name="T1" fmla="*/ 2147483646 h 568"/>
                  <a:gd name="T2" fmla="*/ 2147483646 w 528"/>
                  <a:gd name="T3" fmla="*/ 2147483646 h 568"/>
                  <a:gd name="T4" fmla="*/ 2147483646 w 528"/>
                  <a:gd name="T5" fmla="*/ 2147483646 h 568"/>
                  <a:gd name="T6" fmla="*/ 2147483646 w 528"/>
                  <a:gd name="T7" fmla="*/ 2147483646 h 568"/>
                  <a:gd name="T8" fmla="*/ 2147483646 w 528"/>
                  <a:gd name="T9" fmla="*/ 2147483646 h 568"/>
                  <a:gd name="T10" fmla="*/ 2147483646 w 528"/>
                  <a:gd name="T11" fmla="*/ 2147483646 h 568"/>
                  <a:gd name="T12" fmla="*/ 2147483646 w 528"/>
                  <a:gd name="T13" fmla="*/ 2147483646 h 568"/>
                  <a:gd name="T14" fmla="*/ 2147483646 w 528"/>
                  <a:gd name="T15" fmla="*/ 2147483646 h 568"/>
                  <a:gd name="T16" fmla="*/ 2147483646 w 528"/>
                  <a:gd name="T17" fmla="*/ 2147483646 h 568"/>
                  <a:gd name="T18" fmla="*/ 2147483646 w 528"/>
                  <a:gd name="T19" fmla="*/ 2147483646 h 568"/>
                  <a:gd name="T20" fmla="*/ 2147483646 w 528"/>
                  <a:gd name="T21" fmla="*/ 2147483646 h 568"/>
                  <a:gd name="T22" fmla="*/ 2147483646 w 528"/>
                  <a:gd name="T23" fmla="*/ 2147483646 h 568"/>
                  <a:gd name="T24" fmla="*/ 2147483646 w 528"/>
                  <a:gd name="T25" fmla="*/ 2147483646 h 568"/>
                  <a:gd name="T26" fmla="*/ 2147483646 w 528"/>
                  <a:gd name="T27" fmla="*/ 2147483646 h 568"/>
                  <a:gd name="T28" fmla="*/ 2147483646 w 528"/>
                  <a:gd name="T29" fmla="*/ 2147483646 h 568"/>
                  <a:gd name="T30" fmla="*/ 2147483646 w 528"/>
                  <a:gd name="T31" fmla="*/ 2147483646 h 568"/>
                  <a:gd name="T32" fmla="*/ 2147483646 w 528"/>
                  <a:gd name="T33" fmla="*/ 2147483646 h 568"/>
                  <a:gd name="T34" fmla="*/ 2147483646 w 528"/>
                  <a:gd name="T35" fmla="*/ 2147483646 h 568"/>
                  <a:gd name="T36" fmla="*/ 2147483646 w 528"/>
                  <a:gd name="T37" fmla="*/ 2147483646 h 568"/>
                  <a:gd name="T38" fmla="*/ 2147483646 w 528"/>
                  <a:gd name="T39" fmla="*/ 2147483646 h 568"/>
                  <a:gd name="T40" fmla="*/ 2147483646 w 528"/>
                  <a:gd name="T41" fmla="*/ 2147483646 h 568"/>
                  <a:gd name="T42" fmla="*/ 2147483646 w 528"/>
                  <a:gd name="T43" fmla="*/ 2147483646 h 568"/>
                  <a:gd name="T44" fmla="*/ 2147483646 w 528"/>
                  <a:gd name="T45" fmla="*/ 2147483646 h 568"/>
                  <a:gd name="T46" fmla="*/ 0 w 528"/>
                  <a:gd name="T47" fmla="*/ 2147483646 h 568"/>
                  <a:gd name="T48" fmla="*/ 2147483646 w 528"/>
                  <a:gd name="T49" fmla="*/ 2147483646 h 568"/>
                  <a:gd name="T50" fmla="*/ 2147483646 w 528"/>
                  <a:gd name="T51" fmla="*/ 2147483646 h 568"/>
                  <a:gd name="T52" fmla="*/ 2147483646 w 528"/>
                  <a:gd name="T53" fmla="*/ 2147483646 h 568"/>
                  <a:gd name="T54" fmla="*/ 2147483646 w 528"/>
                  <a:gd name="T55" fmla="*/ 2147483646 h 568"/>
                  <a:gd name="T56" fmla="*/ 2147483646 w 528"/>
                  <a:gd name="T57" fmla="*/ 2147483646 h 568"/>
                  <a:gd name="T58" fmla="*/ 2147483646 w 528"/>
                  <a:gd name="T59" fmla="*/ 2147483646 h 568"/>
                  <a:gd name="T60" fmla="*/ 2147483646 w 528"/>
                  <a:gd name="T61" fmla="*/ 2147483646 h 568"/>
                  <a:gd name="T62" fmla="*/ 2147483646 w 528"/>
                  <a:gd name="T63" fmla="*/ 2147483646 h 568"/>
                  <a:gd name="T64" fmla="*/ 2147483646 w 528"/>
                  <a:gd name="T65" fmla="*/ 0 h 568"/>
                  <a:gd name="T66" fmla="*/ 2147483646 w 528"/>
                  <a:gd name="T67" fmla="*/ 2147483646 h 568"/>
                  <a:gd name="T68" fmla="*/ 2147483646 w 528"/>
                  <a:gd name="T69" fmla="*/ 2147483646 h 568"/>
                  <a:gd name="T70" fmla="*/ 2147483646 w 528"/>
                  <a:gd name="T71" fmla="*/ 2147483646 h 5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8"/>
                  <a:gd name="T109" fmla="*/ 0 h 568"/>
                  <a:gd name="T110" fmla="*/ 528 w 528"/>
                  <a:gd name="T111" fmla="*/ 568 h 5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8" h="568">
                    <a:moveTo>
                      <a:pt x="472" y="8"/>
                    </a:moveTo>
                    <a:lnTo>
                      <a:pt x="512" y="32"/>
                    </a:lnTo>
                    <a:lnTo>
                      <a:pt x="528" y="72"/>
                    </a:lnTo>
                    <a:lnTo>
                      <a:pt x="520" y="104"/>
                    </a:lnTo>
                    <a:lnTo>
                      <a:pt x="480" y="104"/>
                    </a:lnTo>
                    <a:lnTo>
                      <a:pt x="504" y="152"/>
                    </a:lnTo>
                    <a:lnTo>
                      <a:pt x="480" y="200"/>
                    </a:lnTo>
                    <a:lnTo>
                      <a:pt x="504" y="240"/>
                    </a:lnTo>
                    <a:lnTo>
                      <a:pt x="488" y="304"/>
                    </a:lnTo>
                    <a:lnTo>
                      <a:pt x="408" y="336"/>
                    </a:lnTo>
                    <a:lnTo>
                      <a:pt x="376" y="384"/>
                    </a:lnTo>
                    <a:lnTo>
                      <a:pt x="376" y="440"/>
                    </a:lnTo>
                    <a:lnTo>
                      <a:pt x="328" y="424"/>
                    </a:lnTo>
                    <a:lnTo>
                      <a:pt x="264" y="472"/>
                    </a:lnTo>
                    <a:lnTo>
                      <a:pt x="272" y="528"/>
                    </a:lnTo>
                    <a:lnTo>
                      <a:pt x="224" y="568"/>
                    </a:lnTo>
                    <a:lnTo>
                      <a:pt x="168" y="560"/>
                    </a:lnTo>
                    <a:lnTo>
                      <a:pt x="112" y="544"/>
                    </a:lnTo>
                    <a:lnTo>
                      <a:pt x="120" y="464"/>
                    </a:lnTo>
                    <a:lnTo>
                      <a:pt x="88" y="432"/>
                    </a:lnTo>
                    <a:lnTo>
                      <a:pt x="104" y="360"/>
                    </a:lnTo>
                    <a:lnTo>
                      <a:pt x="72" y="328"/>
                    </a:lnTo>
                    <a:lnTo>
                      <a:pt x="40" y="280"/>
                    </a:lnTo>
                    <a:lnTo>
                      <a:pt x="0" y="280"/>
                    </a:lnTo>
                    <a:lnTo>
                      <a:pt x="8" y="224"/>
                    </a:lnTo>
                    <a:lnTo>
                      <a:pt x="56" y="192"/>
                    </a:lnTo>
                    <a:lnTo>
                      <a:pt x="40" y="152"/>
                    </a:lnTo>
                    <a:lnTo>
                      <a:pt x="80" y="112"/>
                    </a:lnTo>
                    <a:lnTo>
                      <a:pt x="88" y="64"/>
                    </a:lnTo>
                    <a:lnTo>
                      <a:pt x="136" y="56"/>
                    </a:lnTo>
                    <a:lnTo>
                      <a:pt x="160" y="16"/>
                    </a:lnTo>
                    <a:lnTo>
                      <a:pt x="184" y="16"/>
                    </a:lnTo>
                    <a:lnTo>
                      <a:pt x="208" y="0"/>
                    </a:lnTo>
                    <a:lnTo>
                      <a:pt x="272" y="8"/>
                    </a:lnTo>
                    <a:lnTo>
                      <a:pt x="368" y="32"/>
                    </a:lnTo>
                    <a:lnTo>
                      <a:pt x="472" y="8"/>
                    </a:lnTo>
                    <a:close/>
                  </a:path>
                </a:pathLst>
              </a:custGeom>
              <a:solidFill>
                <a:srgbClr val="C6CFEB"/>
              </a:solidFill>
              <a:ln w="9525">
                <a:solidFill>
                  <a:schemeClr val="bg1"/>
                </a:solidFill>
                <a:round/>
                <a:headEnd/>
                <a:tailEnd/>
              </a:ln>
            </p:spPr>
            <p:txBody>
              <a:bodyPr/>
              <a:lstStyle/>
              <a:p>
                <a:endParaRPr lang="en-US" sz="1050"/>
              </a:p>
            </p:txBody>
          </p:sp>
          <p:sp>
            <p:nvSpPr>
              <p:cNvPr id="113" name="Freeform 112"/>
              <p:cNvSpPr>
                <a:spLocks/>
              </p:cNvSpPr>
              <p:nvPr/>
            </p:nvSpPr>
            <p:spPr bwMode="auto">
              <a:xfrm>
                <a:off x="4325946" y="3355114"/>
                <a:ext cx="754269" cy="754732"/>
              </a:xfrm>
              <a:custGeom>
                <a:avLst/>
                <a:gdLst>
                  <a:gd name="T0" fmla="*/ 2147483646 w 640"/>
                  <a:gd name="T1" fmla="*/ 2147483646 h 696"/>
                  <a:gd name="T2" fmla="*/ 2147483646 w 640"/>
                  <a:gd name="T3" fmla="*/ 2147483646 h 696"/>
                  <a:gd name="T4" fmla="*/ 2147483646 w 640"/>
                  <a:gd name="T5" fmla="*/ 2147483646 h 696"/>
                  <a:gd name="T6" fmla="*/ 2147483646 w 640"/>
                  <a:gd name="T7" fmla="*/ 2147483646 h 696"/>
                  <a:gd name="T8" fmla="*/ 2147483646 w 640"/>
                  <a:gd name="T9" fmla="*/ 2147483646 h 696"/>
                  <a:gd name="T10" fmla="*/ 2147483646 w 640"/>
                  <a:gd name="T11" fmla="*/ 2147483646 h 696"/>
                  <a:gd name="T12" fmla="*/ 2147483646 w 640"/>
                  <a:gd name="T13" fmla="*/ 2147483646 h 696"/>
                  <a:gd name="T14" fmla="*/ 2147483646 w 640"/>
                  <a:gd name="T15" fmla="*/ 2147483646 h 696"/>
                  <a:gd name="T16" fmla="*/ 2147483646 w 640"/>
                  <a:gd name="T17" fmla="*/ 2147483646 h 696"/>
                  <a:gd name="T18" fmla="*/ 2147483646 w 640"/>
                  <a:gd name="T19" fmla="*/ 2147483646 h 696"/>
                  <a:gd name="T20" fmla="*/ 2147483646 w 640"/>
                  <a:gd name="T21" fmla="*/ 2147483646 h 696"/>
                  <a:gd name="T22" fmla="*/ 2147483646 w 640"/>
                  <a:gd name="T23" fmla="*/ 2147483646 h 696"/>
                  <a:gd name="T24" fmla="*/ 2147483646 w 640"/>
                  <a:gd name="T25" fmla="*/ 2147483646 h 696"/>
                  <a:gd name="T26" fmla="*/ 2147483646 w 640"/>
                  <a:gd name="T27" fmla="*/ 2147483646 h 696"/>
                  <a:gd name="T28" fmla="*/ 2147483646 w 640"/>
                  <a:gd name="T29" fmla="*/ 0 h 696"/>
                  <a:gd name="T30" fmla="*/ 2147483646 w 640"/>
                  <a:gd name="T31" fmla="*/ 2147483646 h 696"/>
                  <a:gd name="T32" fmla="*/ 2147483646 w 640"/>
                  <a:gd name="T33" fmla="*/ 2147483646 h 696"/>
                  <a:gd name="T34" fmla="*/ 2147483646 w 640"/>
                  <a:gd name="T35" fmla="*/ 2147483646 h 696"/>
                  <a:gd name="T36" fmla="*/ 2147483646 w 640"/>
                  <a:gd name="T37" fmla="*/ 2147483646 h 696"/>
                  <a:gd name="T38" fmla="*/ 2147483646 w 640"/>
                  <a:gd name="T39" fmla="*/ 2147483646 h 696"/>
                  <a:gd name="T40" fmla="*/ 2147483646 w 640"/>
                  <a:gd name="T41" fmla="*/ 2147483646 h 696"/>
                  <a:gd name="T42" fmla="*/ 2147483646 w 640"/>
                  <a:gd name="T43" fmla="*/ 2147483646 h 696"/>
                  <a:gd name="T44" fmla="*/ 2147483646 w 640"/>
                  <a:gd name="T45" fmla="*/ 2147483646 h 696"/>
                  <a:gd name="T46" fmla="*/ 2147483646 w 640"/>
                  <a:gd name="T47" fmla="*/ 2147483646 h 696"/>
                  <a:gd name="T48" fmla="*/ 2147483646 w 640"/>
                  <a:gd name="T49" fmla="*/ 2147483646 h 696"/>
                  <a:gd name="T50" fmla="*/ 2147483646 w 640"/>
                  <a:gd name="T51" fmla="*/ 2147483646 h 696"/>
                  <a:gd name="T52" fmla="*/ 2147483646 w 640"/>
                  <a:gd name="T53" fmla="*/ 2147483646 h 696"/>
                  <a:gd name="T54" fmla="*/ 2147483646 w 640"/>
                  <a:gd name="T55" fmla="*/ 2147483646 h 696"/>
                  <a:gd name="T56" fmla="*/ 2147483646 w 640"/>
                  <a:gd name="T57" fmla="*/ 2147483646 h 696"/>
                  <a:gd name="T58" fmla="*/ 2147483646 w 640"/>
                  <a:gd name="T59" fmla="*/ 2147483646 h 696"/>
                  <a:gd name="T60" fmla="*/ 2147483646 w 640"/>
                  <a:gd name="T61" fmla="*/ 2147483646 h 696"/>
                  <a:gd name="T62" fmla="*/ 2147483646 w 640"/>
                  <a:gd name="T63" fmla="*/ 2147483646 h 696"/>
                  <a:gd name="T64" fmla="*/ 0 w 640"/>
                  <a:gd name="T65" fmla="*/ 2147483646 h 696"/>
                  <a:gd name="T66" fmla="*/ 2147483646 w 640"/>
                  <a:gd name="T67" fmla="*/ 2147483646 h 696"/>
                  <a:gd name="T68" fmla="*/ 2147483646 w 640"/>
                  <a:gd name="T69" fmla="*/ 2147483646 h 696"/>
                  <a:gd name="T70" fmla="*/ 2147483646 w 640"/>
                  <a:gd name="T71" fmla="*/ 2147483646 h 696"/>
                  <a:gd name="T72" fmla="*/ 2147483646 w 640"/>
                  <a:gd name="T73" fmla="*/ 2147483646 h 696"/>
                  <a:gd name="T74" fmla="*/ 2147483646 w 640"/>
                  <a:gd name="T75" fmla="*/ 2147483646 h 696"/>
                  <a:gd name="T76" fmla="*/ 2147483646 w 640"/>
                  <a:gd name="T77" fmla="*/ 2147483646 h 696"/>
                  <a:gd name="T78" fmla="*/ 2147483646 w 640"/>
                  <a:gd name="T79" fmla="*/ 2147483646 h 696"/>
                  <a:gd name="T80" fmla="*/ 2147483646 w 640"/>
                  <a:gd name="T81" fmla="*/ 2147483646 h 696"/>
                  <a:gd name="T82" fmla="*/ 2147483646 w 640"/>
                  <a:gd name="T83" fmla="*/ 2147483646 h 696"/>
                  <a:gd name="T84" fmla="*/ 2147483646 w 640"/>
                  <a:gd name="T85" fmla="*/ 2147483646 h 696"/>
                  <a:gd name="T86" fmla="*/ 2147483646 w 640"/>
                  <a:gd name="T87" fmla="*/ 2147483646 h 696"/>
                  <a:gd name="T88" fmla="*/ 2147483646 w 640"/>
                  <a:gd name="T89" fmla="*/ 2147483646 h 696"/>
                  <a:gd name="T90" fmla="*/ 2147483646 w 640"/>
                  <a:gd name="T91" fmla="*/ 2147483646 h 696"/>
                  <a:gd name="T92" fmla="*/ 2147483646 w 640"/>
                  <a:gd name="T93" fmla="*/ 2147483646 h 696"/>
                  <a:gd name="T94" fmla="*/ 2147483646 w 640"/>
                  <a:gd name="T95" fmla="*/ 2147483646 h 696"/>
                  <a:gd name="T96" fmla="*/ 2147483646 w 640"/>
                  <a:gd name="T97" fmla="*/ 2147483646 h 696"/>
                  <a:gd name="T98" fmla="*/ 2147483646 w 640"/>
                  <a:gd name="T99" fmla="*/ 2147483646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0"/>
                  <a:gd name="T151" fmla="*/ 0 h 696"/>
                  <a:gd name="T152" fmla="*/ 640 w 64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0" h="696">
                    <a:moveTo>
                      <a:pt x="552" y="640"/>
                    </a:moveTo>
                    <a:lnTo>
                      <a:pt x="472" y="608"/>
                    </a:lnTo>
                    <a:lnTo>
                      <a:pt x="432" y="528"/>
                    </a:lnTo>
                    <a:lnTo>
                      <a:pt x="464" y="520"/>
                    </a:lnTo>
                    <a:lnTo>
                      <a:pt x="464" y="472"/>
                    </a:lnTo>
                    <a:lnTo>
                      <a:pt x="544" y="400"/>
                    </a:lnTo>
                    <a:lnTo>
                      <a:pt x="544" y="368"/>
                    </a:lnTo>
                    <a:lnTo>
                      <a:pt x="592" y="352"/>
                    </a:lnTo>
                    <a:lnTo>
                      <a:pt x="608" y="304"/>
                    </a:lnTo>
                    <a:lnTo>
                      <a:pt x="640" y="288"/>
                    </a:lnTo>
                    <a:lnTo>
                      <a:pt x="600" y="192"/>
                    </a:lnTo>
                    <a:lnTo>
                      <a:pt x="632" y="128"/>
                    </a:lnTo>
                    <a:lnTo>
                      <a:pt x="624" y="80"/>
                    </a:lnTo>
                    <a:lnTo>
                      <a:pt x="608" y="32"/>
                    </a:lnTo>
                    <a:lnTo>
                      <a:pt x="568" y="0"/>
                    </a:lnTo>
                    <a:lnTo>
                      <a:pt x="528" y="24"/>
                    </a:lnTo>
                    <a:lnTo>
                      <a:pt x="488" y="8"/>
                    </a:lnTo>
                    <a:lnTo>
                      <a:pt x="408" y="40"/>
                    </a:lnTo>
                    <a:lnTo>
                      <a:pt x="376" y="88"/>
                    </a:lnTo>
                    <a:lnTo>
                      <a:pt x="376" y="144"/>
                    </a:lnTo>
                    <a:lnTo>
                      <a:pt x="328" y="128"/>
                    </a:lnTo>
                    <a:lnTo>
                      <a:pt x="264" y="176"/>
                    </a:lnTo>
                    <a:lnTo>
                      <a:pt x="272" y="232"/>
                    </a:lnTo>
                    <a:lnTo>
                      <a:pt x="224" y="272"/>
                    </a:lnTo>
                    <a:lnTo>
                      <a:pt x="168" y="264"/>
                    </a:lnTo>
                    <a:lnTo>
                      <a:pt x="112" y="248"/>
                    </a:lnTo>
                    <a:lnTo>
                      <a:pt x="80" y="264"/>
                    </a:lnTo>
                    <a:lnTo>
                      <a:pt x="88" y="288"/>
                    </a:lnTo>
                    <a:lnTo>
                      <a:pt x="56" y="288"/>
                    </a:lnTo>
                    <a:lnTo>
                      <a:pt x="88" y="328"/>
                    </a:lnTo>
                    <a:lnTo>
                      <a:pt x="56" y="344"/>
                    </a:lnTo>
                    <a:lnTo>
                      <a:pt x="40" y="376"/>
                    </a:lnTo>
                    <a:lnTo>
                      <a:pt x="0" y="384"/>
                    </a:lnTo>
                    <a:lnTo>
                      <a:pt x="24" y="448"/>
                    </a:lnTo>
                    <a:lnTo>
                      <a:pt x="72" y="424"/>
                    </a:lnTo>
                    <a:lnTo>
                      <a:pt x="72" y="464"/>
                    </a:lnTo>
                    <a:lnTo>
                      <a:pt x="40" y="488"/>
                    </a:lnTo>
                    <a:lnTo>
                      <a:pt x="56" y="536"/>
                    </a:lnTo>
                    <a:lnTo>
                      <a:pt x="136" y="592"/>
                    </a:lnTo>
                    <a:lnTo>
                      <a:pt x="192" y="584"/>
                    </a:lnTo>
                    <a:lnTo>
                      <a:pt x="256" y="592"/>
                    </a:lnTo>
                    <a:lnTo>
                      <a:pt x="336" y="560"/>
                    </a:lnTo>
                    <a:lnTo>
                      <a:pt x="344" y="616"/>
                    </a:lnTo>
                    <a:lnTo>
                      <a:pt x="328" y="672"/>
                    </a:lnTo>
                    <a:lnTo>
                      <a:pt x="360" y="696"/>
                    </a:lnTo>
                    <a:lnTo>
                      <a:pt x="408" y="680"/>
                    </a:lnTo>
                    <a:lnTo>
                      <a:pt x="464" y="696"/>
                    </a:lnTo>
                    <a:lnTo>
                      <a:pt x="504" y="672"/>
                    </a:lnTo>
                    <a:lnTo>
                      <a:pt x="544" y="664"/>
                    </a:lnTo>
                    <a:lnTo>
                      <a:pt x="552" y="640"/>
                    </a:lnTo>
                    <a:close/>
                  </a:path>
                </a:pathLst>
              </a:custGeom>
              <a:solidFill>
                <a:srgbClr val="C6CFEB"/>
              </a:solidFill>
              <a:ln w="9525">
                <a:solidFill>
                  <a:schemeClr val="bg1"/>
                </a:solidFill>
                <a:round/>
                <a:headEnd/>
                <a:tailEnd/>
              </a:ln>
            </p:spPr>
            <p:txBody>
              <a:bodyPr/>
              <a:lstStyle/>
              <a:p>
                <a:endParaRPr lang="en-US" sz="1050"/>
              </a:p>
            </p:txBody>
          </p:sp>
          <p:sp>
            <p:nvSpPr>
              <p:cNvPr id="114" name="Freeform 113"/>
              <p:cNvSpPr>
                <a:spLocks/>
              </p:cNvSpPr>
              <p:nvPr/>
            </p:nvSpPr>
            <p:spPr bwMode="auto">
              <a:xfrm>
                <a:off x="3590535" y="3138237"/>
                <a:ext cx="697699" cy="399054"/>
              </a:xfrm>
              <a:custGeom>
                <a:avLst/>
                <a:gdLst>
                  <a:gd name="T0" fmla="*/ 2147483646 w 592"/>
                  <a:gd name="T1" fmla="*/ 2147483646 h 368"/>
                  <a:gd name="T2" fmla="*/ 2147483646 w 592"/>
                  <a:gd name="T3" fmla="*/ 0 h 368"/>
                  <a:gd name="T4" fmla="*/ 2147483646 w 592"/>
                  <a:gd name="T5" fmla="*/ 2147483646 h 368"/>
                  <a:gd name="T6" fmla="*/ 2147483646 w 592"/>
                  <a:gd name="T7" fmla="*/ 2147483646 h 368"/>
                  <a:gd name="T8" fmla="*/ 2147483646 w 592"/>
                  <a:gd name="T9" fmla="*/ 2147483646 h 368"/>
                  <a:gd name="T10" fmla="*/ 2147483646 w 592"/>
                  <a:gd name="T11" fmla="*/ 2147483646 h 368"/>
                  <a:gd name="T12" fmla="*/ 2147483646 w 592"/>
                  <a:gd name="T13" fmla="*/ 2147483646 h 368"/>
                  <a:gd name="T14" fmla="*/ 2147483646 w 592"/>
                  <a:gd name="T15" fmla="*/ 2147483646 h 368"/>
                  <a:gd name="T16" fmla="*/ 2147483646 w 592"/>
                  <a:gd name="T17" fmla="*/ 2147483646 h 368"/>
                  <a:gd name="T18" fmla="*/ 2147483646 w 592"/>
                  <a:gd name="T19" fmla="*/ 2147483646 h 368"/>
                  <a:gd name="T20" fmla="*/ 2147483646 w 592"/>
                  <a:gd name="T21" fmla="*/ 2147483646 h 368"/>
                  <a:gd name="T22" fmla="*/ 2147483646 w 592"/>
                  <a:gd name="T23" fmla="*/ 2147483646 h 368"/>
                  <a:gd name="T24" fmla="*/ 2147483646 w 592"/>
                  <a:gd name="T25" fmla="*/ 2147483646 h 368"/>
                  <a:gd name="T26" fmla="*/ 2147483646 w 592"/>
                  <a:gd name="T27" fmla="*/ 2147483646 h 368"/>
                  <a:gd name="T28" fmla="*/ 2147483646 w 592"/>
                  <a:gd name="T29" fmla="*/ 2147483646 h 368"/>
                  <a:gd name="T30" fmla="*/ 2147483646 w 592"/>
                  <a:gd name="T31" fmla="*/ 2147483646 h 368"/>
                  <a:gd name="T32" fmla="*/ 2147483646 w 592"/>
                  <a:gd name="T33" fmla="*/ 2147483646 h 368"/>
                  <a:gd name="T34" fmla="*/ 2147483646 w 592"/>
                  <a:gd name="T35" fmla="*/ 2147483646 h 368"/>
                  <a:gd name="T36" fmla="*/ 2147483646 w 592"/>
                  <a:gd name="T37" fmla="*/ 2147483646 h 368"/>
                  <a:gd name="T38" fmla="*/ 2147483646 w 592"/>
                  <a:gd name="T39" fmla="*/ 2147483646 h 368"/>
                  <a:gd name="T40" fmla="*/ 2147483646 w 592"/>
                  <a:gd name="T41" fmla="*/ 2147483646 h 368"/>
                  <a:gd name="T42" fmla="*/ 2147483646 w 592"/>
                  <a:gd name="T43" fmla="*/ 2147483646 h 368"/>
                  <a:gd name="T44" fmla="*/ 2147483646 w 592"/>
                  <a:gd name="T45" fmla="*/ 2147483646 h 368"/>
                  <a:gd name="T46" fmla="*/ 2147483646 w 592"/>
                  <a:gd name="T47" fmla="*/ 2147483646 h 368"/>
                  <a:gd name="T48" fmla="*/ 0 w 592"/>
                  <a:gd name="T49" fmla="*/ 2147483646 h 368"/>
                  <a:gd name="T50" fmla="*/ 2147483646 w 592"/>
                  <a:gd name="T51" fmla="*/ 2147483646 h 368"/>
                  <a:gd name="T52" fmla="*/ 2147483646 w 592"/>
                  <a:gd name="T53" fmla="*/ 2147483646 h 368"/>
                  <a:gd name="T54" fmla="*/ 2147483646 w 592"/>
                  <a:gd name="T55" fmla="*/ 2147483646 h 368"/>
                  <a:gd name="T56" fmla="*/ 2147483646 w 592"/>
                  <a:gd name="T57" fmla="*/ 2147483646 h 368"/>
                  <a:gd name="T58" fmla="*/ 2147483646 w 592"/>
                  <a:gd name="T59" fmla="*/ 2147483646 h 368"/>
                  <a:gd name="T60" fmla="*/ 2147483646 w 592"/>
                  <a:gd name="T61" fmla="*/ 2147483646 h 368"/>
                  <a:gd name="T62" fmla="*/ 2147483646 w 592"/>
                  <a:gd name="T63" fmla="*/ 2147483646 h 368"/>
                  <a:gd name="T64" fmla="*/ 2147483646 w 592"/>
                  <a:gd name="T65" fmla="*/ 2147483646 h 368"/>
                  <a:gd name="T66" fmla="*/ 2147483646 w 592"/>
                  <a:gd name="T67" fmla="*/ 2147483646 h 368"/>
                  <a:gd name="T68" fmla="*/ 2147483646 w 592"/>
                  <a:gd name="T69" fmla="*/ 2147483646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2"/>
                  <a:gd name="T106" fmla="*/ 0 h 368"/>
                  <a:gd name="T107" fmla="*/ 592 w 592"/>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2" h="368">
                    <a:moveTo>
                      <a:pt x="280" y="32"/>
                    </a:moveTo>
                    <a:lnTo>
                      <a:pt x="336" y="0"/>
                    </a:lnTo>
                    <a:lnTo>
                      <a:pt x="368" y="32"/>
                    </a:lnTo>
                    <a:lnTo>
                      <a:pt x="456" y="48"/>
                    </a:lnTo>
                    <a:lnTo>
                      <a:pt x="528" y="32"/>
                    </a:lnTo>
                    <a:lnTo>
                      <a:pt x="544" y="80"/>
                    </a:lnTo>
                    <a:lnTo>
                      <a:pt x="592" y="72"/>
                    </a:lnTo>
                    <a:lnTo>
                      <a:pt x="584" y="136"/>
                    </a:lnTo>
                    <a:lnTo>
                      <a:pt x="544" y="144"/>
                    </a:lnTo>
                    <a:lnTo>
                      <a:pt x="536" y="168"/>
                    </a:lnTo>
                    <a:lnTo>
                      <a:pt x="480" y="176"/>
                    </a:lnTo>
                    <a:lnTo>
                      <a:pt x="480" y="272"/>
                    </a:lnTo>
                    <a:lnTo>
                      <a:pt x="432" y="288"/>
                    </a:lnTo>
                    <a:lnTo>
                      <a:pt x="392" y="344"/>
                    </a:lnTo>
                    <a:lnTo>
                      <a:pt x="328" y="312"/>
                    </a:lnTo>
                    <a:lnTo>
                      <a:pt x="312" y="352"/>
                    </a:lnTo>
                    <a:lnTo>
                      <a:pt x="248" y="368"/>
                    </a:lnTo>
                    <a:lnTo>
                      <a:pt x="184" y="336"/>
                    </a:lnTo>
                    <a:lnTo>
                      <a:pt x="184" y="304"/>
                    </a:lnTo>
                    <a:lnTo>
                      <a:pt x="128" y="280"/>
                    </a:lnTo>
                    <a:lnTo>
                      <a:pt x="120" y="248"/>
                    </a:lnTo>
                    <a:lnTo>
                      <a:pt x="80" y="240"/>
                    </a:lnTo>
                    <a:lnTo>
                      <a:pt x="40" y="184"/>
                    </a:lnTo>
                    <a:lnTo>
                      <a:pt x="16" y="184"/>
                    </a:lnTo>
                    <a:lnTo>
                      <a:pt x="0" y="152"/>
                    </a:lnTo>
                    <a:lnTo>
                      <a:pt x="56" y="120"/>
                    </a:lnTo>
                    <a:lnTo>
                      <a:pt x="56" y="88"/>
                    </a:lnTo>
                    <a:lnTo>
                      <a:pt x="88" y="80"/>
                    </a:lnTo>
                    <a:lnTo>
                      <a:pt x="80" y="40"/>
                    </a:lnTo>
                    <a:lnTo>
                      <a:pt x="176" y="8"/>
                    </a:lnTo>
                    <a:lnTo>
                      <a:pt x="160" y="40"/>
                    </a:lnTo>
                    <a:lnTo>
                      <a:pt x="192" y="40"/>
                    </a:lnTo>
                    <a:lnTo>
                      <a:pt x="248" y="80"/>
                    </a:lnTo>
                    <a:lnTo>
                      <a:pt x="280" y="48"/>
                    </a:lnTo>
                    <a:lnTo>
                      <a:pt x="280" y="32"/>
                    </a:lnTo>
                    <a:close/>
                  </a:path>
                </a:pathLst>
              </a:custGeom>
              <a:solidFill>
                <a:srgbClr val="C6CFEB"/>
              </a:solidFill>
              <a:ln w="9525">
                <a:solidFill>
                  <a:schemeClr val="bg1"/>
                </a:solidFill>
                <a:round/>
                <a:headEnd/>
                <a:tailEnd/>
              </a:ln>
            </p:spPr>
            <p:txBody>
              <a:bodyPr/>
              <a:lstStyle/>
              <a:p>
                <a:endParaRPr lang="en-US" sz="1050"/>
              </a:p>
            </p:txBody>
          </p:sp>
          <p:sp>
            <p:nvSpPr>
              <p:cNvPr id="115" name="Freeform 114"/>
              <p:cNvSpPr>
                <a:spLocks/>
              </p:cNvSpPr>
              <p:nvPr/>
            </p:nvSpPr>
            <p:spPr bwMode="auto">
              <a:xfrm>
                <a:off x="3647104" y="3198963"/>
                <a:ext cx="820267" cy="685331"/>
              </a:xfrm>
              <a:custGeom>
                <a:avLst/>
                <a:gdLst>
                  <a:gd name="T0" fmla="*/ 2147483646 w 696"/>
                  <a:gd name="T1" fmla="*/ 2147483646 h 632"/>
                  <a:gd name="T2" fmla="*/ 2147483646 w 696"/>
                  <a:gd name="T3" fmla="*/ 2147483646 h 632"/>
                  <a:gd name="T4" fmla="*/ 2147483646 w 696"/>
                  <a:gd name="T5" fmla="*/ 2147483646 h 632"/>
                  <a:gd name="T6" fmla="*/ 2147483646 w 696"/>
                  <a:gd name="T7" fmla="*/ 2147483646 h 632"/>
                  <a:gd name="T8" fmla="*/ 2147483646 w 696"/>
                  <a:gd name="T9" fmla="*/ 2147483646 h 632"/>
                  <a:gd name="T10" fmla="*/ 2147483646 w 696"/>
                  <a:gd name="T11" fmla="*/ 2147483646 h 632"/>
                  <a:gd name="T12" fmla="*/ 2147483646 w 696"/>
                  <a:gd name="T13" fmla="*/ 2147483646 h 632"/>
                  <a:gd name="T14" fmla="*/ 2147483646 w 696"/>
                  <a:gd name="T15" fmla="*/ 2147483646 h 632"/>
                  <a:gd name="T16" fmla="*/ 2147483646 w 696"/>
                  <a:gd name="T17" fmla="*/ 2147483646 h 632"/>
                  <a:gd name="T18" fmla="*/ 2147483646 w 696"/>
                  <a:gd name="T19" fmla="*/ 2147483646 h 632"/>
                  <a:gd name="T20" fmla="*/ 2147483646 w 696"/>
                  <a:gd name="T21" fmla="*/ 2147483646 h 632"/>
                  <a:gd name="T22" fmla="*/ 2147483646 w 696"/>
                  <a:gd name="T23" fmla="*/ 2147483646 h 632"/>
                  <a:gd name="T24" fmla="*/ 2147483646 w 696"/>
                  <a:gd name="T25" fmla="*/ 2147483646 h 632"/>
                  <a:gd name="T26" fmla="*/ 2147483646 w 696"/>
                  <a:gd name="T27" fmla="*/ 2147483646 h 632"/>
                  <a:gd name="T28" fmla="*/ 2147483646 w 696"/>
                  <a:gd name="T29" fmla="*/ 0 h 632"/>
                  <a:gd name="T30" fmla="*/ 2147483646 w 696"/>
                  <a:gd name="T31" fmla="*/ 2147483646 h 632"/>
                  <a:gd name="T32" fmla="*/ 2147483646 w 696"/>
                  <a:gd name="T33" fmla="*/ 2147483646 h 632"/>
                  <a:gd name="T34" fmla="*/ 2147483646 w 696"/>
                  <a:gd name="T35" fmla="*/ 2147483646 h 632"/>
                  <a:gd name="T36" fmla="*/ 2147483646 w 696"/>
                  <a:gd name="T37" fmla="*/ 2147483646 h 632"/>
                  <a:gd name="T38" fmla="*/ 2147483646 w 696"/>
                  <a:gd name="T39" fmla="*/ 2147483646 h 632"/>
                  <a:gd name="T40" fmla="*/ 2147483646 w 696"/>
                  <a:gd name="T41" fmla="*/ 2147483646 h 632"/>
                  <a:gd name="T42" fmla="*/ 2147483646 w 696"/>
                  <a:gd name="T43" fmla="*/ 2147483646 h 632"/>
                  <a:gd name="T44" fmla="*/ 2147483646 w 696"/>
                  <a:gd name="T45" fmla="*/ 2147483646 h 632"/>
                  <a:gd name="T46" fmla="*/ 2147483646 w 696"/>
                  <a:gd name="T47" fmla="*/ 2147483646 h 632"/>
                  <a:gd name="T48" fmla="*/ 2147483646 w 696"/>
                  <a:gd name="T49" fmla="*/ 2147483646 h 632"/>
                  <a:gd name="T50" fmla="*/ 2147483646 w 696"/>
                  <a:gd name="T51" fmla="*/ 2147483646 h 632"/>
                  <a:gd name="T52" fmla="*/ 2147483646 w 696"/>
                  <a:gd name="T53" fmla="*/ 2147483646 h 632"/>
                  <a:gd name="T54" fmla="*/ 2147483646 w 696"/>
                  <a:gd name="T55" fmla="*/ 2147483646 h 632"/>
                  <a:gd name="T56" fmla="*/ 2147483646 w 696"/>
                  <a:gd name="T57" fmla="*/ 2147483646 h 632"/>
                  <a:gd name="T58" fmla="*/ 2147483646 w 696"/>
                  <a:gd name="T59" fmla="*/ 2147483646 h 632"/>
                  <a:gd name="T60" fmla="*/ 2147483646 w 696"/>
                  <a:gd name="T61" fmla="*/ 2147483646 h 632"/>
                  <a:gd name="T62" fmla="*/ 2147483646 w 696"/>
                  <a:gd name="T63" fmla="*/ 2147483646 h 632"/>
                  <a:gd name="T64" fmla="*/ 2147483646 w 696"/>
                  <a:gd name="T65" fmla="*/ 2147483646 h 632"/>
                  <a:gd name="T66" fmla="*/ 2147483646 w 696"/>
                  <a:gd name="T67" fmla="*/ 2147483646 h 632"/>
                  <a:gd name="T68" fmla="*/ 2147483646 w 696"/>
                  <a:gd name="T69" fmla="*/ 2147483646 h 632"/>
                  <a:gd name="T70" fmla="*/ 2147483646 w 696"/>
                  <a:gd name="T71" fmla="*/ 2147483646 h 632"/>
                  <a:gd name="T72" fmla="*/ 2147483646 w 696"/>
                  <a:gd name="T73" fmla="*/ 2147483646 h 632"/>
                  <a:gd name="T74" fmla="*/ 2147483646 w 696"/>
                  <a:gd name="T75" fmla="*/ 2147483646 h 632"/>
                  <a:gd name="T76" fmla="*/ 2147483646 w 696"/>
                  <a:gd name="T77" fmla="*/ 2147483646 h 632"/>
                  <a:gd name="T78" fmla="*/ 2147483646 w 696"/>
                  <a:gd name="T79" fmla="*/ 2147483646 h 632"/>
                  <a:gd name="T80" fmla="*/ 2147483646 w 696"/>
                  <a:gd name="T81" fmla="*/ 2147483646 h 632"/>
                  <a:gd name="T82" fmla="*/ 2147483646 w 696"/>
                  <a:gd name="T83" fmla="*/ 2147483646 h 632"/>
                  <a:gd name="T84" fmla="*/ 2147483646 w 696"/>
                  <a:gd name="T85" fmla="*/ 2147483646 h 632"/>
                  <a:gd name="T86" fmla="*/ 2147483646 w 696"/>
                  <a:gd name="T87" fmla="*/ 2147483646 h 632"/>
                  <a:gd name="T88" fmla="*/ 2147483646 w 696"/>
                  <a:gd name="T89" fmla="*/ 2147483646 h 632"/>
                  <a:gd name="T90" fmla="*/ 0 w 696"/>
                  <a:gd name="T91" fmla="*/ 2147483646 h 632"/>
                  <a:gd name="T92" fmla="*/ 2147483646 w 696"/>
                  <a:gd name="T93" fmla="*/ 2147483646 h 632"/>
                  <a:gd name="T94" fmla="*/ 2147483646 w 696"/>
                  <a:gd name="T95" fmla="*/ 2147483646 h 632"/>
                  <a:gd name="T96" fmla="*/ 2147483646 w 696"/>
                  <a:gd name="T97" fmla="*/ 2147483646 h 632"/>
                  <a:gd name="T98" fmla="*/ 2147483646 w 696"/>
                  <a:gd name="T99" fmla="*/ 2147483646 h 6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96"/>
                  <a:gd name="T151" fmla="*/ 0 h 632"/>
                  <a:gd name="T152" fmla="*/ 696 w 696"/>
                  <a:gd name="T153" fmla="*/ 632 h 6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96" h="632">
                    <a:moveTo>
                      <a:pt x="80" y="224"/>
                    </a:moveTo>
                    <a:lnTo>
                      <a:pt x="136" y="248"/>
                    </a:lnTo>
                    <a:lnTo>
                      <a:pt x="136" y="280"/>
                    </a:lnTo>
                    <a:lnTo>
                      <a:pt x="200" y="312"/>
                    </a:lnTo>
                    <a:lnTo>
                      <a:pt x="264" y="296"/>
                    </a:lnTo>
                    <a:lnTo>
                      <a:pt x="280" y="256"/>
                    </a:lnTo>
                    <a:lnTo>
                      <a:pt x="344" y="280"/>
                    </a:lnTo>
                    <a:lnTo>
                      <a:pt x="384" y="232"/>
                    </a:lnTo>
                    <a:lnTo>
                      <a:pt x="432" y="216"/>
                    </a:lnTo>
                    <a:lnTo>
                      <a:pt x="432" y="120"/>
                    </a:lnTo>
                    <a:lnTo>
                      <a:pt x="488" y="112"/>
                    </a:lnTo>
                    <a:lnTo>
                      <a:pt x="488" y="80"/>
                    </a:lnTo>
                    <a:lnTo>
                      <a:pt x="536" y="80"/>
                    </a:lnTo>
                    <a:lnTo>
                      <a:pt x="544" y="8"/>
                    </a:lnTo>
                    <a:lnTo>
                      <a:pt x="616" y="0"/>
                    </a:lnTo>
                    <a:lnTo>
                      <a:pt x="624" y="40"/>
                    </a:lnTo>
                    <a:lnTo>
                      <a:pt x="584" y="72"/>
                    </a:lnTo>
                    <a:lnTo>
                      <a:pt x="576" y="128"/>
                    </a:lnTo>
                    <a:lnTo>
                      <a:pt x="616" y="128"/>
                    </a:lnTo>
                    <a:lnTo>
                      <a:pt x="680" y="208"/>
                    </a:lnTo>
                    <a:lnTo>
                      <a:pt x="664" y="272"/>
                    </a:lnTo>
                    <a:lnTo>
                      <a:pt x="696" y="312"/>
                    </a:lnTo>
                    <a:lnTo>
                      <a:pt x="688" y="384"/>
                    </a:lnTo>
                    <a:lnTo>
                      <a:pt x="656" y="408"/>
                    </a:lnTo>
                    <a:lnTo>
                      <a:pt x="664" y="432"/>
                    </a:lnTo>
                    <a:lnTo>
                      <a:pt x="632" y="432"/>
                    </a:lnTo>
                    <a:lnTo>
                      <a:pt x="664" y="472"/>
                    </a:lnTo>
                    <a:lnTo>
                      <a:pt x="632" y="488"/>
                    </a:lnTo>
                    <a:lnTo>
                      <a:pt x="616" y="520"/>
                    </a:lnTo>
                    <a:lnTo>
                      <a:pt x="576" y="520"/>
                    </a:lnTo>
                    <a:lnTo>
                      <a:pt x="600" y="592"/>
                    </a:lnTo>
                    <a:lnTo>
                      <a:pt x="544" y="608"/>
                    </a:lnTo>
                    <a:lnTo>
                      <a:pt x="496" y="584"/>
                    </a:lnTo>
                    <a:lnTo>
                      <a:pt x="456" y="632"/>
                    </a:lnTo>
                    <a:lnTo>
                      <a:pt x="440" y="608"/>
                    </a:lnTo>
                    <a:lnTo>
                      <a:pt x="448" y="568"/>
                    </a:lnTo>
                    <a:lnTo>
                      <a:pt x="392" y="576"/>
                    </a:lnTo>
                    <a:lnTo>
                      <a:pt x="368" y="552"/>
                    </a:lnTo>
                    <a:lnTo>
                      <a:pt x="272" y="544"/>
                    </a:lnTo>
                    <a:lnTo>
                      <a:pt x="248" y="536"/>
                    </a:lnTo>
                    <a:lnTo>
                      <a:pt x="184" y="568"/>
                    </a:lnTo>
                    <a:lnTo>
                      <a:pt x="144" y="480"/>
                    </a:lnTo>
                    <a:lnTo>
                      <a:pt x="88" y="488"/>
                    </a:lnTo>
                    <a:lnTo>
                      <a:pt x="72" y="472"/>
                    </a:lnTo>
                    <a:lnTo>
                      <a:pt x="64" y="424"/>
                    </a:lnTo>
                    <a:lnTo>
                      <a:pt x="0" y="360"/>
                    </a:lnTo>
                    <a:lnTo>
                      <a:pt x="56" y="344"/>
                    </a:lnTo>
                    <a:lnTo>
                      <a:pt x="88" y="288"/>
                    </a:lnTo>
                    <a:lnTo>
                      <a:pt x="56" y="256"/>
                    </a:lnTo>
                    <a:lnTo>
                      <a:pt x="80" y="224"/>
                    </a:lnTo>
                    <a:close/>
                  </a:path>
                </a:pathLst>
              </a:custGeom>
              <a:solidFill>
                <a:srgbClr val="4670F8"/>
              </a:solidFill>
              <a:ln w="9525">
                <a:solidFill>
                  <a:schemeClr val="bg1"/>
                </a:solidFill>
                <a:round/>
                <a:headEnd/>
                <a:tailEnd/>
              </a:ln>
            </p:spPr>
            <p:txBody>
              <a:bodyPr/>
              <a:lstStyle/>
              <a:p>
                <a:endParaRPr lang="en-US" sz="1050"/>
              </a:p>
            </p:txBody>
          </p:sp>
          <p:sp>
            <p:nvSpPr>
              <p:cNvPr id="116" name="Freeform 115"/>
              <p:cNvSpPr>
                <a:spLocks/>
              </p:cNvSpPr>
              <p:nvPr/>
            </p:nvSpPr>
            <p:spPr bwMode="auto">
              <a:xfrm>
                <a:off x="3647104" y="3710792"/>
                <a:ext cx="839124" cy="850158"/>
              </a:xfrm>
              <a:custGeom>
                <a:avLst/>
                <a:gdLst>
                  <a:gd name="T0" fmla="*/ 2147483646 w 712"/>
                  <a:gd name="T1" fmla="*/ 0 h 784"/>
                  <a:gd name="T2" fmla="*/ 2147483646 w 712"/>
                  <a:gd name="T3" fmla="*/ 2147483646 h 784"/>
                  <a:gd name="T4" fmla="*/ 2147483646 w 712"/>
                  <a:gd name="T5" fmla="*/ 2147483646 h 784"/>
                  <a:gd name="T6" fmla="*/ 2147483646 w 712"/>
                  <a:gd name="T7" fmla="*/ 2147483646 h 784"/>
                  <a:gd name="T8" fmla="*/ 2147483646 w 712"/>
                  <a:gd name="T9" fmla="*/ 2147483646 h 784"/>
                  <a:gd name="T10" fmla="*/ 2147483646 w 712"/>
                  <a:gd name="T11" fmla="*/ 2147483646 h 784"/>
                  <a:gd name="T12" fmla="*/ 2147483646 w 712"/>
                  <a:gd name="T13" fmla="*/ 2147483646 h 784"/>
                  <a:gd name="T14" fmla="*/ 2147483646 w 712"/>
                  <a:gd name="T15" fmla="*/ 2147483646 h 784"/>
                  <a:gd name="T16" fmla="*/ 2147483646 w 712"/>
                  <a:gd name="T17" fmla="*/ 2147483646 h 784"/>
                  <a:gd name="T18" fmla="*/ 2147483646 w 712"/>
                  <a:gd name="T19" fmla="*/ 2147483646 h 784"/>
                  <a:gd name="T20" fmla="*/ 2147483646 w 712"/>
                  <a:gd name="T21" fmla="*/ 2147483646 h 784"/>
                  <a:gd name="T22" fmla="*/ 2147483646 w 712"/>
                  <a:gd name="T23" fmla="*/ 2147483646 h 784"/>
                  <a:gd name="T24" fmla="*/ 2147483646 w 712"/>
                  <a:gd name="T25" fmla="*/ 2147483646 h 784"/>
                  <a:gd name="T26" fmla="*/ 2147483646 w 712"/>
                  <a:gd name="T27" fmla="*/ 2147483646 h 784"/>
                  <a:gd name="T28" fmla="*/ 2147483646 w 712"/>
                  <a:gd name="T29" fmla="*/ 2147483646 h 784"/>
                  <a:gd name="T30" fmla="*/ 2147483646 w 712"/>
                  <a:gd name="T31" fmla="*/ 2147483646 h 784"/>
                  <a:gd name="T32" fmla="*/ 2147483646 w 712"/>
                  <a:gd name="T33" fmla="*/ 2147483646 h 784"/>
                  <a:gd name="T34" fmla="*/ 2147483646 w 712"/>
                  <a:gd name="T35" fmla="*/ 2147483646 h 784"/>
                  <a:gd name="T36" fmla="*/ 2147483646 w 712"/>
                  <a:gd name="T37" fmla="*/ 2147483646 h 784"/>
                  <a:gd name="T38" fmla="*/ 2147483646 w 712"/>
                  <a:gd name="T39" fmla="*/ 2147483646 h 784"/>
                  <a:gd name="T40" fmla="*/ 2147483646 w 712"/>
                  <a:gd name="T41" fmla="*/ 2147483646 h 784"/>
                  <a:gd name="T42" fmla="*/ 2147483646 w 712"/>
                  <a:gd name="T43" fmla="*/ 2147483646 h 784"/>
                  <a:gd name="T44" fmla="*/ 2147483646 w 712"/>
                  <a:gd name="T45" fmla="*/ 2147483646 h 784"/>
                  <a:gd name="T46" fmla="*/ 2147483646 w 712"/>
                  <a:gd name="T47" fmla="*/ 2147483646 h 784"/>
                  <a:gd name="T48" fmla="*/ 2147483646 w 712"/>
                  <a:gd name="T49" fmla="*/ 2147483646 h 784"/>
                  <a:gd name="T50" fmla="*/ 2147483646 w 712"/>
                  <a:gd name="T51" fmla="*/ 2147483646 h 784"/>
                  <a:gd name="T52" fmla="*/ 2147483646 w 712"/>
                  <a:gd name="T53" fmla="*/ 2147483646 h 784"/>
                  <a:gd name="T54" fmla="*/ 2147483646 w 712"/>
                  <a:gd name="T55" fmla="*/ 2147483646 h 784"/>
                  <a:gd name="T56" fmla="*/ 2147483646 w 712"/>
                  <a:gd name="T57" fmla="*/ 2147483646 h 784"/>
                  <a:gd name="T58" fmla="*/ 2147483646 w 712"/>
                  <a:gd name="T59" fmla="*/ 2147483646 h 784"/>
                  <a:gd name="T60" fmla="*/ 2147483646 w 712"/>
                  <a:gd name="T61" fmla="*/ 2147483646 h 784"/>
                  <a:gd name="T62" fmla="*/ 2147483646 w 712"/>
                  <a:gd name="T63" fmla="*/ 2147483646 h 784"/>
                  <a:gd name="T64" fmla="*/ 2147483646 w 712"/>
                  <a:gd name="T65" fmla="*/ 2147483646 h 784"/>
                  <a:gd name="T66" fmla="*/ 2147483646 w 712"/>
                  <a:gd name="T67" fmla="*/ 2147483646 h 784"/>
                  <a:gd name="T68" fmla="*/ 2147483646 w 712"/>
                  <a:gd name="T69" fmla="*/ 2147483646 h 784"/>
                  <a:gd name="T70" fmla="*/ 2147483646 w 712"/>
                  <a:gd name="T71" fmla="*/ 2147483646 h 784"/>
                  <a:gd name="T72" fmla="*/ 2147483646 w 712"/>
                  <a:gd name="T73" fmla="*/ 2147483646 h 784"/>
                  <a:gd name="T74" fmla="*/ 2147483646 w 712"/>
                  <a:gd name="T75" fmla="*/ 2147483646 h 784"/>
                  <a:gd name="T76" fmla="*/ 2147483646 w 712"/>
                  <a:gd name="T77" fmla="*/ 2147483646 h 784"/>
                  <a:gd name="T78" fmla="*/ 2147483646 w 712"/>
                  <a:gd name="T79" fmla="*/ 2147483646 h 784"/>
                  <a:gd name="T80" fmla="*/ 2147483646 w 712"/>
                  <a:gd name="T81" fmla="*/ 2147483646 h 784"/>
                  <a:gd name="T82" fmla="*/ 2147483646 w 712"/>
                  <a:gd name="T83" fmla="*/ 2147483646 h 784"/>
                  <a:gd name="T84" fmla="*/ 2147483646 w 712"/>
                  <a:gd name="T85" fmla="*/ 2147483646 h 784"/>
                  <a:gd name="T86" fmla="*/ 2147483646 w 712"/>
                  <a:gd name="T87" fmla="*/ 2147483646 h 784"/>
                  <a:gd name="T88" fmla="*/ 2147483646 w 712"/>
                  <a:gd name="T89" fmla="*/ 2147483646 h 784"/>
                  <a:gd name="T90" fmla="*/ 0 w 712"/>
                  <a:gd name="T91" fmla="*/ 2147483646 h 784"/>
                  <a:gd name="T92" fmla="*/ 2147483646 w 712"/>
                  <a:gd name="T93" fmla="*/ 2147483646 h 784"/>
                  <a:gd name="T94" fmla="*/ 2147483646 w 712"/>
                  <a:gd name="T95" fmla="*/ 0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2"/>
                  <a:gd name="T145" fmla="*/ 0 h 784"/>
                  <a:gd name="T146" fmla="*/ 712 w 712"/>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2" h="784">
                    <a:moveTo>
                      <a:pt x="72" y="0"/>
                    </a:moveTo>
                    <a:lnTo>
                      <a:pt x="96" y="24"/>
                    </a:lnTo>
                    <a:lnTo>
                      <a:pt x="144" y="8"/>
                    </a:lnTo>
                    <a:lnTo>
                      <a:pt x="184" y="96"/>
                    </a:lnTo>
                    <a:lnTo>
                      <a:pt x="248" y="64"/>
                    </a:lnTo>
                    <a:lnTo>
                      <a:pt x="272" y="72"/>
                    </a:lnTo>
                    <a:lnTo>
                      <a:pt x="368" y="80"/>
                    </a:lnTo>
                    <a:lnTo>
                      <a:pt x="392" y="112"/>
                    </a:lnTo>
                    <a:lnTo>
                      <a:pt x="448" y="96"/>
                    </a:lnTo>
                    <a:lnTo>
                      <a:pt x="440" y="144"/>
                    </a:lnTo>
                    <a:lnTo>
                      <a:pt x="456" y="160"/>
                    </a:lnTo>
                    <a:lnTo>
                      <a:pt x="496" y="112"/>
                    </a:lnTo>
                    <a:lnTo>
                      <a:pt x="544" y="136"/>
                    </a:lnTo>
                    <a:lnTo>
                      <a:pt x="600" y="120"/>
                    </a:lnTo>
                    <a:lnTo>
                      <a:pt x="648" y="96"/>
                    </a:lnTo>
                    <a:lnTo>
                      <a:pt x="648" y="136"/>
                    </a:lnTo>
                    <a:lnTo>
                      <a:pt x="616" y="160"/>
                    </a:lnTo>
                    <a:lnTo>
                      <a:pt x="632" y="208"/>
                    </a:lnTo>
                    <a:lnTo>
                      <a:pt x="712" y="264"/>
                    </a:lnTo>
                    <a:lnTo>
                      <a:pt x="704" y="328"/>
                    </a:lnTo>
                    <a:lnTo>
                      <a:pt x="648" y="344"/>
                    </a:lnTo>
                    <a:lnTo>
                      <a:pt x="640" y="392"/>
                    </a:lnTo>
                    <a:lnTo>
                      <a:pt x="576" y="408"/>
                    </a:lnTo>
                    <a:lnTo>
                      <a:pt x="568" y="456"/>
                    </a:lnTo>
                    <a:lnTo>
                      <a:pt x="520" y="480"/>
                    </a:lnTo>
                    <a:lnTo>
                      <a:pt x="520" y="528"/>
                    </a:lnTo>
                    <a:lnTo>
                      <a:pt x="456" y="552"/>
                    </a:lnTo>
                    <a:lnTo>
                      <a:pt x="448" y="616"/>
                    </a:lnTo>
                    <a:lnTo>
                      <a:pt x="472" y="688"/>
                    </a:lnTo>
                    <a:lnTo>
                      <a:pt x="448" y="784"/>
                    </a:lnTo>
                    <a:lnTo>
                      <a:pt x="432" y="776"/>
                    </a:lnTo>
                    <a:lnTo>
                      <a:pt x="384" y="704"/>
                    </a:lnTo>
                    <a:lnTo>
                      <a:pt x="328" y="656"/>
                    </a:lnTo>
                    <a:lnTo>
                      <a:pt x="304" y="472"/>
                    </a:lnTo>
                    <a:lnTo>
                      <a:pt x="272" y="432"/>
                    </a:lnTo>
                    <a:lnTo>
                      <a:pt x="272" y="384"/>
                    </a:lnTo>
                    <a:lnTo>
                      <a:pt x="200" y="400"/>
                    </a:lnTo>
                    <a:lnTo>
                      <a:pt x="152" y="344"/>
                    </a:lnTo>
                    <a:lnTo>
                      <a:pt x="184" y="336"/>
                    </a:lnTo>
                    <a:lnTo>
                      <a:pt x="184" y="312"/>
                    </a:lnTo>
                    <a:lnTo>
                      <a:pt x="136" y="280"/>
                    </a:lnTo>
                    <a:lnTo>
                      <a:pt x="128" y="208"/>
                    </a:lnTo>
                    <a:lnTo>
                      <a:pt x="56" y="208"/>
                    </a:lnTo>
                    <a:lnTo>
                      <a:pt x="16" y="176"/>
                    </a:lnTo>
                    <a:lnTo>
                      <a:pt x="32" y="128"/>
                    </a:lnTo>
                    <a:lnTo>
                      <a:pt x="0" y="56"/>
                    </a:lnTo>
                    <a:lnTo>
                      <a:pt x="32" y="16"/>
                    </a:lnTo>
                    <a:lnTo>
                      <a:pt x="72" y="0"/>
                    </a:lnTo>
                    <a:close/>
                  </a:path>
                </a:pathLst>
              </a:custGeom>
              <a:solidFill>
                <a:srgbClr val="C6CFEB"/>
              </a:solidFill>
              <a:ln w="9525">
                <a:solidFill>
                  <a:schemeClr val="bg1"/>
                </a:solidFill>
                <a:round/>
                <a:headEnd/>
                <a:tailEnd/>
              </a:ln>
            </p:spPr>
            <p:txBody>
              <a:bodyPr/>
              <a:lstStyle/>
              <a:p>
                <a:endParaRPr lang="en-US" sz="1050"/>
              </a:p>
            </p:txBody>
          </p:sp>
          <p:sp>
            <p:nvSpPr>
              <p:cNvPr id="117" name="Freeform 116"/>
              <p:cNvSpPr>
                <a:spLocks/>
              </p:cNvSpPr>
              <p:nvPr/>
            </p:nvSpPr>
            <p:spPr bwMode="auto">
              <a:xfrm>
                <a:off x="4175093" y="3962369"/>
                <a:ext cx="697699" cy="598580"/>
              </a:xfrm>
              <a:custGeom>
                <a:avLst/>
                <a:gdLst>
                  <a:gd name="T0" fmla="*/ 0 w 592"/>
                  <a:gd name="T1" fmla="*/ 2147483646 h 552"/>
                  <a:gd name="T2" fmla="*/ 2147483646 w 592"/>
                  <a:gd name="T3" fmla="*/ 2147483646 h 552"/>
                  <a:gd name="T4" fmla="*/ 0 w 592"/>
                  <a:gd name="T5" fmla="*/ 2147483646 h 552"/>
                  <a:gd name="T6" fmla="*/ 2147483646 w 592"/>
                  <a:gd name="T7" fmla="*/ 2147483646 h 552"/>
                  <a:gd name="T8" fmla="*/ 2147483646 w 592"/>
                  <a:gd name="T9" fmla="*/ 2147483646 h 552"/>
                  <a:gd name="T10" fmla="*/ 2147483646 w 592"/>
                  <a:gd name="T11" fmla="*/ 2147483646 h 552"/>
                  <a:gd name="T12" fmla="*/ 2147483646 w 592"/>
                  <a:gd name="T13" fmla="*/ 2147483646 h 552"/>
                  <a:gd name="T14" fmla="*/ 2147483646 w 592"/>
                  <a:gd name="T15" fmla="*/ 2147483646 h 552"/>
                  <a:gd name="T16" fmla="*/ 2147483646 w 592"/>
                  <a:gd name="T17" fmla="*/ 2147483646 h 552"/>
                  <a:gd name="T18" fmla="*/ 2147483646 w 592"/>
                  <a:gd name="T19" fmla="*/ 2147483646 h 552"/>
                  <a:gd name="T20" fmla="*/ 2147483646 w 592"/>
                  <a:gd name="T21" fmla="*/ 2147483646 h 552"/>
                  <a:gd name="T22" fmla="*/ 2147483646 w 592"/>
                  <a:gd name="T23" fmla="*/ 2147483646 h 552"/>
                  <a:gd name="T24" fmla="*/ 2147483646 w 592"/>
                  <a:gd name="T25" fmla="*/ 2147483646 h 552"/>
                  <a:gd name="T26" fmla="*/ 2147483646 w 592"/>
                  <a:gd name="T27" fmla="*/ 2147483646 h 552"/>
                  <a:gd name="T28" fmla="*/ 2147483646 w 592"/>
                  <a:gd name="T29" fmla="*/ 0 h 552"/>
                  <a:gd name="T30" fmla="*/ 2147483646 w 592"/>
                  <a:gd name="T31" fmla="*/ 2147483646 h 552"/>
                  <a:gd name="T32" fmla="*/ 2147483646 w 592"/>
                  <a:gd name="T33" fmla="*/ 2147483646 h 552"/>
                  <a:gd name="T34" fmla="*/ 2147483646 w 592"/>
                  <a:gd name="T35" fmla="*/ 2147483646 h 552"/>
                  <a:gd name="T36" fmla="*/ 2147483646 w 592"/>
                  <a:gd name="T37" fmla="*/ 2147483646 h 552"/>
                  <a:gd name="T38" fmla="*/ 2147483646 w 592"/>
                  <a:gd name="T39" fmla="*/ 2147483646 h 552"/>
                  <a:gd name="T40" fmla="*/ 2147483646 w 592"/>
                  <a:gd name="T41" fmla="*/ 2147483646 h 552"/>
                  <a:gd name="T42" fmla="*/ 2147483646 w 592"/>
                  <a:gd name="T43" fmla="*/ 2147483646 h 552"/>
                  <a:gd name="T44" fmla="*/ 2147483646 w 592"/>
                  <a:gd name="T45" fmla="*/ 2147483646 h 552"/>
                  <a:gd name="T46" fmla="*/ 2147483646 w 592"/>
                  <a:gd name="T47" fmla="*/ 2147483646 h 552"/>
                  <a:gd name="T48" fmla="*/ 2147483646 w 592"/>
                  <a:gd name="T49" fmla="*/ 2147483646 h 552"/>
                  <a:gd name="T50" fmla="*/ 2147483646 w 592"/>
                  <a:gd name="T51" fmla="*/ 2147483646 h 552"/>
                  <a:gd name="T52" fmla="*/ 2147483646 w 592"/>
                  <a:gd name="T53" fmla="*/ 2147483646 h 552"/>
                  <a:gd name="T54" fmla="*/ 2147483646 w 592"/>
                  <a:gd name="T55" fmla="*/ 2147483646 h 552"/>
                  <a:gd name="T56" fmla="*/ 2147483646 w 592"/>
                  <a:gd name="T57" fmla="*/ 2147483646 h 552"/>
                  <a:gd name="T58" fmla="*/ 2147483646 w 592"/>
                  <a:gd name="T59" fmla="*/ 2147483646 h 552"/>
                  <a:gd name="T60" fmla="*/ 2147483646 w 592"/>
                  <a:gd name="T61" fmla="*/ 2147483646 h 552"/>
                  <a:gd name="T62" fmla="*/ 0 w 592"/>
                  <a:gd name="T63" fmla="*/ 2147483646 h 5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2"/>
                  <a:gd name="T97" fmla="*/ 0 h 552"/>
                  <a:gd name="T98" fmla="*/ 592 w 592"/>
                  <a:gd name="T99" fmla="*/ 552 h 5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2" h="552">
                    <a:moveTo>
                      <a:pt x="0" y="552"/>
                    </a:moveTo>
                    <a:lnTo>
                      <a:pt x="24" y="456"/>
                    </a:lnTo>
                    <a:lnTo>
                      <a:pt x="0" y="384"/>
                    </a:lnTo>
                    <a:lnTo>
                      <a:pt x="8" y="320"/>
                    </a:lnTo>
                    <a:lnTo>
                      <a:pt x="72" y="296"/>
                    </a:lnTo>
                    <a:lnTo>
                      <a:pt x="72" y="248"/>
                    </a:lnTo>
                    <a:lnTo>
                      <a:pt x="120" y="224"/>
                    </a:lnTo>
                    <a:lnTo>
                      <a:pt x="128" y="176"/>
                    </a:lnTo>
                    <a:lnTo>
                      <a:pt x="192" y="160"/>
                    </a:lnTo>
                    <a:lnTo>
                      <a:pt x="200" y="112"/>
                    </a:lnTo>
                    <a:lnTo>
                      <a:pt x="256" y="96"/>
                    </a:lnTo>
                    <a:lnTo>
                      <a:pt x="264" y="32"/>
                    </a:lnTo>
                    <a:lnTo>
                      <a:pt x="320" y="24"/>
                    </a:lnTo>
                    <a:lnTo>
                      <a:pt x="384" y="32"/>
                    </a:lnTo>
                    <a:lnTo>
                      <a:pt x="464" y="0"/>
                    </a:lnTo>
                    <a:lnTo>
                      <a:pt x="472" y="56"/>
                    </a:lnTo>
                    <a:lnTo>
                      <a:pt x="456" y="112"/>
                    </a:lnTo>
                    <a:lnTo>
                      <a:pt x="488" y="136"/>
                    </a:lnTo>
                    <a:lnTo>
                      <a:pt x="536" y="120"/>
                    </a:lnTo>
                    <a:lnTo>
                      <a:pt x="592" y="136"/>
                    </a:lnTo>
                    <a:lnTo>
                      <a:pt x="592" y="176"/>
                    </a:lnTo>
                    <a:lnTo>
                      <a:pt x="544" y="216"/>
                    </a:lnTo>
                    <a:lnTo>
                      <a:pt x="504" y="208"/>
                    </a:lnTo>
                    <a:lnTo>
                      <a:pt x="520" y="240"/>
                    </a:lnTo>
                    <a:lnTo>
                      <a:pt x="472" y="256"/>
                    </a:lnTo>
                    <a:lnTo>
                      <a:pt x="536" y="312"/>
                    </a:lnTo>
                    <a:lnTo>
                      <a:pt x="464" y="328"/>
                    </a:lnTo>
                    <a:lnTo>
                      <a:pt x="480" y="464"/>
                    </a:lnTo>
                    <a:lnTo>
                      <a:pt x="400" y="488"/>
                    </a:lnTo>
                    <a:lnTo>
                      <a:pt x="264" y="480"/>
                    </a:lnTo>
                    <a:lnTo>
                      <a:pt x="136" y="504"/>
                    </a:lnTo>
                    <a:lnTo>
                      <a:pt x="0" y="552"/>
                    </a:lnTo>
                    <a:close/>
                  </a:path>
                </a:pathLst>
              </a:custGeom>
              <a:solidFill>
                <a:srgbClr val="4670F8"/>
              </a:solidFill>
              <a:ln w="9525">
                <a:solidFill>
                  <a:schemeClr val="bg1"/>
                </a:solidFill>
                <a:round/>
                <a:headEnd/>
                <a:tailEnd/>
              </a:ln>
            </p:spPr>
            <p:txBody>
              <a:bodyPr/>
              <a:lstStyle/>
              <a:p>
                <a:endParaRPr lang="en-US" sz="1050"/>
              </a:p>
            </p:txBody>
          </p:sp>
          <p:sp>
            <p:nvSpPr>
              <p:cNvPr id="118" name="Freeform 117"/>
              <p:cNvSpPr>
                <a:spLocks/>
              </p:cNvSpPr>
              <p:nvPr/>
            </p:nvSpPr>
            <p:spPr bwMode="auto">
              <a:xfrm>
                <a:off x="4721938" y="4049120"/>
                <a:ext cx="791982" cy="572555"/>
              </a:xfrm>
              <a:custGeom>
                <a:avLst/>
                <a:gdLst>
                  <a:gd name="T0" fmla="*/ 2147483646 w 672"/>
                  <a:gd name="T1" fmla="*/ 2147483646 h 528"/>
                  <a:gd name="T2" fmla="*/ 0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0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2147483646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72"/>
                  <a:gd name="T118" fmla="*/ 0 h 528"/>
                  <a:gd name="T119" fmla="*/ 672 w 672"/>
                  <a:gd name="T120" fmla="*/ 528 h 5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72" h="528">
                    <a:moveTo>
                      <a:pt x="16" y="384"/>
                    </a:moveTo>
                    <a:lnTo>
                      <a:pt x="0" y="248"/>
                    </a:lnTo>
                    <a:lnTo>
                      <a:pt x="72" y="232"/>
                    </a:lnTo>
                    <a:lnTo>
                      <a:pt x="8" y="176"/>
                    </a:lnTo>
                    <a:lnTo>
                      <a:pt x="56" y="160"/>
                    </a:lnTo>
                    <a:lnTo>
                      <a:pt x="40" y="128"/>
                    </a:lnTo>
                    <a:lnTo>
                      <a:pt x="80" y="136"/>
                    </a:lnTo>
                    <a:lnTo>
                      <a:pt x="128" y="96"/>
                    </a:lnTo>
                    <a:lnTo>
                      <a:pt x="128" y="56"/>
                    </a:lnTo>
                    <a:lnTo>
                      <a:pt x="208" y="24"/>
                    </a:lnTo>
                    <a:lnTo>
                      <a:pt x="216" y="0"/>
                    </a:lnTo>
                    <a:lnTo>
                      <a:pt x="264" y="32"/>
                    </a:lnTo>
                    <a:lnTo>
                      <a:pt x="288" y="16"/>
                    </a:lnTo>
                    <a:lnTo>
                      <a:pt x="336" y="56"/>
                    </a:lnTo>
                    <a:lnTo>
                      <a:pt x="336" y="88"/>
                    </a:lnTo>
                    <a:lnTo>
                      <a:pt x="432" y="112"/>
                    </a:lnTo>
                    <a:lnTo>
                      <a:pt x="416" y="176"/>
                    </a:lnTo>
                    <a:lnTo>
                      <a:pt x="456" y="224"/>
                    </a:lnTo>
                    <a:lnTo>
                      <a:pt x="424" y="240"/>
                    </a:lnTo>
                    <a:lnTo>
                      <a:pt x="440" y="288"/>
                    </a:lnTo>
                    <a:lnTo>
                      <a:pt x="488" y="312"/>
                    </a:lnTo>
                    <a:lnTo>
                      <a:pt x="536" y="304"/>
                    </a:lnTo>
                    <a:lnTo>
                      <a:pt x="608" y="336"/>
                    </a:lnTo>
                    <a:lnTo>
                      <a:pt x="672" y="408"/>
                    </a:lnTo>
                    <a:lnTo>
                      <a:pt x="656" y="480"/>
                    </a:lnTo>
                    <a:lnTo>
                      <a:pt x="592" y="440"/>
                    </a:lnTo>
                    <a:lnTo>
                      <a:pt x="552" y="512"/>
                    </a:lnTo>
                    <a:lnTo>
                      <a:pt x="472" y="472"/>
                    </a:lnTo>
                    <a:lnTo>
                      <a:pt x="432" y="472"/>
                    </a:lnTo>
                    <a:lnTo>
                      <a:pt x="416" y="488"/>
                    </a:lnTo>
                    <a:lnTo>
                      <a:pt x="384" y="472"/>
                    </a:lnTo>
                    <a:lnTo>
                      <a:pt x="376" y="504"/>
                    </a:lnTo>
                    <a:lnTo>
                      <a:pt x="336" y="480"/>
                    </a:lnTo>
                    <a:lnTo>
                      <a:pt x="296" y="528"/>
                    </a:lnTo>
                    <a:lnTo>
                      <a:pt x="248" y="488"/>
                    </a:lnTo>
                    <a:lnTo>
                      <a:pt x="256" y="448"/>
                    </a:lnTo>
                    <a:lnTo>
                      <a:pt x="160" y="392"/>
                    </a:lnTo>
                    <a:lnTo>
                      <a:pt x="64" y="376"/>
                    </a:lnTo>
                    <a:lnTo>
                      <a:pt x="16" y="384"/>
                    </a:lnTo>
                    <a:close/>
                  </a:path>
                </a:pathLst>
              </a:custGeom>
              <a:solidFill>
                <a:srgbClr val="4670F8"/>
              </a:solidFill>
              <a:ln w="9525">
                <a:solidFill>
                  <a:schemeClr val="bg1"/>
                </a:solidFill>
                <a:round/>
                <a:headEnd/>
                <a:tailEnd/>
              </a:ln>
            </p:spPr>
            <p:txBody>
              <a:bodyPr/>
              <a:lstStyle/>
              <a:p>
                <a:endParaRPr lang="en-US" sz="1050"/>
              </a:p>
            </p:txBody>
          </p:sp>
          <p:sp>
            <p:nvSpPr>
              <p:cNvPr id="119" name="Freeform 118"/>
              <p:cNvSpPr>
                <a:spLocks/>
              </p:cNvSpPr>
              <p:nvPr/>
            </p:nvSpPr>
            <p:spPr bwMode="auto">
              <a:xfrm>
                <a:off x="5117929" y="3979720"/>
                <a:ext cx="546845" cy="511830"/>
              </a:xfrm>
              <a:custGeom>
                <a:avLst/>
                <a:gdLst>
                  <a:gd name="T0" fmla="*/ 2147483646 w 464"/>
                  <a:gd name="T1" fmla="*/ 2147483646 h 472"/>
                  <a:gd name="T2" fmla="*/ 2147483646 w 464"/>
                  <a:gd name="T3" fmla="*/ 2147483646 h 472"/>
                  <a:gd name="T4" fmla="*/ 2147483646 w 464"/>
                  <a:gd name="T5" fmla="*/ 2147483646 h 472"/>
                  <a:gd name="T6" fmla="*/ 2147483646 w 464"/>
                  <a:gd name="T7" fmla="*/ 2147483646 h 472"/>
                  <a:gd name="T8" fmla="*/ 2147483646 w 464"/>
                  <a:gd name="T9" fmla="*/ 2147483646 h 472"/>
                  <a:gd name="T10" fmla="*/ 2147483646 w 464"/>
                  <a:gd name="T11" fmla="*/ 2147483646 h 472"/>
                  <a:gd name="T12" fmla="*/ 2147483646 w 464"/>
                  <a:gd name="T13" fmla="*/ 2147483646 h 472"/>
                  <a:gd name="T14" fmla="*/ 2147483646 w 464"/>
                  <a:gd name="T15" fmla="*/ 2147483646 h 472"/>
                  <a:gd name="T16" fmla="*/ 2147483646 w 464"/>
                  <a:gd name="T17" fmla="*/ 2147483646 h 472"/>
                  <a:gd name="T18" fmla="*/ 0 w 464"/>
                  <a:gd name="T19" fmla="*/ 2147483646 h 472"/>
                  <a:gd name="T20" fmla="*/ 0 w 464"/>
                  <a:gd name="T21" fmla="*/ 2147483646 h 472"/>
                  <a:gd name="T22" fmla="*/ 2147483646 w 464"/>
                  <a:gd name="T23" fmla="*/ 2147483646 h 472"/>
                  <a:gd name="T24" fmla="*/ 2147483646 w 464"/>
                  <a:gd name="T25" fmla="*/ 0 h 472"/>
                  <a:gd name="T26" fmla="*/ 2147483646 w 464"/>
                  <a:gd name="T27" fmla="*/ 2147483646 h 472"/>
                  <a:gd name="T28" fmla="*/ 2147483646 w 464"/>
                  <a:gd name="T29" fmla="*/ 2147483646 h 472"/>
                  <a:gd name="T30" fmla="*/ 2147483646 w 464"/>
                  <a:gd name="T31" fmla="*/ 2147483646 h 472"/>
                  <a:gd name="T32" fmla="*/ 2147483646 w 464"/>
                  <a:gd name="T33" fmla="*/ 2147483646 h 472"/>
                  <a:gd name="T34" fmla="*/ 2147483646 w 464"/>
                  <a:gd name="T35" fmla="*/ 2147483646 h 472"/>
                  <a:gd name="T36" fmla="*/ 2147483646 w 464"/>
                  <a:gd name="T37" fmla="*/ 2147483646 h 472"/>
                  <a:gd name="T38" fmla="*/ 2147483646 w 464"/>
                  <a:gd name="T39" fmla="*/ 2147483646 h 472"/>
                  <a:gd name="T40" fmla="*/ 2147483646 w 464"/>
                  <a:gd name="T41" fmla="*/ 2147483646 h 472"/>
                  <a:gd name="T42" fmla="*/ 2147483646 w 464"/>
                  <a:gd name="T43" fmla="*/ 2147483646 h 472"/>
                  <a:gd name="T44" fmla="*/ 2147483646 w 464"/>
                  <a:gd name="T45" fmla="*/ 2147483646 h 472"/>
                  <a:gd name="T46" fmla="*/ 2147483646 w 464"/>
                  <a:gd name="T47" fmla="*/ 2147483646 h 472"/>
                  <a:gd name="T48" fmla="*/ 2147483646 w 464"/>
                  <a:gd name="T49" fmla="*/ 2147483646 h 472"/>
                  <a:gd name="T50" fmla="*/ 2147483646 w 464"/>
                  <a:gd name="T51" fmla="*/ 2147483646 h 472"/>
                  <a:gd name="T52" fmla="*/ 2147483646 w 464"/>
                  <a:gd name="T53" fmla="*/ 2147483646 h 472"/>
                  <a:gd name="T54" fmla="*/ 2147483646 w 464"/>
                  <a:gd name="T55" fmla="*/ 2147483646 h 472"/>
                  <a:gd name="T56" fmla="*/ 2147483646 w 464"/>
                  <a:gd name="T57" fmla="*/ 2147483646 h 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4"/>
                  <a:gd name="T88" fmla="*/ 0 h 472"/>
                  <a:gd name="T89" fmla="*/ 464 w 464"/>
                  <a:gd name="T90" fmla="*/ 472 h 4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4" h="472">
                    <a:moveTo>
                      <a:pt x="336" y="472"/>
                    </a:moveTo>
                    <a:lnTo>
                      <a:pt x="272" y="400"/>
                    </a:lnTo>
                    <a:lnTo>
                      <a:pt x="200" y="368"/>
                    </a:lnTo>
                    <a:lnTo>
                      <a:pt x="152" y="376"/>
                    </a:lnTo>
                    <a:lnTo>
                      <a:pt x="104" y="352"/>
                    </a:lnTo>
                    <a:lnTo>
                      <a:pt x="88" y="304"/>
                    </a:lnTo>
                    <a:lnTo>
                      <a:pt x="120" y="288"/>
                    </a:lnTo>
                    <a:lnTo>
                      <a:pt x="80" y="240"/>
                    </a:lnTo>
                    <a:lnTo>
                      <a:pt x="96" y="176"/>
                    </a:lnTo>
                    <a:lnTo>
                      <a:pt x="0" y="152"/>
                    </a:lnTo>
                    <a:lnTo>
                      <a:pt x="0" y="120"/>
                    </a:lnTo>
                    <a:lnTo>
                      <a:pt x="56" y="32"/>
                    </a:lnTo>
                    <a:lnTo>
                      <a:pt x="112" y="0"/>
                    </a:lnTo>
                    <a:lnTo>
                      <a:pt x="136" y="80"/>
                    </a:lnTo>
                    <a:lnTo>
                      <a:pt x="184" y="128"/>
                    </a:lnTo>
                    <a:lnTo>
                      <a:pt x="360" y="112"/>
                    </a:lnTo>
                    <a:lnTo>
                      <a:pt x="392" y="48"/>
                    </a:lnTo>
                    <a:lnTo>
                      <a:pt x="424" y="48"/>
                    </a:lnTo>
                    <a:lnTo>
                      <a:pt x="432" y="112"/>
                    </a:lnTo>
                    <a:lnTo>
                      <a:pt x="464" y="152"/>
                    </a:lnTo>
                    <a:lnTo>
                      <a:pt x="456" y="216"/>
                    </a:lnTo>
                    <a:lnTo>
                      <a:pt x="464" y="320"/>
                    </a:lnTo>
                    <a:lnTo>
                      <a:pt x="464" y="384"/>
                    </a:lnTo>
                    <a:lnTo>
                      <a:pt x="432" y="400"/>
                    </a:lnTo>
                    <a:lnTo>
                      <a:pt x="440" y="456"/>
                    </a:lnTo>
                    <a:lnTo>
                      <a:pt x="408" y="472"/>
                    </a:lnTo>
                    <a:lnTo>
                      <a:pt x="400" y="416"/>
                    </a:lnTo>
                    <a:lnTo>
                      <a:pt x="376" y="464"/>
                    </a:lnTo>
                    <a:lnTo>
                      <a:pt x="336" y="472"/>
                    </a:lnTo>
                    <a:close/>
                  </a:path>
                </a:pathLst>
              </a:custGeom>
              <a:solidFill>
                <a:srgbClr val="4670F8"/>
              </a:solidFill>
              <a:ln w="9525">
                <a:solidFill>
                  <a:schemeClr val="bg1"/>
                </a:solidFill>
                <a:round/>
                <a:headEnd/>
                <a:tailEnd/>
              </a:ln>
            </p:spPr>
            <p:txBody>
              <a:bodyPr/>
              <a:lstStyle/>
              <a:p>
                <a:endParaRPr lang="en-US" sz="1050"/>
              </a:p>
            </p:txBody>
          </p:sp>
          <p:sp>
            <p:nvSpPr>
              <p:cNvPr id="120" name="Freeform 119"/>
              <p:cNvSpPr>
                <a:spLocks/>
              </p:cNvSpPr>
              <p:nvPr/>
            </p:nvSpPr>
            <p:spPr bwMode="auto">
              <a:xfrm>
                <a:off x="5655345" y="4049120"/>
                <a:ext cx="641128" cy="581230"/>
              </a:xfrm>
              <a:custGeom>
                <a:avLst/>
                <a:gdLst>
                  <a:gd name="T0" fmla="*/ 2147483646 w 544"/>
                  <a:gd name="T1" fmla="*/ 2147483646 h 536"/>
                  <a:gd name="T2" fmla="*/ 0 w 544"/>
                  <a:gd name="T3" fmla="*/ 2147483646 h 536"/>
                  <a:gd name="T4" fmla="*/ 2147483646 w 544"/>
                  <a:gd name="T5" fmla="*/ 2147483646 h 536"/>
                  <a:gd name="T6" fmla="*/ 2147483646 w 544"/>
                  <a:gd name="T7" fmla="*/ 2147483646 h 536"/>
                  <a:gd name="T8" fmla="*/ 2147483646 w 544"/>
                  <a:gd name="T9" fmla="*/ 2147483646 h 536"/>
                  <a:gd name="T10" fmla="*/ 2147483646 w 544"/>
                  <a:gd name="T11" fmla="*/ 2147483646 h 536"/>
                  <a:gd name="T12" fmla="*/ 2147483646 w 544"/>
                  <a:gd name="T13" fmla="*/ 2147483646 h 536"/>
                  <a:gd name="T14" fmla="*/ 2147483646 w 544"/>
                  <a:gd name="T15" fmla="*/ 2147483646 h 536"/>
                  <a:gd name="T16" fmla="*/ 2147483646 w 544"/>
                  <a:gd name="T17" fmla="*/ 2147483646 h 536"/>
                  <a:gd name="T18" fmla="*/ 2147483646 w 544"/>
                  <a:gd name="T19" fmla="*/ 0 h 536"/>
                  <a:gd name="T20" fmla="*/ 2147483646 w 544"/>
                  <a:gd name="T21" fmla="*/ 2147483646 h 536"/>
                  <a:gd name="T22" fmla="*/ 2147483646 w 544"/>
                  <a:gd name="T23" fmla="*/ 2147483646 h 536"/>
                  <a:gd name="T24" fmla="*/ 2147483646 w 544"/>
                  <a:gd name="T25" fmla="*/ 2147483646 h 536"/>
                  <a:gd name="T26" fmla="*/ 2147483646 w 544"/>
                  <a:gd name="T27" fmla="*/ 2147483646 h 536"/>
                  <a:gd name="T28" fmla="*/ 2147483646 w 544"/>
                  <a:gd name="T29" fmla="*/ 2147483646 h 536"/>
                  <a:gd name="T30" fmla="*/ 2147483646 w 544"/>
                  <a:gd name="T31" fmla="*/ 2147483646 h 536"/>
                  <a:gd name="T32" fmla="*/ 2147483646 w 544"/>
                  <a:gd name="T33" fmla="*/ 2147483646 h 536"/>
                  <a:gd name="T34" fmla="*/ 2147483646 w 544"/>
                  <a:gd name="T35" fmla="*/ 2147483646 h 536"/>
                  <a:gd name="T36" fmla="*/ 2147483646 w 544"/>
                  <a:gd name="T37" fmla="*/ 2147483646 h 536"/>
                  <a:gd name="T38" fmla="*/ 2147483646 w 544"/>
                  <a:gd name="T39" fmla="*/ 2147483646 h 536"/>
                  <a:gd name="T40" fmla="*/ 2147483646 w 544"/>
                  <a:gd name="T41" fmla="*/ 2147483646 h 536"/>
                  <a:gd name="T42" fmla="*/ 2147483646 w 544"/>
                  <a:gd name="T43" fmla="*/ 2147483646 h 536"/>
                  <a:gd name="T44" fmla="*/ 2147483646 w 544"/>
                  <a:gd name="T45" fmla="*/ 2147483646 h 536"/>
                  <a:gd name="T46" fmla="*/ 2147483646 w 544"/>
                  <a:gd name="T47" fmla="*/ 2147483646 h 536"/>
                  <a:gd name="T48" fmla="*/ 2147483646 w 544"/>
                  <a:gd name="T49" fmla="*/ 2147483646 h 536"/>
                  <a:gd name="T50" fmla="*/ 2147483646 w 544"/>
                  <a:gd name="T51" fmla="*/ 2147483646 h 536"/>
                  <a:gd name="T52" fmla="*/ 2147483646 w 544"/>
                  <a:gd name="T53" fmla="*/ 2147483646 h 536"/>
                  <a:gd name="T54" fmla="*/ 2147483646 w 544"/>
                  <a:gd name="T55" fmla="*/ 2147483646 h 536"/>
                  <a:gd name="T56" fmla="*/ 2147483646 w 544"/>
                  <a:gd name="T57" fmla="*/ 2147483646 h 536"/>
                  <a:gd name="T58" fmla="*/ 2147483646 w 544"/>
                  <a:gd name="T59" fmla="*/ 2147483646 h 536"/>
                  <a:gd name="T60" fmla="*/ 2147483646 w 544"/>
                  <a:gd name="T61" fmla="*/ 2147483646 h 536"/>
                  <a:gd name="T62" fmla="*/ 2147483646 w 544"/>
                  <a:gd name="T63" fmla="*/ 2147483646 h 536"/>
                  <a:gd name="T64" fmla="*/ 2147483646 w 544"/>
                  <a:gd name="T65" fmla="*/ 2147483646 h 536"/>
                  <a:gd name="T66" fmla="*/ 2147483646 w 544"/>
                  <a:gd name="T67" fmla="*/ 2147483646 h 536"/>
                  <a:gd name="T68" fmla="*/ 2147483646 w 544"/>
                  <a:gd name="T69" fmla="*/ 2147483646 h 536"/>
                  <a:gd name="T70" fmla="*/ 2147483646 w 544"/>
                  <a:gd name="T71" fmla="*/ 2147483646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8" y="256"/>
                    </a:moveTo>
                    <a:lnTo>
                      <a:pt x="0" y="152"/>
                    </a:lnTo>
                    <a:lnTo>
                      <a:pt x="8" y="88"/>
                    </a:lnTo>
                    <a:lnTo>
                      <a:pt x="88" y="104"/>
                    </a:lnTo>
                    <a:lnTo>
                      <a:pt x="152" y="64"/>
                    </a:lnTo>
                    <a:lnTo>
                      <a:pt x="256" y="80"/>
                    </a:lnTo>
                    <a:lnTo>
                      <a:pt x="328" y="32"/>
                    </a:lnTo>
                    <a:lnTo>
                      <a:pt x="392" y="8"/>
                    </a:lnTo>
                    <a:lnTo>
                      <a:pt x="440" y="24"/>
                    </a:lnTo>
                    <a:lnTo>
                      <a:pt x="464" y="0"/>
                    </a:lnTo>
                    <a:lnTo>
                      <a:pt x="512" y="8"/>
                    </a:lnTo>
                    <a:lnTo>
                      <a:pt x="512" y="48"/>
                    </a:lnTo>
                    <a:lnTo>
                      <a:pt x="464" y="48"/>
                    </a:lnTo>
                    <a:lnTo>
                      <a:pt x="456" y="72"/>
                    </a:lnTo>
                    <a:lnTo>
                      <a:pt x="384" y="104"/>
                    </a:lnTo>
                    <a:lnTo>
                      <a:pt x="408" y="224"/>
                    </a:lnTo>
                    <a:lnTo>
                      <a:pt x="456" y="288"/>
                    </a:lnTo>
                    <a:lnTo>
                      <a:pt x="456" y="336"/>
                    </a:lnTo>
                    <a:lnTo>
                      <a:pt x="528" y="384"/>
                    </a:lnTo>
                    <a:lnTo>
                      <a:pt x="544" y="456"/>
                    </a:lnTo>
                    <a:lnTo>
                      <a:pt x="480" y="488"/>
                    </a:lnTo>
                    <a:lnTo>
                      <a:pt x="472" y="536"/>
                    </a:lnTo>
                    <a:lnTo>
                      <a:pt x="448" y="520"/>
                    </a:lnTo>
                    <a:lnTo>
                      <a:pt x="424" y="536"/>
                    </a:lnTo>
                    <a:lnTo>
                      <a:pt x="424" y="496"/>
                    </a:lnTo>
                    <a:lnTo>
                      <a:pt x="360" y="520"/>
                    </a:lnTo>
                    <a:lnTo>
                      <a:pt x="352" y="480"/>
                    </a:lnTo>
                    <a:lnTo>
                      <a:pt x="312" y="488"/>
                    </a:lnTo>
                    <a:lnTo>
                      <a:pt x="288" y="464"/>
                    </a:lnTo>
                    <a:lnTo>
                      <a:pt x="248" y="440"/>
                    </a:lnTo>
                    <a:lnTo>
                      <a:pt x="216" y="464"/>
                    </a:lnTo>
                    <a:lnTo>
                      <a:pt x="168" y="392"/>
                    </a:lnTo>
                    <a:lnTo>
                      <a:pt x="96" y="416"/>
                    </a:lnTo>
                    <a:lnTo>
                      <a:pt x="48" y="328"/>
                    </a:lnTo>
                    <a:lnTo>
                      <a:pt x="48" y="272"/>
                    </a:lnTo>
                    <a:lnTo>
                      <a:pt x="8" y="256"/>
                    </a:lnTo>
                    <a:close/>
                  </a:path>
                </a:pathLst>
              </a:custGeom>
              <a:solidFill>
                <a:srgbClr val="9950A8"/>
              </a:solidFill>
              <a:ln w="9525">
                <a:solidFill>
                  <a:schemeClr val="bg1"/>
                </a:solidFill>
                <a:round/>
                <a:headEnd/>
                <a:tailEnd/>
              </a:ln>
            </p:spPr>
            <p:txBody>
              <a:bodyPr/>
              <a:lstStyle/>
              <a:p>
                <a:endParaRPr lang="en-US" sz="1050"/>
              </a:p>
            </p:txBody>
          </p:sp>
          <p:sp>
            <p:nvSpPr>
              <p:cNvPr id="121" name="Freeform 120"/>
              <p:cNvSpPr>
                <a:spLocks/>
              </p:cNvSpPr>
              <p:nvPr/>
            </p:nvSpPr>
            <p:spPr bwMode="auto">
              <a:xfrm>
                <a:off x="6107906" y="4049120"/>
                <a:ext cx="546845" cy="581230"/>
              </a:xfrm>
              <a:custGeom>
                <a:avLst/>
                <a:gdLst>
                  <a:gd name="T0" fmla="*/ 2147483646 w 464"/>
                  <a:gd name="T1" fmla="*/ 2147483646 h 536"/>
                  <a:gd name="T2" fmla="*/ 2147483646 w 464"/>
                  <a:gd name="T3" fmla="*/ 2147483646 h 536"/>
                  <a:gd name="T4" fmla="*/ 2147483646 w 464"/>
                  <a:gd name="T5" fmla="*/ 2147483646 h 536"/>
                  <a:gd name="T6" fmla="*/ 2147483646 w 464"/>
                  <a:gd name="T7" fmla="*/ 2147483646 h 536"/>
                  <a:gd name="T8" fmla="*/ 2147483646 w 464"/>
                  <a:gd name="T9" fmla="*/ 2147483646 h 536"/>
                  <a:gd name="T10" fmla="*/ 0 w 464"/>
                  <a:gd name="T11" fmla="*/ 2147483646 h 536"/>
                  <a:gd name="T12" fmla="*/ 2147483646 w 464"/>
                  <a:gd name="T13" fmla="*/ 2147483646 h 536"/>
                  <a:gd name="T14" fmla="*/ 2147483646 w 464"/>
                  <a:gd name="T15" fmla="*/ 2147483646 h 536"/>
                  <a:gd name="T16" fmla="*/ 2147483646 w 464"/>
                  <a:gd name="T17" fmla="*/ 2147483646 h 536"/>
                  <a:gd name="T18" fmla="*/ 2147483646 w 464"/>
                  <a:gd name="T19" fmla="*/ 2147483646 h 536"/>
                  <a:gd name="T20" fmla="*/ 2147483646 w 464"/>
                  <a:gd name="T21" fmla="*/ 2147483646 h 536"/>
                  <a:gd name="T22" fmla="*/ 2147483646 w 464"/>
                  <a:gd name="T23" fmla="*/ 2147483646 h 536"/>
                  <a:gd name="T24" fmla="*/ 2147483646 w 464"/>
                  <a:gd name="T25" fmla="*/ 2147483646 h 536"/>
                  <a:gd name="T26" fmla="*/ 2147483646 w 464"/>
                  <a:gd name="T27" fmla="*/ 2147483646 h 536"/>
                  <a:gd name="T28" fmla="*/ 2147483646 w 464"/>
                  <a:gd name="T29" fmla="*/ 2147483646 h 536"/>
                  <a:gd name="T30" fmla="*/ 2147483646 w 464"/>
                  <a:gd name="T31" fmla="*/ 0 h 536"/>
                  <a:gd name="T32" fmla="*/ 2147483646 w 464"/>
                  <a:gd name="T33" fmla="*/ 2147483646 h 536"/>
                  <a:gd name="T34" fmla="*/ 2147483646 w 464"/>
                  <a:gd name="T35" fmla="*/ 2147483646 h 536"/>
                  <a:gd name="T36" fmla="*/ 2147483646 w 464"/>
                  <a:gd name="T37" fmla="*/ 2147483646 h 536"/>
                  <a:gd name="T38" fmla="*/ 2147483646 w 464"/>
                  <a:gd name="T39" fmla="*/ 2147483646 h 536"/>
                  <a:gd name="T40" fmla="*/ 2147483646 w 464"/>
                  <a:gd name="T41" fmla="*/ 2147483646 h 536"/>
                  <a:gd name="T42" fmla="*/ 2147483646 w 464"/>
                  <a:gd name="T43" fmla="*/ 2147483646 h 536"/>
                  <a:gd name="T44" fmla="*/ 2147483646 w 464"/>
                  <a:gd name="T45" fmla="*/ 2147483646 h 536"/>
                  <a:gd name="T46" fmla="*/ 2147483646 w 464"/>
                  <a:gd name="T47" fmla="*/ 2147483646 h 536"/>
                  <a:gd name="T48" fmla="*/ 2147483646 w 464"/>
                  <a:gd name="T49" fmla="*/ 2147483646 h 536"/>
                  <a:gd name="T50" fmla="*/ 2147483646 w 464"/>
                  <a:gd name="T51" fmla="*/ 2147483646 h 536"/>
                  <a:gd name="T52" fmla="*/ 2147483646 w 464"/>
                  <a:gd name="T53" fmla="*/ 2147483646 h 536"/>
                  <a:gd name="T54" fmla="*/ 2147483646 w 464"/>
                  <a:gd name="T55" fmla="*/ 2147483646 h 536"/>
                  <a:gd name="T56" fmla="*/ 2147483646 w 464"/>
                  <a:gd name="T57" fmla="*/ 2147483646 h 536"/>
                  <a:gd name="T58" fmla="*/ 2147483646 w 464"/>
                  <a:gd name="T59" fmla="*/ 2147483646 h 536"/>
                  <a:gd name="T60" fmla="*/ 2147483646 w 464"/>
                  <a:gd name="T61" fmla="*/ 2147483646 h 536"/>
                  <a:gd name="T62" fmla="*/ 2147483646 w 464"/>
                  <a:gd name="T63" fmla="*/ 2147483646 h 536"/>
                  <a:gd name="T64" fmla="*/ 2147483646 w 464"/>
                  <a:gd name="T65" fmla="*/ 2147483646 h 536"/>
                  <a:gd name="T66" fmla="*/ 2147483646 w 464"/>
                  <a:gd name="T67" fmla="*/ 2147483646 h 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536"/>
                  <a:gd name="T104" fmla="*/ 464 w 464"/>
                  <a:gd name="T105" fmla="*/ 536 h 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536">
                    <a:moveTo>
                      <a:pt x="160" y="456"/>
                    </a:moveTo>
                    <a:lnTo>
                      <a:pt x="144" y="384"/>
                    </a:lnTo>
                    <a:lnTo>
                      <a:pt x="72" y="336"/>
                    </a:lnTo>
                    <a:lnTo>
                      <a:pt x="72" y="288"/>
                    </a:lnTo>
                    <a:lnTo>
                      <a:pt x="24" y="224"/>
                    </a:lnTo>
                    <a:lnTo>
                      <a:pt x="0" y="104"/>
                    </a:lnTo>
                    <a:lnTo>
                      <a:pt x="72" y="72"/>
                    </a:lnTo>
                    <a:lnTo>
                      <a:pt x="80" y="48"/>
                    </a:lnTo>
                    <a:lnTo>
                      <a:pt x="128" y="48"/>
                    </a:lnTo>
                    <a:lnTo>
                      <a:pt x="152" y="56"/>
                    </a:lnTo>
                    <a:lnTo>
                      <a:pt x="152" y="88"/>
                    </a:lnTo>
                    <a:lnTo>
                      <a:pt x="152" y="120"/>
                    </a:lnTo>
                    <a:lnTo>
                      <a:pt x="200" y="88"/>
                    </a:lnTo>
                    <a:lnTo>
                      <a:pt x="208" y="40"/>
                    </a:lnTo>
                    <a:lnTo>
                      <a:pt x="280" y="32"/>
                    </a:lnTo>
                    <a:lnTo>
                      <a:pt x="312" y="0"/>
                    </a:lnTo>
                    <a:lnTo>
                      <a:pt x="344" y="32"/>
                    </a:lnTo>
                    <a:lnTo>
                      <a:pt x="424" y="40"/>
                    </a:lnTo>
                    <a:lnTo>
                      <a:pt x="400" y="96"/>
                    </a:lnTo>
                    <a:lnTo>
                      <a:pt x="432" y="200"/>
                    </a:lnTo>
                    <a:lnTo>
                      <a:pt x="408" y="232"/>
                    </a:lnTo>
                    <a:lnTo>
                      <a:pt x="440" y="280"/>
                    </a:lnTo>
                    <a:lnTo>
                      <a:pt x="440" y="360"/>
                    </a:lnTo>
                    <a:lnTo>
                      <a:pt x="392" y="400"/>
                    </a:lnTo>
                    <a:lnTo>
                      <a:pt x="448" y="424"/>
                    </a:lnTo>
                    <a:lnTo>
                      <a:pt x="464" y="480"/>
                    </a:lnTo>
                    <a:lnTo>
                      <a:pt x="464" y="512"/>
                    </a:lnTo>
                    <a:lnTo>
                      <a:pt x="432" y="504"/>
                    </a:lnTo>
                    <a:lnTo>
                      <a:pt x="384" y="528"/>
                    </a:lnTo>
                    <a:lnTo>
                      <a:pt x="320" y="512"/>
                    </a:lnTo>
                    <a:lnTo>
                      <a:pt x="304" y="536"/>
                    </a:lnTo>
                    <a:lnTo>
                      <a:pt x="248" y="520"/>
                    </a:lnTo>
                    <a:lnTo>
                      <a:pt x="232" y="496"/>
                    </a:lnTo>
                    <a:lnTo>
                      <a:pt x="160" y="456"/>
                    </a:lnTo>
                    <a:close/>
                  </a:path>
                </a:pathLst>
              </a:custGeom>
              <a:solidFill>
                <a:srgbClr val="002060"/>
              </a:solidFill>
              <a:ln w="9525">
                <a:solidFill>
                  <a:schemeClr val="bg1"/>
                </a:solidFill>
                <a:round/>
                <a:headEnd/>
                <a:tailEnd/>
              </a:ln>
            </p:spPr>
            <p:txBody>
              <a:bodyPr/>
              <a:lstStyle/>
              <a:p>
                <a:endParaRPr lang="en-US" sz="1050"/>
              </a:p>
            </p:txBody>
          </p:sp>
          <p:sp>
            <p:nvSpPr>
              <p:cNvPr id="122" name="Freeform 121"/>
              <p:cNvSpPr>
                <a:spLocks/>
              </p:cNvSpPr>
              <p:nvPr/>
            </p:nvSpPr>
            <p:spPr bwMode="auto">
              <a:xfrm>
                <a:off x="3449109" y="3901644"/>
                <a:ext cx="716555" cy="806782"/>
              </a:xfrm>
              <a:custGeom>
                <a:avLst/>
                <a:gdLst>
                  <a:gd name="T0" fmla="*/ 2147483646 w 608"/>
                  <a:gd name="T1" fmla="*/ 0 h 744"/>
                  <a:gd name="T2" fmla="*/ 2147483646 w 608"/>
                  <a:gd name="T3" fmla="*/ 2147483646 h 744"/>
                  <a:gd name="T4" fmla="*/ 2147483646 w 608"/>
                  <a:gd name="T5" fmla="*/ 2147483646 h 744"/>
                  <a:gd name="T6" fmla="*/ 2147483646 w 608"/>
                  <a:gd name="T7" fmla="*/ 2147483646 h 744"/>
                  <a:gd name="T8" fmla="*/ 2147483646 w 608"/>
                  <a:gd name="T9" fmla="*/ 2147483646 h 744"/>
                  <a:gd name="T10" fmla="*/ 2147483646 w 608"/>
                  <a:gd name="T11" fmla="*/ 2147483646 h 744"/>
                  <a:gd name="T12" fmla="*/ 2147483646 w 608"/>
                  <a:gd name="T13" fmla="*/ 2147483646 h 744"/>
                  <a:gd name="T14" fmla="*/ 2147483646 w 608"/>
                  <a:gd name="T15" fmla="*/ 2147483646 h 744"/>
                  <a:gd name="T16" fmla="*/ 2147483646 w 608"/>
                  <a:gd name="T17" fmla="*/ 2147483646 h 744"/>
                  <a:gd name="T18" fmla="*/ 2147483646 w 608"/>
                  <a:gd name="T19" fmla="*/ 2147483646 h 744"/>
                  <a:gd name="T20" fmla="*/ 2147483646 w 608"/>
                  <a:gd name="T21" fmla="*/ 2147483646 h 744"/>
                  <a:gd name="T22" fmla="*/ 2147483646 w 608"/>
                  <a:gd name="T23" fmla="*/ 2147483646 h 744"/>
                  <a:gd name="T24" fmla="*/ 2147483646 w 608"/>
                  <a:gd name="T25" fmla="*/ 2147483646 h 744"/>
                  <a:gd name="T26" fmla="*/ 2147483646 w 608"/>
                  <a:gd name="T27" fmla="*/ 2147483646 h 744"/>
                  <a:gd name="T28" fmla="*/ 2147483646 w 608"/>
                  <a:gd name="T29" fmla="*/ 2147483646 h 744"/>
                  <a:gd name="T30" fmla="*/ 2147483646 w 608"/>
                  <a:gd name="T31" fmla="*/ 2147483646 h 744"/>
                  <a:gd name="T32" fmla="*/ 2147483646 w 608"/>
                  <a:gd name="T33" fmla="*/ 2147483646 h 744"/>
                  <a:gd name="T34" fmla="*/ 2147483646 w 608"/>
                  <a:gd name="T35" fmla="*/ 2147483646 h 744"/>
                  <a:gd name="T36" fmla="*/ 2147483646 w 608"/>
                  <a:gd name="T37" fmla="*/ 2147483646 h 744"/>
                  <a:gd name="T38" fmla="*/ 2147483646 w 608"/>
                  <a:gd name="T39" fmla="*/ 2147483646 h 744"/>
                  <a:gd name="T40" fmla="*/ 2147483646 w 608"/>
                  <a:gd name="T41" fmla="*/ 2147483646 h 744"/>
                  <a:gd name="T42" fmla="*/ 2147483646 w 608"/>
                  <a:gd name="T43" fmla="*/ 2147483646 h 744"/>
                  <a:gd name="T44" fmla="*/ 2147483646 w 608"/>
                  <a:gd name="T45" fmla="*/ 2147483646 h 744"/>
                  <a:gd name="T46" fmla="*/ 2147483646 w 608"/>
                  <a:gd name="T47" fmla="*/ 2147483646 h 744"/>
                  <a:gd name="T48" fmla="*/ 2147483646 w 608"/>
                  <a:gd name="T49" fmla="*/ 2147483646 h 744"/>
                  <a:gd name="T50" fmla="*/ 2147483646 w 608"/>
                  <a:gd name="T51" fmla="*/ 2147483646 h 744"/>
                  <a:gd name="T52" fmla="*/ 2147483646 w 608"/>
                  <a:gd name="T53" fmla="*/ 2147483646 h 744"/>
                  <a:gd name="T54" fmla="*/ 2147483646 w 608"/>
                  <a:gd name="T55" fmla="*/ 2147483646 h 744"/>
                  <a:gd name="T56" fmla="*/ 2147483646 w 608"/>
                  <a:gd name="T57" fmla="*/ 2147483646 h 744"/>
                  <a:gd name="T58" fmla="*/ 0 w 608"/>
                  <a:gd name="T59" fmla="*/ 2147483646 h 744"/>
                  <a:gd name="T60" fmla="*/ 2147483646 w 608"/>
                  <a:gd name="T61" fmla="*/ 2147483646 h 744"/>
                  <a:gd name="T62" fmla="*/ 2147483646 w 608"/>
                  <a:gd name="T63" fmla="*/ 2147483646 h 744"/>
                  <a:gd name="T64" fmla="*/ 2147483646 w 608"/>
                  <a:gd name="T65" fmla="*/ 2147483646 h 744"/>
                  <a:gd name="T66" fmla="*/ 2147483646 w 608"/>
                  <a:gd name="T67" fmla="*/ 2147483646 h 744"/>
                  <a:gd name="T68" fmla="*/ 2147483646 w 608"/>
                  <a:gd name="T69" fmla="*/ 2147483646 h 744"/>
                  <a:gd name="T70" fmla="*/ 2147483646 w 608"/>
                  <a:gd name="T71" fmla="*/ 2147483646 h 744"/>
                  <a:gd name="T72" fmla="*/ 2147483646 w 608"/>
                  <a:gd name="T73" fmla="*/ 0 h 7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744"/>
                  <a:gd name="T113" fmla="*/ 608 w 608"/>
                  <a:gd name="T114" fmla="*/ 744 h 7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744">
                    <a:moveTo>
                      <a:pt x="184" y="0"/>
                    </a:moveTo>
                    <a:lnTo>
                      <a:pt x="224" y="32"/>
                    </a:lnTo>
                    <a:lnTo>
                      <a:pt x="296" y="32"/>
                    </a:lnTo>
                    <a:lnTo>
                      <a:pt x="304" y="104"/>
                    </a:lnTo>
                    <a:lnTo>
                      <a:pt x="352" y="136"/>
                    </a:lnTo>
                    <a:lnTo>
                      <a:pt x="352" y="160"/>
                    </a:lnTo>
                    <a:lnTo>
                      <a:pt x="320" y="168"/>
                    </a:lnTo>
                    <a:lnTo>
                      <a:pt x="368" y="224"/>
                    </a:lnTo>
                    <a:lnTo>
                      <a:pt x="440" y="208"/>
                    </a:lnTo>
                    <a:lnTo>
                      <a:pt x="440" y="256"/>
                    </a:lnTo>
                    <a:lnTo>
                      <a:pt x="472" y="296"/>
                    </a:lnTo>
                    <a:lnTo>
                      <a:pt x="496" y="480"/>
                    </a:lnTo>
                    <a:lnTo>
                      <a:pt x="552" y="528"/>
                    </a:lnTo>
                    <a:lnTo>
                      <a:pt x="600" y="600"/>
                    </a:lnTo>
                    <a:lnTo>
                      <a:pt x="608" y="672"/>
                    </a:lnTo>
                    <a:lnTo>
                      <a:pt x="552" y="704"/>
                    </a:lnTo>
                    <a:lnTo>
                      <a:pt x="424" y="704"/>
                    </a:lnTo>
                    <a:lnTo>
                      <a:pt x="312" y="744"/>
                    </a:lnTo>
                    <a:lnTo>
                      <a:pt x="200" y="712"/>
                    </a:lnTo>
                    <a:lnTo>
                      <a:pt x="152" y="720"/>
                    </a:lnTo>
                    <a:lnTo>
                      <a:pt x="144" y="640"/>
                    </a:lnTo>
                    <a:lnTo>
                      <a:pt x="184" y="608"/>
                    </a:lnTo>
                    <a:lnTo>
                      <a:pt x="120" y="512"/>
                    </a:lnTo>
                    <a:lnTo>
                      <a:pt x="96" y="472"/>
                    </a:lnTo>
                    <a:lnTo>
                      <a:pt x="56" y="456"/>
                    </a:lnTo>
                    <a:lnTo>
                      <a:pt x="104" y="392"/>
                    </a:lnTo>
                    <a:lnTo>
                      <a:pt x="72" y="336"/>
                    </a:lnTo>
                    <a:lnTo>
                      <a:pt x="32" y="328"/>
                    </a:lnTo>
                    <a:lnTo>
                      <a:pt x="32" y="280"/>
                    </a:lnTo>
                    <a:lnTo>
                      <a:pt x="0" y="272"/>
                    </a:lnTo>
                    <a:lnTo>
                      <a:pt x="16" y="240"/>
                    </a:lnTo>
                    <a:lnTo>
                      <a:pt x="48" y="224"/>
                    </a:lnTo>
                    <a:lnTo>
                      <a:pt x="48" y="200"/>
                    </a:lnTo>
                    <a:lnTo>
                      <a:pt x="88" y="176"/>
                    </a:lnTo>
                    <a:lnTo>
                      <a:pt x="96" y="104"/>
                    </a:lnTo>
                    <a:lnTo>
                      <a:pt x="144" y="104"/>
                    </a:lnTo>
                    <a:lnTo>
                      <a:pt x="184" y="0"/>
                    </a:lnTo>
                    <a:close/>
                  </a:path>
                </a:pathLst>
              </a:custGeom>
              <a:solidFill>
                <a:srgbClr val="C6CFEB"/>
              </a:solidFill>
              <a:ln w="9525">
                <a:solidFill>
                  <a:schemeClr val="bg1"/>
                </a:solidFill>
                <a:round/>
                <a:headEnd/>
                <a:tailEnd/>
              </a:ln>
            </p:spPr>
            <p:txBody>
              <a:bodyPr/>
              <a:lstStyle/>
              <a:p>
                <a:endParaRPr lang="en-US" sz="1050"/>
              </a:p>
            </p:txBody>
          </p:sp>
          <p:sp>
            <p:nvSpPr>
              <p:cNvPr id="123" name="Freeform 122"/>
              <p:cNvSpPr>
                <a:spLocks/>
              </p:cNvSpPr>
              <p:nvPr/>
            </p:nvSpPr>
            <p:spPr bwMode="auto">
              <a:xfrm>
                <a:off x="6541611" y="4552275"/>
                <a:ext cx="942835" cy="624606"/>
              </a:xfrm>
              <a:custGeom>
                <a:avLst/>
                <a:gdLst>
                  <a:gd name="T0" fmla="*/ 2147483646 w 800"/>
                  <a:gd name="T1" fmla="*/ 2147483646 h 576"/>
                  <a:gd name="T2" fmla="*/ 0 w 800"/>
                  <a:gd name="T3" fmla="*/ 2147483646 h 576"/>
                  <a:gd name="T4" fmla="*/ 2147483646 w 800"/>
                  <a:gd name="T5" fmla="*/ 2147483646 h 576"/>
                  <a:gd name="T6" fmla="*/ 2147483646 w 800"/>
                  <a:gd name="T7" fmla="*/ 2147483646 h 576"/>
                  <a:gd name="T8" fmla="*/ 2147483646 w 800"/>
                  <a:gd name="T9" fmla="*/ 2147483646 h 576"/>
                  <a:gd name="T10" fmla="*/ 2147483646 w 800"/>
                  <a:gd name="T11" fmla="*/ 2147483646 h 576"/>
                  <a:gd name="T12" fmla="*/ 2147483646 w 800"/>
                  <a:gd name="T13" fmla="*/ 2147483646 h 576"/>
                  <a:gd name="T14" fmla="*/ 2147483646 w 800"/>
                  <a:gd name="T15" fmla="*/ 2147483646 h 576"/>
                  <a:gd name="T16" fmla="*/ 2147483646 w 800"/>
                  <a:gd name="T17" fmla="*/ 2147483646 h 576"/>
                  <a:gd name="T18" fmla="*/ 2147483646 w 800"/>
                  <a:gd name="T19" fmla="*/ 2147483646 h 576"/>
                  <a:gd name="T20" fmla="*/ 2147483646 w 800"/>
                  <a:gd name="T21" fmla="*/ 2147483646 h 576"/>
                  <a:gd name="T22" fmla="*/ 2147483646 w 800"/>
                  <a:gd name="T23" fmla="*/ 2147483646 h 576"/>
                  <a:gd name="T24" fmla="*/ 2147483646 w 800"/>
                  <a:gd name="T25" fmla="*/ 2147483646 h 576"/>
                  <a:gd name="T26" fmla="*/ 2147483646 w 800"/>
                  <a:gd name="T27" fmla="*/ 2147483646 h 576"/>
                  <a:gd name="T28" fmla="*/ 2147483646 w 800"/>
                  <a:gd name="T29" fmla="*/ 2147483646 h 576"/>
                  <a:gd name="T30" fmla="*/ 2147483646 w 800"/>
                  <a:gd name="T31" fmla="*/ 2147483646 h 576"/>
                  <a:gd name="T32" fmla="*/ 2147483646 w 800"/>
                  <a:gd name="T33" fmla="*/ 2147483646 h 576"/>
                  <a:gd name="T34" fmla="*/ 2147483646 w 800"/>
                  <a:gd name="T35" fmla="*/ 2147483646 h 576"/>
                  <a:gd name="T36" fmla="*/ 2147483646 w 800"/>
                  <a:gd name="T37" fmla="*/ 2147483646 h 576"/>
                  <a:gd name="T38" fmla="*/ 2147483646 w 800"/>
                  <a:gd name="T39" fmla="*/ 2147483646 h 576"/>
                  <a:gd name="T40" fmla="*/ 2147483646 w 800"/>
                  <a:gd name="T41" fmla="*/ 2147483646 h 576"/>
                  <a:gd name="T42" fmla="*/ 2147483646 w 800"/>
                  <a:gd name="T43" fmla="*/ 2147483646 h 576"/>
                  <a:gd name="T44" fmla="*/ 2147483646 w 800"/>
                  <a:gd name="T45" fmla="*/ 2147483646 h 576"/>
                  <a:gd name="T46" fmla="*/ 2147483646 w 800"/>
                  <a:gd name="T47" fmla="*/ 2147483646 h 576"/>
                  <a:gd name="T48" fmla="*/ 2147483646 w 800"/>
                  <a:gd name="T49" fmla="*/ 2147483646 h 576"/>
                  <a:gd name="T50" fmla="*/ 2147483646 w 800"/>
                  <a:gd name="T51" fmla="*/ 2147483646 h 576"/>
                  <a:gd name="T52" fmla="*/ 2147483646 w 800"/>
                  <a:gd name="T53" fmla="*/ 2147483646 h 576"/>
                  <a:gd name="T54" fmla="*/ 2147483646 w 800"/>
                  <a:gd name="T55" fmla="*/ 2147483646 h 576"/>
                  <a:gd name="T56" fmla="*/ 2147483646 w 800"/>
                  <a:gd name="T57" fmla="*/ 2147483646 h 576"/>
                  <a:gd name="T58" fmla="*/ 2147483646 w 800"/>
                  <a:gd name="T59" fmla="*/ 2147483646 h 576"/>
                  <a:gd name="T60" fmla="*/ 2147483646 w 800"/>
                  <a:gd name="T61" fmla="*/ 2147483646 h 576"/>
                  <a:gd name="T62" fmla="*/ 2147483646 w 800"/>
                  <a:gd name="T63" fmla="*/ 2147483646 h 576"/>
                  <a:gd name="T64" fmla="*/ 2147483646 w 800"/>
                  <a:gd name="T65" fmla="*/ 2147483646 h 576"/>
                  <a:gd name="T66" fmla="*/ 2147483646 w 800"/>
                  <a:gd name="T67" fmla="*/ 0 h 576"/>
                  <a:gd name="T68" fmla="*/ 2147483646 w 800"/>
                  <a:gd name="T69" fmla="*/ 2147483646 h 576"/>
                  <a:gd name="T70" fmla="*/ 2147483646 w 800"/>
                  <a:gd name="T71" fmla="*/ 2147483646 h 576"/>
                  <a:gd name="T72" fmla="*/ 2147483646 w 800"/>
                  <a:gd name="T73" fmla="*/ 2147483646 h 576"/>
                  <a:gd name="T74" fmla="*/ 2147483646 w 800"/>
                  <a:gd name="T75" fmla="*/ 2147483646 h 576"/>
                  <a:gd name="T76" fmla="*/ 2147483646 w 800"/>
                  <a:gd name="T77" fmla="*/ 2147483646 h 576"/>
                  <a:gd name="T78" fmla="*/ 2147483646 w 800"/>
                  <a:gd name="T79" fmla="*/ 2147483646 h 576"/>
                  <a:gd name="T80" fmla="*/ 2147483646 w 800"/>
                  <a:gd name="T81" fmla="*/ 2147483646 h 576"/>
                  <a:gd name="T82" fmla="*/ 2147483646 w 800"/>
                  <a:gd name="T83" fmla="*/ 2147483646 h 576"/>
                  <a:gd name="T84" fmla="*/ 2147483646 w 800"/>
                  <a:gd name="T85" fmla="*/ 2147483646 h 576"/>
                  <a:gd name="T86" fmla="*/ 2147483646 w 800"/>
                  <a:gd name="T87" fmla="*/ 2147483646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0"/>
                  <a:gd name="T133" fmla="*/ 0 h 576"/>
                  <a:gd name="T134" fmla="*/ 800 w 800"/>
                  <a:gd name="T135" fmla="*/ 576 h 5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0" h="576">
                    <a:moveTo>
                      <a:pt x="96" y="48"/>
                    </a:moveTo>
                    <a:lnTo>
                      <a:pt x="64" y="40"/>
                    </a:lnTo>
                    <a:lnTo>
                      <a:pt x="16" y="64"/>
                    </a:lnTo>
                    <a:lnTo>
                      <a:pt x="0" y="136"/>
                    </a:lnTo>
                    <a:lnTo>
                      <a:pt x="40" y="168"/>
                    </a:lnTo>
                    <a:lnTo>
                      <a:pt x="80" y="160"/>
                    </a:lnTo>
                    <a:lnTo>
                      <a:pt x="56" y="208"/>
                    </a:lnTo>
                    <a:lnTo>
                      <a:pt x="104" y="240"/>
                    </a:lnTo>
                    <a:lnTo>
                      <a:pt x="72" y="256"/>
                    </a:lnTo>
                    <a:lnTo>
                      <a:pt x="88" y="392"/>
                    </a:lnTo>
                    <a:lnTo>
                      <a:pt x="56" y="464"/>
                    </a:lnTo>
                    <a:lnTo>
                      <a:pt x="104" y="496"/>
                    </a:lnTo>
                    <a:lnTo>
                      <a:pt x="168" y="488"/>
                    </a:lnTo>
                    <a:lnTo>
                      <a:pt x="208" y="576"/>
                    </a:lnTo>
                    <a:lnTo>
                      <a:pt x="232" y="512"/>
                    </a:lnTo>
                    <a:lnTo>
                      <a:pt x="264" y="552"/>
                    </a:lnTo>
                    <a:lnTo>
                      <a:pt x="288" y="536"/>
                    </a:lnTo>
                    <a:lnTo>
                      <a:pt x="400" y="544"/>
                    </a:lnTo>
                    <a:lnTo>
                      <a:pt x="400" y="512"/>
                    </a:lnTo>
                    <a:lnTo>
                      <a:pt x="456" y="464"/>
                    </a:lnTo>
                    <a:lnTo>
                      <a:pt x="464" y="424"/>
                    </a:lnTo>
                    <a:lnTo>
                      <a:pt x="432" y="392"/>
                    </a:lnTo>
                    <a:lnTo>
                      <a:pt x="424" y="352"/>
                    </a:lnTo>
                    <a:lnTo>
                      <a:pt x="456" y="312"/>
                    </a:lnTo>
                    <a:lnTo>
                      <a:pt x="496" y="304"/>
                    </a:lnTo>
                    <a:lnTo>
                      <a:pt x="544" y="320"/>
                    </a:lnTo>
                    <a:lnTo>
                      <a:pt x="504" y="352"/>
                    </a:lnTo>
                    <a:lnTo>
                      <a:pt x="512" y="416"/>
                    </a:lnTo>
                    <a:lnTo>
                      <a:pt x="536" y="408"/>
                    </a:lnTo>
                    <a:lnTo>
                      <a:pt x="544" y="392"/>
                    </a:lnTo>
                    <a:lnTo>
                      <a:pt x="560" y="424"/>
                    </a:lnTo>
                    <a:lnTo>
                      <a:pt x="536" y="456"/>
                    </a:lnTo>
                    <a:lnTo>
                      <a:pt x="496" y="480"/>
                    </a:lnTo>
                    <a:lnTo>
                      <a:pt x="496" y="504"/>
                    </a:lnTo>
                    <a:lnTo>
                      <a:pt x="472" y="512"/>
                    </a:lnTo>
                    <a:lnTo>
                      <a:pt x="456" y="504"/>
                    </a:lnTo>
                    <a:lnTo>
                      <a:pt x="440" y="520"/>
                    </a:lnTo>
                    <a:lnTo>
                      <a:pt x="424" y="544"/>
                    </a:lnTo>
                    <a:lnTo>
                      <a:pt x="400" y="552"/>
                    </a:lnTo>
                    <a:lnTo>
                      <a:pt x="400" y="568"/>
                    </a:lnTo>
                    <a:lnTo>
                      <a:pt x="432" y="552"/>
                    </a:lnTo>
                    <a:lnTo>
                      <a:pt x="456" y="528"/>
                    </a:lnTo>
                    <a:lnTo>
                      <a:pt x="472" y="520"/>
                    </a:lnTo>
                    <a:lnTo>
                      <a:pt x="488" y="528"/>
                    </a:lnTo>
                    <a:lnTo>
                      <a:pt x="472" y="544"/>
                    </a:lnTo>
                    <a:lnTo>
                      <a:pt x="488" y="544"/>
                    </a:lnTo>
                    <a:lnTo>
                      <a:pt x="496" y="520"/>
                    </a:lnTo>
                    <a:lnTo>
                      <a:pt x="512" y="496"/>
                    </a:lnTo>
                    <a:lnTo>
                      <a:pt x="528" y="480"/>
                    </a:lnTo>
                    <a:lnTo>
                      <a:pt x="552" y="456"/>
                    </a:lnTo>
                    <a:lnTo>
                      <a:pt x="576" y="448"/>
                    </a:lnTo>
                    <a:lnTo>
                      <a:pt x="632" y="432"/>
                    </a:lnTo>
                    <a:lnTo>
                      <a:pt x="704" y="424"/>
                    </a:lnTo>
                    <a:lnTo>
                      <a:pt x="744" y="416"/>
                    </a:lnTo>
                    <a:lnTo>
                      <a:pt x="768" y="408"/>
                    </a:lnTo>
                    <a:lnTo>
                      <a:pt x="776" y="376"/>
                    </a:lnTo>
                    <a:lnTo>
                      <a:pt x="784" y="344"/>
                    </a:lnTo>
                    <a:lnTo>
                      <a:pt x="800" y="272"/>
                    </a:lnTo>
                    <a:lnTo>
                      <a:pt x="800" y="232"/>
                    </a:lnTo>
                    <a:lnTo>
                      <a:pt x="800" y="192"/>
                    </a:lnTo>
                    <a:lnTo>
                      <a:pt x="792" y="184"/>
                    </a:lnTo>
                    <a:lnTo>
                      <a:pt x="768" y="152"/>
                    </a:lnTo>
                    <a:lnTo>
                      <a:pt x="800" y="136"/>
                    </a:lnTo>
                    <a:lnTo>
                      <a:pt x="800" y="88"/>
                    </a:lnTo>
                    <a:lnTo>
                      <a:pt x="776" y="56"/>
                    </a:lnTo>
                    <a:lnTo>
                      <a:pt x="736" y="16"/>
                    </a:lnTo>
                    <a:lnTo>
                      <a:pt x="656" y="8"/>
                    </a:lnTo>
                    <a:lnTo>
                      <a:pt x="608" y="0"/>
                    </a:lnTo>
                    <a:lnTo>
                      <a:pt x="576" y="16"/>
                    </a:lnTo>
                    <a:lnTo>
                      <a:pt x="552" y="48"/>
                    </a:lnTo>
                    <a:lnTo>
                      <a:pt x="496" y="72"/>
                    </a:lnTo>
                    <a:lnTo>
                      <a:pt x="488" y="96"/>
                    </a:lnTo>
                    <a:lnTo>
                      <a:pt x="464" y="88"/>
                    </a:lnTo>
                    <a:lnTo>
                      <a:pt x="448" y="128"/>
                    </a:lnTo>
                    <a:lnTo>
                      <a:pt x="392" y="96"/>
                    </a:lnTo>
                    <a:lnTo>
                      <a:pt x="376" y="88"/>
                    </a:lnTo>
                    <a:lnTo>
                      <a:pt x="376" y="120"/>
                    </a:lnTo>
                    <a:lnTo>
                      <a:pt x="368" y="128"/>
                    </a:lnTo>
                    <a:lnTo>
                      <a:pt x="392" y="152"/>
                    </a:lnTo>
                    <a:lnTo>
                      <a:pt x="368" y="168"/>
                    </a:lnTo>
                    <a:lnTo>
                      <a:pt x="312" y="152"/>
                    </a:lnTo>
                    <a:lnTo>
                      <a:pt x="272" y="152"/>
                    </a:lnTo>
                    <a:lnTo>
                      <a:pt x="200" y="112"/>
                    </a:lnTo>
                    <a:lnTo>
                      <a:pt x="168" y="104"/>
                    </a:lnTo>
                    <a:lnTo>
                      <a:pt x="136" y="56"/>
                    </a:lnTo>
                    <a:lnTo>
                      <a:pt x="136" y="16"/>
                    </a:lnTo>
                    <a:lnTo>
                      <a:pt x="96" y="32"/>
                    </a:lnTo>
                    <a:lnTo>
                      <a:pt x="96" y="48"/>
                    </a:lnTo>
                    <a:close/>
                  </a:path>
                </a:pathLst>
              </a:custGeom>
              <a:solidFill>
                <a:srgbClr val="9950A8"/>
              </a:solidFill>
              <a:ln w="9525">
                <a:solidFill>
                  <a:schemeClr val="bg1"/>
                </a:solidFill>
                <a:round/>
                <a:headEnd/>
                <a:tailEnd/>
              </a:ln>
            </p:spPr>
            <p:txBody>
              <a:bodyPr/>
              <a:lstStyle/>
              <a:p>
                <a:endParaRPr lang="en-US" sz="1050"/>
              </a:p>
            </p:txBody>
          </p:sp>
          <p:sp>
            <p:nvSpPr>
              <p:cNvPr id="124" name="Freeform 123"/>
              <p:cNvSpPr>
                <a:spLocks/>
              </p:cNvSpPr>
              <p:nvPr/>
            </p:nvSpPr>
            <p:spPr bwMode="auto">
              <a:xfrm>
                <a:off x="6004194" y="4543600"/>
                <a:ext cx="659985" cy="546530"/>
              </a:xfrm>
              <a:custGeom>
                <a:avLst/>
                <a:gdLst>
                  <a:gd name="T0" fmla="*/ 2147483646 w 560"/>
                  <a:gd name="T1" fmla="*/ 2147483646 h 504"/>
                  <a:gd name="T2" fmla="*/ 2147483646 w 560"/>
                  <a:gd name="T3" fmla="*/ 2147483646 h 504"/>
                  <a:gd name="T4" fmla="*/ 2147483646 w 560"/>
                  <a:gd name="T5" fmla="*/ 2147483646 h 504"/>
                  <a:gd name="T6" fmla="*/ 2147483646 w 560"/>
                  <a:gd name="T7" fmla="*/ 2147483646 h 504"/>
                  <a:gd name="T8" fmla="*/ 2147483646 w 560"/>
                  <a:gd name="T9" fmla="*/ 2147483646 h 504"/>
                  <a:gd name="T10" fmla="*/ 2147483646 w 560"/>
                  <a:gd name="T11" fmla="*/ 2147483646 h 504"/>
                  <a:gd name="T12" fmla="*/ 2147483646 w 560"/>
                  <a:gd name="T13" fmla="*/ 2147483646 h 504"/>
                  <a:gd name="T14" fmla="*/ 2147483646 w 560"/>
                  <a:gd name="T15" fmla="*/ 2147483646 h 504"/>
                  <a:gd name="T16" fmla="*/ 2147483646 w 560"/>
                  <a:gd name="T17" fmla="*/ 2147483646 h 504"/>
                  <a:gd name="T18" fmla="*/ 2147483646 w 560"/>
                  <a:gd name="T19" fmla="*/ 2147483646 h 504"/>
                  <a:gd name="T20" fmla="*/ 2147483646 w 560"/>
                  <a:gd name="T21" fmla="*/ 2147483646 h 504"/>
                  <a:gd name="T22" fmla="*/ 2147483646 w 560"/>
                  <a:gd name="T23" fmla="*/ 2147483646 h 504"/>
                  <a:gd name="T24" fmla="*/ 2147483646 w 560"/>
                  <a:gd name="T25" fmla="*/ 2147483646 h 504"/>
                  <a:gd name="T26" fmla="*/ 2147483646 w 560"/>
                  <a:gd name="T27" fmla="*/ 0 h 504"/>
                  <a:gd name="T28" fmla="*/ 2147483646 w 560"/>
                  <a:gd name="T29" fmla="*/ 2147483646 h 504"/>
                  <a:gd name="T30" fmla="*/ 2147483646 w 560"/>
                  <a:gd name="T31" fmla="*/ 2147483646 h 504"/>
                  <a:gd name="T32" fmla="*/ 2147483646 w 560"/>
                  <a:gd name="T33" fmla="*/ 2147483646 h 504"/>
                  <a:gd name="T34" fmla="*/ 2147483646 w 560"/>
                  <a:gd name="T35" fmla="*/ 2147483646 h 504"/>
                  <a:gd name="T36" fmla="*/ 2147483646 w 560"/>
                  <a:gd name="T37" fmla="*/ 2147483646 h 504"/>
                  <a:gd name="T38" fmla="*/ 2147483646 w 560"/>
                  <a:gd name="T39" fmla="*/ 2147483646 h 504"/>
                  <a:gd name="T40" fmla="*/ 2147483646 w 560"/>
                  <a:gd name="T41" fmla="*/ 2147483646 h 504"/>
                  <a:gd name="T42" fmla="*/ 0 w 560"/>
                  <a:gd name="T43" fmla="*/ 2147483646 h 504"/>
                  <a:gd name="T44" fmla="*/ 2147483646 w 560"/>
                  <a:gd name="T45" fmla="*/ 2147483646 h 504"/>
                  <a:gd name="T46" fmla="*/ 2147483646 w 560"/>
                  <a:gd name="T47" fmla="*/ 2147483646 h 504"/>
                  <a:gd name="T48" fmla="*/ 2147483646 w 560"/>
                  <a:gd name="T49" fmla="*/ 2147483646 h 504"/>
                  <a:gd name="T50" fmla="*/ 2147483646 w 560"/>
                  <a:gd name="T51" fmla="*/ 2147483646 h 504"/>
                  <a:gd name="T52" fmla="*/ 2147483646 w 560"/>
                  <a:gd name="T53" fmla="*/ 2147483646 h 504"/>
                  <a:gd name="T54" fmla="*/ 2147483646 w 560"/>
                  <a:gd name="T55" fmla="*/ 2147483646 h 504"/>
                  <a:gd name="T56" fmla="*/ 2147483646 w 560"/>
                  <a:gd name="T57" fmla="*/ 2147483646 h 504"/>
                  <a:gd name="T58" fmla="*/ 2147483646 w 560"/>
                  <a:gd name="T59" fmla="*/ 2147483646 h 504"/>
                  <a:gd name="T60" fmla="*/ 2147483646 w 560"/>
                  <a:gd name="T61" fmla="*/ 2147483646 h 504"/>
                  <a:gd name="T62" fmla="*/ 2147483646 w 560"/>
                  <a:gd name="T63" fmla="*/ 2147483646 h 504"/>
                  <a:gd name="T64" fmla="*/ 2147483646 w 560"/>
                  <a:gd name="T65" fmla="*/ 2147483646 h 504"/>
                  <a:gd name="T66" fmla="*/ 2147483646 w 560"/>
                  <a:gd name="T67" fmla="*/ 2147483646 h 504"/>
                  <a:gd name="T68" fmla="*/ 2147483646 w 560"/>
                  <a:gd name="T69" fmla="*/ 2147483646 h 504"/>
                  <a:gd name="T70" fmla="*/ 2147483646 w 560"/>
                  <a:gd name="T71" fmla="*/ 2147483646 h 504"/>
                  <a:gd name="T72" fmla="*/ 2147483646 w 560"/>
                  <a:gd name="T73" fmla="*/ 2147483646 h 504"/>
                  <a:gd name="T74" fmla="*/ 2147483646 w 560"/>
                  <a:gd name="T75" fmla="*/ 2147483646 h 504"/>
                  <a:gd name="T76" fmla="*/ 2147483646 w 560"/>
                  <a:gd name="T77" fmla="*/ 2147483646 h 504"/>
                  <a:gd name="T78" fmla="*/ 2147483646 w 560"/>
                  <a:gd name="T79" fmla="*/ 2147483646 h 5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0"/>
                  <a:gd name="T121" fmla="*/ 0 h 504"/>
                  <a:gd name="T122" fmla="*/ 560 w 560"/>
                  <a:gd name="T123" fmla="*/ 504 h 5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0" h="504">
                    <a:moveTo>
                      <a:pt x="512" y="472"/>
                    </a:moveTo>
                    <a:lnTo>
                      <a:pt x="544" y="400"/>
                    </a:lnTo>
                    <a:lnTo>
                      <a:pt x="528" y="264"/>
                    </a:lnTo>
                    <a:lnTo>
                      <a:pt x="560" y="248"/>
                    </a:lnTo>
                    <a:lnTo>
                      <a:pt x="512" y="216"/>
                    </a:lnTo>
                    <a:lnTo>
                      <a:pt x="536" y="168"/>
                    </a:lnTo>
                    <a:lnTo>
                      <a:pt x="496" y="176"/>
                    </a:lnTo>
                    <a:lnTo>
                      <a:pt x="456" y="144"/>
                    </a:lnTo>
                    <a:lnTo>
                      <a:pt x="472" y="72"/>
                    </a:lnTo>
                    <a:lnTo>
                      <a:pt x="408" y="56"/>
                    </a:lnTo>
                    <a:lnTo>
                      <a:pt x="392" y="80"/>
                    </a:lnTo>
                    <a:lnTo>
                      <a:pt x="336" y="64"/>
                    </a:lnTo>
                    <a:lnTo>
                      <a:pt x="320" y="40"/>
                    </a:lnTo>
                    <a:lnTo>
                      <a:pt x="248" y="0"/>
                    </a:lnTo>
                    <a:lnTo>
                      <a:pt x="184" y="32"/>
                    </a:lnTo>
                    <a:lnTo>
                      <a:pt x="176" y="80"/>
                    </a:lnTo>
                    <a:lnTo>
                      <a:pt x="168" y="136"/>
                    </a:lnTo>
                    <a:lnTo>
                      <a:pt x="144" y="152"/>
                    </a:lnTo>
                    <a:lnTo>
                      <a:pt x="160" y="200"/>
                    </a:lnTo>
                    <a:lnTo>
                      <a:pt x="136" y="216"/>
                    </a:lnTo>
                    <a:lnTo>
                      <a:pt x="64" y="184"/>
                    </a:lnTo>
                    <a:lnTo>
                      <a:pt x="0" y="256"/>
                    </a:lnTo>
                    <a:lnTo>
                      <a:pt x="24" y="280"/>
                    </a:lnTo>
                    <a:lnTo>
                      <a:pt x="64" y="256"/>
                    </a:lnTo>
                    <a:lnTo>
                      <a:pt x="80" y="328"/>
                    </a:lnTo>
                    <a:lnTo>
                      <a:pt x="120" y="360"/>
                    </a:lnTo>
                    <a:lnTo>
                      <a:pt x="88" y="432"/>
                    </a:lnTo>
                    <a:lnTo>
                      <a:pt x="104" y="496"/>
                    </a:lnTo>
                    <a:lnTo>
                      <a:pt x="144" y="488"/>
                    </a:lnTo>
                    <a:lnTo>
                      <a:pt x="152" y="456"/>
                    </a:lnTo>
                    <a:lnTo>
                      <a:pt x="184" y="448"/>
                    </a:lnTo>
                    <a:lnTo>
                      <a:pt x="216" y="488"/>
                    </a:lnTo>
                    <a:lnTo>
                      <a:pt x="232" y="448"/>
                    </a:lnTo>
                    <a:lnTo>
                      <a:pt x="272" y="480"/>
                    </a:lnTo>
                    <a:lnTo>
                      <a:pt x="344" y="496"/>
                    </a:lnTo>
                    <a:lnTo>
                      <a:pt x="392" y="456"/>
                    </a:lnTo>
                    <a:lnTo>
                      <a:pt x="408" y="496"/>
                    </a:lnTo>
                    <a:lnTo>
                      <a:pt x="464" y="480"/>
                    </a:lnTo>
                    <a:lnTo>
                      <a:pt x="496" y="504"/>
                    </a:lnTo>
                    <a:lnTo>
                      <a:pt x="512" y="472"/>
                    </a:lnTo>
                    <a:close/>
                  </a:path>
                </a:pathLst>
              </a:custGeom>
              <a:solidFill>
                <a:srgbClr val="9950A8"/>
              </a:solidFill>
              <a:ln w="9525">
                <a:solidFill>
                  <a:schemeClr val="bg1"/>
                </a:solidFill>
                <a:round/>
                <a:headEnd/>
                <a:tailEnd/>
              </a:ln>
            </p:spPr>
            <p:txBody>
              <a:bodyPr/>
              <a:lstStyle/>
              <a:p>
                <a:endParaRPr lang="en-US" sz="1050"/>
              </a:p>
            </p:txBody>
          </p:sp>
          <p:sp>
            <p:nvSpPr>
              <p:cNvPr id="125" name="Freeform 124"/>
              <p:cNvSpPr>
                <a:spLocks/>
              </p:cNvSpPr>
              <p:nvPr/>
            </p:nvSpPr>
            <p:spPr bwMode="auto">
              <a:xfrm>
                <a:off x="5495062" y="4326723"/>
                <a:ext cx="716555" cy="780757"/>
              </a:xfrm>
              <a:custGeom>
                <a:avLst/>
                <a:gdLst>
                  <a:gd name="T0" fmla="*/ 2147483646 w 608"/>
                  <a:gd name="T1" fmla="*/ 2147483646 h 720"/>
                  <a:gd name="T2" fmla="*/ 2147483646 w 608"/>
                  <a:gd name="T3" fmla="*/ 2147483646 h 720"/>
                  <a:gd name="T4" fmla="*/ 2147483646 w 608"/>
                  <a:gd name="T5" fmla="*/ 2147483646 h 720"/>
                  <a:gd name="T6" fmla="*/ 2147483646 w 608"/>
                  <a:gd name="T7" fmla="*/ 2147483646 h 720"/>
                  <a:gd name="T8" fmla="*/ 2147483646 w 608"/>
                  <a:gd name="T9" fmla="*/ 2147483646 h 720"/>
                  <a:gd name="T10" fmla="*/ 2147483646 w 608"/>
                  <a:gd name="T11" fmla="*/ 2147483646 h 720"/>
                  <a:gd name="T12" fmla="*/ 2147483646 w 608"/>
                  <a:gd name="T13" fmla="*/ 2147483646 h 720"/>
                  <a:gd name="T14" fmla="*/ 2147483646 w 608"/>
                  <a:gd name="T15" fmla="*/ 2147483646 h 720"/>
                  <a:gd name="T16" fmla="*/ 2147483646 w 608"/>
                  <a:gd name="T17" fmla="*/ 2147483646 h 720"/>
                  <a:gd name="T18" fmla="*/ 2147483646 w 608"/>
                  <a:gd name="T19" fmla="*/ 2147483646 h 720"/>
                  <a:gd name="T20" fmla="*/ 2147483646 w 608"/>
                  <a:gd name="T21" fmla="*/ 2147483646 h 720"/>
                  <a:gd name="T22" fmla="*/ 2147483646 w 608"/>
                  <a:gd name="T23" fmla="*/ 2147483646 h 720"/>
                  <a:gd name="T24" fmla="*/ 2147483646 w 608"/>
                  <a:gd name="T25" fmla="*/ 2147483646 h 720"/>
                  <a:gd name="T26" fmla="*/ 2147483646 w 608"/>
                  <a:gd name="T27" fmla="*/ 2147483646 h 720"/>
                  <a:gd name="T28" fmla="*/ 2147483646 w 608"/>
                  <a:gd name="T29" fmla="*/ 2147483646 h 720"/>
                  <a:gd name="T30" fmla="*/ 2147483646 w 608"/>
                  <a:gd name="T31" fmla="*/ 2147483646 h 720"/>
                  <a:gd name="T32" fmla="*/ 2147483646 w 608"/>
                  <a:gd name="T33" fmla="*/ 2147483646 h 720"/>
                  <a:gd name="T34" fmla="*/ 2147483646 w 608"/>
                  <a:gd name="T35" fmla="*/ 2147483646 h 720"/>
                  <a:gd name="T36" fmla="*/ 2147483646 w 608"/>
                  <a:gd name="T37" fmla="*/ 2147483646 h 720"/>
                  <a:gd name="T38" fmla="*/ 2147483646 w 608"/>
                  <a:gd name="T39" fmla="*/ 2147483646 h 720"/>
                  <a:gd name="T40" fmla="*/ 2147483646 w 608"/>
                  <a:gd name="T41" fmla="*/ 2147483646 h 720"/>
                  <a:gd name="T42" fmla="*/ 2147483646 w 608"/>
                  <a:gd name="T43" fmla="*/ 2147483646 h 720"/>
                  <a:gd name="T44" fmla="*/ 2147483646 w 608"/>
                  <a:gd name="T45" fmla="*/ 2147483646 h 720"/>
                  <a:gd name="T46" fmla="*/ 2147483646 w 608"/>
                  <a:gd name="T47" fmla="*/ 2147483646 h 720"/>
                  <a:gd name="T48" fmla="*/ 2147483646 w 608"/>
                  <a:gd name="T49" fmla="*/ 2147483646 h 720"/>
                  <a:gd name="T50" fmla="*/ 2147483646 w 608"/>
                  <a:gd name="T51" fmla="*/ 2147483646 h 720"/>
                  <a:gd name="T52" fmla="*/ 2147483646 w 608"/>
                  <a:gd name="T53" fmla="*/ 0 h 720"/>
                  <a:gd name="T54" fmla="*/ 2147483646 w 608"/>
                  <a:gd name="T55" fmla="*/ 2147483646 h 720"/>
                  <a:gd name="T56" fmla="*/ 2147483646 w 608"/>
                  <a:gd name="T57" fmla="*/ 2147483646 h 720"/>
                  <a:gd name="T58" fmla="*/ 2147483646 w 608"/>
                  <a:gd name="T59" fmla="*/ 2147483646 h 720"/>
                  <a:gd name="T60" fmla="*/ 2147483646 w 608"/>
                  <a:gd name="T61" fmla="*/ 2147483646 h 720"/>
                  <a:gd name="T62" fmla="*/ 2147483646 w 608"/>
                  <a:gd name="T63" fmla="*/ 2147483646 h 720"/>
                  <a:gd name="T64" fmla="*/ 2147483646 w 608"/>
                  <a:gd name="T65" fmla="*/ 2147483646 h 720"/>
                  <a:gd name="T66" fmla="*/ 2147483646 w 608"/>
                  <a:gd name="T67" fmla="*/ 2147483646 h 720"/>
                  <a:gd name="T68" fmla="*/ 0 w 608"/>
                  <a:gd name="T69" fmla="*/ 2147483646 h 720"/>
                  <a:gd name="T70" fmla="*/ 2147483646 w 608"/>
                  <a:gd name="T71" fmla="*/ 2147483646 h 720"/>
                  <a:gd name="T72" fmla="*/ 2147483646 w 608"/>
                  <a:gd name="T73" fmla="*/ 2147483646 h 720"/>
                  <a:gd name="T74" fmla="*/ 2147483646 w 608"/>
                  <a:gd name="T75" fmla="*/ 2147483646 h 720"/>
                  <a:gd name="T76" fmla="*/ 2147483646 w 608"/>
                  <a:gd name="T77" fmla="*/ 2147483646 h 720"/>
                  <a:gd name="T78" fmla="*/ 2147483646 w 608"/>
                  <a:gd name="T79" fmla="*/ 2147483646 h 720"/>
                  <a:gd name="T80" fmla="*/ 2147483646 w 608"/>
                  <a:gd name="T81" fmla="*/ 2147483646 h 720"/>
                  <a:gd name="T82" fmla="*/ 2147483646 w 608"/>
                  <a:gd name="T83" fmla="*/ 2147483646 h 720"/>
                  <a:gd name="T84" fmla="*/ 2147483646 w 608"/>
                  <a:gd name="T85" fmla="*/ 2147483646 h 720"/>
                  <a:gd name="T86" fmla="*/ 2147483646 w 608"/>
                  <a:gd name="T87" fmla="*/ 2147483646 h 720"/>
                  <a:gd name="T88" fmla="*/ 2147483646 w 608"/>
                  <a:gd name="T89" fmla="*/ 2147483646 h 720"/>
                  <a:gd name="T90" fmla="*/ 2147483646 w 608"/>
                  <a:gd name="T91" fmla="*/ 2147483646 h 720"/>
                  <a:gd name="T92" fmla="*/ 2147483646 w 608"/>
                  <a:gd name="T93" fmla="*/ 2147483646 h 720"/>
                  <a:gd name="T94" fmla="*/ 2147483646 w 608"/>
                  <a:gd name="T95" fmla="*/ 2147483646 h 720"/>
                  <a:gd name="T96" fmla="*/ 2147483646 w 608"/>
                  <a:gd name="T97" fmla="*/ 2147483646 h 720"/>
                  <a:gd name="T98" fmla="*/ 2147483646 w 608"/>
                  <a:gd name="T99" fmla="*/ 2147483646 h 720"/>
                  <a:gd name="T100" fmla="*/ 2147483646 w 608"/>
                  <a:gd name="T101" fmla="*/ 2147483646 h 720"/>
                  <a:gd name="T102" fmla="*/ 2147483646 w 608"/>
                  <a:gd name="T103" fmla="*/ 2147483646 h 720"/>
                  <a:gd name="T104" fmla="*/ 2147483646 w 608"/>
                  <a:gd name="T105" fmla="*/ 2147483646 h 720"/>
                  <a:gd name="T106" fmla="*/ 2147483646 w 608"/>
                  <a:gd name="T107" fmla="*/ 2147483646 h 7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8"/>
                  <a:gd name="T163" fmla="*/ 0 h 720"/>
                  <a:gd name="T164" fmla="*/ 608 w 608"/>
                  <a:gd name="T165" fmla="*/ 720 h 7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8" h="720">
                    <a:moveTo>
                      <a:pt x="544" y="696"/>
                    </a:moveTo>
                    <a:lnTo>
                      <a:pt x="520" y="640"/>
                    </a:lnTo>
                    <a:lnTo>
                      <a:pt x="552" y="560"/>
                    </a:lnTo>
                    <a:lnTo>
                      <a:pt x="512" y="536"/>
                    </a:lnTo>
                    <a:lnTo>
                      <a:pt x="496" y="456"/>
                    </a:lnTo>
                    <a:lnTo>
                      <a:pt x="456" y="480"/>
                    </a:lnTo>
                    <a:lnTo>
                      <a:pt x="432" y="456"/>
                    </a:lnTo>
                    <a:lnTo>
                      <a:pt x="496" y="384"/>
                    </a:lnTo>
                    <a:lnTo>
                      <a:pt x="576" y="416"/>
                    </a:lnTo>
                    <a:lnTo>
                      <a:pt x="592" y="400"/>
                    </a:lnTo>
                    <a:lnTo>
                      <a:pt x="576" y="352"/>
                    </a:lnTo>
                    <a:lnTo>
                      <a:pt x="600" y="336"/>
                    </a:lnTo>
                    <a:lnTo>
                      <a:pt x="608" y="280"/>
                    </a:lnTo>
                    <a:lnTo>
                      <a:pt x="592" y="264"/>
                    </a:lnTo>
                    <a:lnTo>
                      <a:pt x="560" y="280"/>
                    </a:lnTo>
                    <a:lnTo>
                      <a:pt x="560" y="240"/>
                    </a:lnTo>
                    <a:lnTo>
                      <a:pt x="496" y="264"/>
                    </a:lnTo>
                    <a:lnTo>
                      <a:pt x="488" y="224"/>
                    </a:lnTo>
                    <a:lnTo>
                      <a:pt x="456" y="240"/>
                    </a:lnTo>
                    <a:lnTo>
                      <a:pt x="432" y="208"/>
                    </a:lnTo>
                    <a:lnTo>
                      <a:pt x="384" y="184"/>
                    </a:lnTo>
                    <a:lnTo>
                      <a:pt x="352" y="208"/>
                    </a:lnTo>
                    <a:lnTo>
                      <a:pt x="304" y="136"/>
                    </a:lnTo>
                    <a:lnTo>
                      <a:pt x="240" y="160"/>
                    </a:lnTo>
                    <a:lnTo>
                      <a:pt x="184" y="72"/>
                    </a:lnTo>
                    <a:lnTo>
                      <a:pt x="192" y="16"/>
                    </a:lnTo>
                    <a:lnTo>
                      <a:pt x="144" y="0"/>
                    </a:lnTo>
                    <a:lnTo>
                      <a:pt x="144" y="64"/>
                    </a:lnTo>
                    <a:lnTo>
                      <a:pt x="112" y="80"/>
                    </a:lnTo>
                    <a:lnTo>
                      <a:pt x="120" y="136"/>
                    </a:lnTo>
                    <a:lnTo>
                      <a:pt x="88" y="152"/>
                    </a:lnTo>
                    <a:lnTo>
                      <a:pt x="80" y="96"/>
                    </a:lnTo>
                    <a:lnTo>
                      <a:pt x="56" y="144"/>
                    </a:lnTo>
                    <a:lnTo>
                      <a:pt x="16" y="152"/>
                    </a:lnTo>
                    <a:lnTo>
                      <a:pt x="0" y="224"/>
                    </a:lnTo>
                    <a:lnTo>
                      <a:pt x="32" y="256"/>
                    </a:lnTo>
                    <a:lnTo>
                      <a:pt x="40" y="320"/>
                    </a:lnTo>
                    <a:lnTo>
                      <a:pt x="72" y="344"/>
                    </a:lnTo>
                    <a:lnTo>
                      <a:pt x="72" y="408"/>
                    </a:lnTo>
                    <a:lnTo>
                      <a:pt x="112" y="416"/>
                    </a:lnTo>
                    <a:lnTo>
                      <a:pt x="112" y="448"/>
                    </a:lnTo>
                    <a:lnTo>
                      <a:pt x="168" y="440"/>
                    </a:lnTo>
                    <a:lnTo>
                      <a:pt x="184" y="512"/>
                    </a:lnTo>
                    <a:lnTo>
                      <a:pt x="232" y="528"/>
                    </a:lnTo>
                    <a:lnTo>
                      <a:pt x="248" y="568"/>
                    </a:lnTo>
                    <a:lnTo>
                      <a:pt x="216" y="576"/>
                    </a:lnTo>
                    <a:lnTo>
                      <a:pt x="256" y="640"/>
                    </a:lnTo>
                    <a:lnTo>
                      <a:pt x="288" y="688"/>
                    </a:lnTo>
                    <a:lnTo>
                      <a:pt x="368" y="664"/>
                    </a:lnTo>
                    <a:lnTo>
                      <a:pt x="440" y="696"/>
                    </a:lnTo>
                    <a:lnTo>
                      <a:pt x="472" y="664"/>
                    </a:lnTo>
                    <a:lnTo>
                      <a:pt x="504" y="672"/>
                    </a:lnTo>
                    <a:lnTo>
                      <a:pt x="504" y="720"/>
                    </a:lnTo>
                    <a:lnTo>
                      <a:pt x="544" y="696"/>
                    </a:lnTo>
                    <a:close/>
                  </a:path>
                </a:pathLst>
              </a:custGeom>
              <a:solidFill>
                <a:srgbClr val="9950A8"/>
              </a:solidFill>
              <a:ln w="9525">
                <a:solidFill>
                  <a:schemeClr val="bg1"/>
                </a:solidFill>
                <a:round/>
                <a:headEnd/>
                <a:tailEnd/>
              </a:ln>
            </p:spPr>
            <p:txBody>
              <a:bodyPr/>
              <a:lstStyle/>
              <a:p>
                <a:endParaRPr lang="en-US" sz="1050"/>
              </a:p>
            </p:txBody>
          </p:sp>
          <p:sp>
            <p:nvSpPr>
              <p:cNvPr id="126" name="Freeform 125"/>
              <p:cNvSpPr>
                <a:spLocks/>
              </p:cNvSpPr>
              <p:nvPr/>
            </p:nvSpPr>
            <p:spPr bwMode="auto">
              <a:xfrm>
                <a:off x="6155048" y="5055429"/>
                <a:ext cx="933408" cy="754732"/>
              </a:xfrm>
              <a:custGeom>
                <a:avLst/>
                <a:gdLst>
                  <a:gd name="T0" fmla="*/ 2147483646 w 792"/>
                  <a:gd name="T1" fmla="*/ 2147483646 h 696"/>
                  <a:gd name="T2" fmla="*/ 2147483646 w 792"/>
                  <a:gd name="T3" fmla="*/ 2147483646 h 696"/>
                  <a:gd name="T4" fmla="*/ 2147483646 w 792"/>
                  <a:gd name="T5" fmla="*/ 2147483646 h 696"/>
                  <a:gd name="T6" fmla="*/ 2147483646 w 792"/>
                  <a:gd name="T7" fmla="*/ 2147483646 h 696"/>
                  <a:gd name="T8" fmla="*/ 2147483646 w 792"/>
                  <a:gd name="T9" fmla="*/ 2147483646 h 696"/>
                  <a:gd name="T10" fmla="*/ 2147483646 w 792"/>
                  <a:gd name="T11" fmla="*/ 2147483646 h 696"/>
                  <a:gd name="T12" fmla="*/ 2147483646 w 792"/>
                  <a:gd name="T13" fmla="*/ 2147483646 h 696"/>
                  <a:gd name="T14" fmla="*/ 2147483646 w 792"/>
                  <a:gd name="T15" fmla="*/ 0 h 696"/>
                  <a:gd name="T16" fmla="*/ 2147483646 w 792"/>
                  <a:gd name="T17" fmla="*/ 2147483646 h 696"/>
                  <a:gd name="T18" fmla="*/ 2147483646 w 792"/>
                  <a:gd name="T19" fmla="*/ 2147483646 h 696"/>
                  <a:gd name="T20" fmla="*/ 2147483646 w 792"/>
                  <a:gd name="T21" fmla="*/ 2147483646 h 696"/>
                  <a:gd name="T22" fmla="*/ 2147483646 w 792"/>
                  <a:gd name="T23" fmla="*/ 2147483646 h 696"/>
                  <a:gd name="T24" fmla="*/ 2147483646 w 792"/>
                  <a:gd name="T25" fmla="*/ 2147483646 h 696"/>
                  <a:gd name="T26" fmla="*/ 2147483646 w 792"/>
                  <a:gd name="T27" fmla="*/ 2147483646 h 696"/>
                  <a:gd name="T28" fmla="*/ 2147483646 w 792"/>
                  <a:gd name="T29" fmla="*/ 2147483646 h 696"/>
                  <a:gd name="T30" fmla="*/ 2147483646 w 792"/>
                  <a:gd name="T31" fmla="*/ 2147483646 h 696"/>
                  <a:gd name="T32" fmla="*/ 2147483646 w 792"/>
                  <a:gd name="T33" fmla="*/ 2147483646 h 696"/>
                  <a:gd name="T34" fmla="*/ 2147483646 w 792"/>
                  <a:gd name="T35" fmla="*/ 2147483646 h 696"/>
                  <a:gd name="T36" fmla="*/ 2147483646 w 792"/>
                  <a:gd name="T37" fmla="*/ 2147483646 h 696"/>
                  <a:gd name="T38" fmla="*/ 2147483646 w 792"/>
                  <a:gd name="T39" fmla="*/ 2147483646 h 696"/>
                  <a:gd name="T40" fmla="*/ 2147483646 w 792"/>
                  <a:gd name="T41" fmla="*/ 2147483646 h 696"/>
                  <a:gd name="T42" fmla="*/ 2147483646 w 792"/>
                  <a:gd name="T43" fmla="*/ 2147483646 h 696"/>
                  <a:gd name="T44" fmla="*/ 2147483646 w 792"/>
                  <a:gd name="T45" fmla="*/ 2147483646 h 696"/>
                  <a:gd name="T46" fmla="*/ 0 w 792"/>
                  <a:gd name="T47" fmla="*/ 2147483646 h 696"/>
                  <a:gd name="T48" fmla="*/ 2147483646 w 792"/>
                  <a:gd name="T49" fmla="*/ 2147483646 h 696"/>
                  <a:gd name="T50" fmla="*/ 2147483646 w 792"/>
                  <a:gd name="T51" fmla="*/ 2147483646 h 696"/>
                  <a:gd name="T52" fmla="*/ 2147483646 w 792"/>
                  <a:gd name="T53" fmla="*/ 2147483646 h 696"/>
                  <a:gd name="T54" fmla="*/ 2147483646 w 792"/>
                  <a:gd name="T55" fmla="*/ 2147483646 h 696"/>
                  <a:gd name="T56" fmla="*/ 2147483646 w 792"/>
                  <a:gd name="T57" fmla="*/ 2147483646 h 696"/>
                  <a:gd name="T58" fmla="*/ 2147483646 w 792"/>
                  <a:gd name="T59" fmla="*/ 2147483646 h 696"/>
                  <a:gd name="T60" fmla="*/ 2147483646 w 792"/>
                  <a:gd name="T61" fmla="*/ 2147483646 h 696"/>
                  <a:gd name="T62" fmla="*/ 2147483646 w 792"/>
                  <a:gd name="T63" fmla="*/ 2147483646 h 696"/>
                  <a:gd name="T64" fmla="*/ 2147483646 w 792"/>
                  <a:gd name="T65" fmla="*/ 2147483646 h 696"/>
                  <a:gd name="T66" fmla="*/ 2147483646 w 792"/>
                  <a:gd name="T67" fmla="*/ 2147483646 h 696"/>
                  <a:gd name="T68" fmla="*/ 2147483646 w 792"/>
                  <a:gd name="T69" fmla="*/ 2147483646 h 696"/>
                  <a:gd name="T70" fmla="*/ 2147483646 w 792"/>
                  <a:gd name="T71" fmla="*/ 2147483646 h 696"/>
                  <a:gd name="T72" fmla="*/ 2147483646 w 792"/>
                  <a:gd name="T73" fmla="*/ 2147483646 h 696"/>
                  <a:gd name="T74" fmla="*/ 2147483646 w 792"/>
                  <a:gd name="T75" fmla="*/ 2147483646 h 696"/>
                  <a:gd name="T76" fmla="*/ 2147483646 w 792"/>
                  <a:gd name="T77" fmla="*/ 2147483646 h 696"/>
                  <a:gd name="T78" fmla="*/ 2147483646 w 792"/>
                  <a:gd name="T79" fmla="*/ 2147483646 h 696"/>
                  <a:gd name="T80" fmla="*/ 2147483646 w 792"/>
                  <a:gd name="T81" fmla="*/ 2147483646 h 696"/>
                  <a:gd name="T82" fmla="*/ 2147483646 w 792"/>
                  <a:gd name="T83" fmla="*/ 2147483646 h 696"/>
                  <a:gd name="T84" fmla="*/ 2147483646 w 792"/>
                  <a:gd name="T85" fmla="*/ 2147483646 h 696"/>
                  <a:gd name="T86" fmla="*/ 2147483646 w 792"/>
                  <a:gd name="T87" fmla="*/ 2147483646 h 696"/>
                  <a:gd name="T88" fmla="*/ 2147483646 w 792"/>
                  <a:gd name="T89" fmla="*/ 2147483646 h 696"/>
                  <a:gd name="T90" fmla="*/ 2147483646 w 792"/>
                  <a:gd name="T91" fmla="*/ 2147483646 h 696"/>
                  <a:gd name="T92" fmla="*/ 2147483646 w 792"/>
                  <a:gd name="T93" fmla="*/ 2147483646 h 696"/>
                  <a:gd name="T94" fmla="*/ 2147483646 w 792"/>
                  <a:gd name="T95" fmla="*/ 2147483646 h 696"/>
                  <a:gd name="T96" fmla="*/ 2147483646 w 792"/>
                  <a:gd name="T97" fmla="*/ 2147483646 h 696"/>
                  <a:gd name="T98" fmla="*/ 2147483646 w 792"/>
                  <a:gd name="T99" fmla="*/ 2147483646 h 696"/>
                  <a:gd name="T100" fmla="*/ 2147483646 w 792"/>
                  <a:gd name="T101" fmla="*/ 2147483646 h 696"/>
                  <a:gd name="T102" fmla="*/ 2147483646 w 792"/>
                  <a:gd name="T103" fmla="*/ 2147483646 h 696"/>
                  <a:gd name="T104" fmla="*/ 2147483646 w 792"/>
                  <a:gd name="T105" fmla="*/ 2147483646 h 696"/>
                  <a:gd name="T106" fmla="*/ 2147483646 w 792"/>
                  <a:gd name="T107" fmla="*/ 2147483646 h 696"/>
                  <a:gd name="T108" fmla="*/ 2147483646 w 792"/>
                  <a:gd name="T109" fmla="*/ 2147483646 h 696"/>
                  <a:gd name="T110" fmla="*/ 2147483646 w 792"/>
                  <a:gd name="T111" fmla="*/ 2147483646 h 696"/>
                  <a:gd name="T112" fmla="*/ 2147483646 w 792"/>
                  <a:gd name="T113" fmla="*/ 2147483646 h 696"/>
                  <a:gd name="T114" fmla="*/ 2147483646 w 792"/>
                  <a:gd name="T115" fmla="*/ 2147483646 h 696"/>
                  <a:gd name="T116" fmla="*/ 2147483646 w 792"/>
                  <a:gd name="T117" fmla="*/ 2147483646 h 696"/>
                  <a:gd name="T118" fmla="*/ 2147483646 w 792"/>
                  <a:gd name="T119" fmla="*/ 2147483646 h 696"/>
                  <a:gd name="T120" fmla="*/ 2147483646 w 792"/>
                  <a:gd name="T121" fmla="*/ 2147483646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696"/>
                  <a:gd name="T185" fmla="*/ 792 w 792"/>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696">
                    <a:moveTo>
                      <a:pt x="728" y="80"/>
                    </a:moveTo>
                    <a:lnTo>
                      <a:pt x="616" y="72"/>
                    </a:lnTo>
                    <a:lnTo>
                      <a:pt x="592" y="88"/>
                    </a:lnTo>
                    <a:lnTo>
                      <a:pt x="560" y="48"/>
                    </a:lnTo>
                    <a:lnTo>
                      <a:pt x="536" y="112"/>
                    </a:lnTo>
                    <a:lnTo>
                      <a:pt x="496" y="24"/>
                    </a:lnTo>
                    <a:lnTo>
                      <a:pt x="432" y="32"/>
                    </a:lnTo>
                    <a:lnTo>
                      <a:pt x="384" y="0"/>
                    </a:lnTo>
                    <a:lnTo>
                      <a:pt x="368" y="32"/>
                    </a:lnTo>
                    <a:lnTo>
                      <a:pt x="336" y="8"/>
                    </a:lnTo>
                    <a:lnTo>
                      <a:pt x="280" y="24"/>
                    </a:lnTo>
                    <a:lnTo>
                      <a:pt x="320" y="88"/>
                    </a:lnTo>
                    <a:lnTo>
                      <a:pt x="368" y="96"/>
                    </a:lnTo>
                    <a:lnTo>
                      <a:pt x="360" y="184"/>
                    </a:lnTo>
                    <a:lnTo>
                      <a:pt x="400" y="192"/>
                    </a:lnTo>
                    <a:lnTo>
                      <a:pt x="416" y="240"/>
                    </a:lnTo>
                    <a:lnTo>
                      <a:pt x="360" y="304"/>
                    </a:lnTo>
                    <a:lnTo>
                      <a:pt x="344" y="368"/>
                    </a:lnTo>
                    <a:lnTo>
                      <a:pt x="256" y="376"/>
                    </a:lnTo>
                    <a:lnTo>
                      <a:pt x="224" y="408"/>
                    </a:lnTo>
                    <a:lnTo>
                      <a:pt x="168" y="408"/>
                    </a:lnTo>
                    <a:lnTo>
                      <a:pt x="104" y="448"/>
                    </a:lnTo>
                    <a:lnTo>
                      <a:pt x="24" y="448"/>
                    </a:lnTo>
                    <a:lnTo>
                      <a:pt x="0" y="480"/>
                    </a:lnTo>
                    <a:lnTo>
                      <a:pt x="72" y="512"/>
                    </a:lnTo>
                    <a:lnTo>
                      <a:pt x="80" y="528"/>
                    </a:lnTo>
                    <a:lnTo>
                      <a:pt x="184" y="528"/>
                    </a:lnTo>
                    <a:lnTo>
                      <a:pt x="200" y="496"/>
                    </a:lnTo>
                    <a:lnTo>
                      <a:pt x="224" y="536"/>
                    </a:lnTo>
                    <a:lnTo>
                      <a:pt x="240" y="560"/>
                    </a:lnTo>
                    <a:lnTo>
                      <a:pt x="296" y="552"/>
                    </a:lnTo>
                    <a:lnTo>
                      <a:pt x="328" y="528"/>
                    </a:lnTo>
                    <a:lnTo>
                      <a:pt x="352" y="560"/>
                    </a:lnTo>
                    <a:lnTo>
                      <a:pt x="360" y="616"/>
                    </a:lnTo>
                    <a:lnTo>
                      <a:pt x="416" y="656"/>
                    </a:lnTo>
                    <a:lnTo>
                      <a:pt x="488" y="688"/>
                    </a:lnTo>
                    <a:lnTo>
                      <a:pt x="560" y="688"/>
                    </a:lnTo>
                    <a:lnTo>
                      <a:pt x="656" y="696"/>
                    </a:lnTo>
                    <a:lnTo>
                      <a:pt x="656" y="648"/>
                    </a:lnTo>
                    <a:lnTo>
                      <a:pt x="672" y="576"/>
                    </a:lnTo>
                    <a:lnTo>
                      <a:pt x="688" y="512"/>
                    </a:lnTo>
                    <a:lnTo>
                      <a:pt x="664" y="448"/>
                    </a:lnTo>
                    <a:lnTo>
                      <a:pt x="688" y="408"/>
                    </a:lnTo>
                    <a:lnTo>
                      <a:pt x="696" y="376"/>
                    </a:lnTo>
                    <a:lnTo>
                      <a:pt x="656" y="360"/>
                    </a:lnTo>
                    <a:lnTo>
                      <a:pt x="656" y="312"/>
                    </a:lnTo>
                    <a:lnTo>
                      <a:pt x="688" y="288"/>
                    </a:lnTo>
                    <a:lnTo>
                      <a:pt x="696" y="264"/>
                    </a:lnTo>
                    <a:lnTo>
                      <a:pt x="720" y="232"/>
                    </a:lnTo>
                    <a:lnTo>
                      <a:pt x="752" y="192"/>
                    </a:lnTo>
                    <a:lnTo>
                      <a:pt x="768" y="144"/>
                    </a:lnTo>
                    <a:lnTo>
                      <a:pt x="792" y="112"/>
                    </a:lnTo>
                    <a:lnTo>
                      <a:pt x="768" y="128"/>
                    </a:lnTo>
                    <a:lnTo>
                      <a:pt x="736" y="168"/>
                    </a:lnTo>
                    <a:lnTo>
                      <a:pt x="712" y="208"/>
                    </a:lnTo>
                    <a:lnTo>
                      <a:pt x="712" y="152"/>
                    </a:lnTo>
                    <a:lnTo>
                      <a:pt x="696" y="144"/>
                    </a:lnTo>
                    <a:lnTo>
                      <a:pt x="720" y="128"/>
                    </a:lnTo>
                    <a:lnTo>
                      <a:pt x="704" y="96"/>
                    </a:lnTo>
                    <a:lnTo>
                      <a:pt x="720" y="96"/>
                    </a:lnTo>
                    <a:lnTo>
                      <a:pt x="728" y="80"/>
                    </a:lnTo>
                    <a:close/>
                  </a:path>
                </a:pathLst>
              </a:custGeom>
              <a:solidFill>
                <a:srgbClr val="C6CFEB"/>
              </a:solidFill>
              <a:ln w="9525">
                <a:solidFill>
                  <a:schemeClr val="bg1"/>
                </a:solidFill>
                <a:round/>
                <a:headEnd/>
                <a:tailEnd/>
              </a:ln>
            </p:spPr>
            <p:txBody>
              <a:bodyPr/>
              <a:lstStyle/>
              <a:p>
                <a:endParaRPr lang="en-US" sz="1050"/>
              </a:p>
            </p:txBody>
          </p:sp>
          <p:sp>
            <p:nvSpPr>
              <p:cNvPr id="127" name="Freeform 126"/>
              <p:cNvSpPr>
                <a:spLocks/>
              </p:cNvSpPr>
              <p:nvPr/>
            </p:nvSpPr>
            <p:spPr bwMode="auto">
              <a:xfrm>
                <a:off x="5589346" y="5020729"/>
                <a:ext cx="1055976" cy="364353"/>
              </a:xfrm>
              <a:custGeom>
                <a:avLst/>
                <a:gdLst>
                  <a:gd name="T0" fmla="*/ 2147483646 w 896"/>
                  <a:gd name="T1" fmla="*/ 2147483646 h 336"/>
                  <a:gd name="T2" fmla="*/ 2147483646 w 896"/>
                  <a:gd name="T3" fmla="*/ 2147483646 h 336"/>
                  <a:gd name="T4" fmla="*/ 2147483646 w 896"/>
                  <a:gd name="T5" fmla="*/ 2147483646 h 336"/>
                  <a:gd name="T6" fmla="*/ 2147483646 w 896"/>
                  <a:gd name="T7" fmla="*/ 2147483646 h 336"/>
                  <a:gd name="T8" fmla="*/ 2147483646 w 896"/>
                  <a:gd name="T9" fmla="*/ 2147483646 h 336"/>
                  <a:gd name="T10" fmla="*/ 2147483646 w 896"/>
                  <a:gd name="T11" fmla="*/ 2147483646 h 336"/>
                  <a:gd name="T12" fmla="*/ 2147483646 w 896"/>
                  <a:gd name="T13" fmla="*/ 2147483646 h 336"/>
                  <a:gd name="T14" fmla="*/ 2147483646 w 896"/>
                  <a:gd name="T15" fmla="*/ 2147483646 h 336"/>
                  <a:gd name="T16" fmla="*/ 2147483646 w 896"/>
                  <a:gd name="T17" fmla="*/ 2147483646 h 336"/>
                  <a:gd name="T18" fmla="*/ 2147483646 w 896"/>
                  <a:gd name="T19" fmla="*/ 2147483646 h 336"/>
                  <a:gd name="T20" fmla="*/ 2147483646 w 896"/>
                  <a:gd name="T21" fmla="*/ 2147483646 h 336"/>
                  <a:gd name="T22" fmla="*/ 2147483646 w 896"/>
                  <a:gd name="T23" fmla="*/ 2147483646 h 336"/>
                  <a:gd name="T24" fmla="*/ 2147483646 w 896"/>
                  <a:gd name="T25" fmla="*/ 2147483646 h 336"/>
                  <a:gd name="T26" fmla="*/ 2147483646 w 896"/>
                  <a:gd name="T27" fmla="*/ 2147483646 h 336"/>
                  <a:gd name="T28" fmla="*/ 2147483646 w 896"/>
                  <a:gd name="T29" fmla="*/ 2147483646 h 336"/>
                  <a:gd name="T30" fmla="*/ 2147483646 w 896"/>
                  <a:gd name="T31" fmla="*/ 2147483646 h 336"/>
                  <a:gd name="T32" fmla="*/ 2147483646 w 896"/>
                  <a:gd name="T33" fmla="*/ 2147483646 h 336"/>
                  <a:gd name="T34" fmla="*/ 2147483646 w 896"/>
                  <a:gd name="T35" fmla="*/ 2147483646 h 336"/>
                  <a:gd name="T36" fmla="*/ 2147483646 w 896"/>
                  <a:gd name="T37" fmla="*/ 2147483646 h 336"/>
                  <a:gd name="T38" fmla="*/ 2147483646 w 896"/>
                  <a:gd name="T39" fmla="*/ 2147483646 h 336"/>
                  <a:gd name="T40" fmla="*/ 2147483646 w 896"/>
                  <a:gd name="T41" fmla="*/ 2147483646 h 336"/>
                  <a:gd name="T42" fmla="*/ 2147483646 w 896"/>
                  <a:gd name="T43" fmla="*/ 2147483646 h 336"/>
                  <a:gd name="T44" fmla="*/ 2147483646 w 896"/>
                  <a:gd name="T45" fmla="*/ 0 h 336"/>
                  <a:gd name="T46" fmla="*/ 2147483646 w 896"/>
                  <a:gd name="T47" fmla="*/ 2147483646 h 336"/>
                  <a:gd name="T48" fmla="*/ 2147483646 w 896"/>
                  <a:gd name="T49" fmla="*/ 2147483646 h 336"/>
                  <a:gd name="T50" fmla="*/ 2147483646 w 896"/>
                  <a:gd name="T51" fmla="*/ 2147483646 h 336"/>
                  <a:gd name="T52" fmla="*/ 0 w 896"/>
                  <a:gd name="T53" fmla="*/ 2147483646 h 336"/>
                  <a:gd name="T54" fmla="*/ 2147483646 w 896"/>
                  <a:gd name="T55" fmla="*/ 2147483646 h 336"/>
                  <a:gd name="T56" fmla="*/ 2147483646 w 896"/>
                  <a:gd name="T57" fmla="*/ 2147483646 h 336"/>
                  <a:gd name="T58" fmla="*/ 2147483646 w 896"/>
                  <a:gd name="T59" fmla="*/ 2147483646 h 336"/>
                  <a:gd name="T60" fmla="*/ 2147483646 w 896"/>
                  <a:gd name="T61" fmla="*/ 2147483646 h 336"/>
                  <a:gd name="T62" fmla="*/ 2147483646 w 896"/>
                  <a:gd name="T63" fmla="*/ 2147483646 h 336"/>
                  <a:gd name="T64" fmla="*/ 2147483646 w 896"/>
                  <a:gd name="T65" fmla="*/ 2147483646 h 336"/>
                  <a:gd name="T66" fmla="*/ 2147483646 w 896"/>
                  <a:gd name="T67" fmla="*/ 2147483646 h 336"/>
                  <a:gd name="T68" fmla="*/ 2147483646 w 896"/>
                  <a:gd name="T69" fmla="*/ 2147483646 h 336"/>
                  <a:gd name="T70" fmla="*/ 2147483646 w 896"/>
                  <a:gd name="T71" fmla="*/ 2147483646 h 336"/>
                  <a:gd name="T72" fmla="*/ 2147483646 w 896"/>
                  <a:gd name="T73" fmla="*/ 2147483646 h 336"/>
                  <a:gd name="T74" fmla="*/ 2147483646 w 896"/>
                  <a:gd name="T75" fmla="*/ 2147483646 h 336"/>
                  <a:gd name="T76" fmla="*/ 2147483646 w 896"/>
                  <a:gd name="T77" fmla="*/ 2147483646 h 336"/>
                  <a:gd name="T78" fmla="*/ 2147483646 w 896"/>
                  <a:gd name="T79" fmla="*/ 2147483646 h 336"/>
                  <a:gd name="T80" fmla="*/ 2147483646 w 896"/>
                  <a:gd name="T81" fmla="*/ 2147483646 h 336"/>
                  <a:gd name="T82" fmla="*/ 2147483646 w 896"/>
                  <a:gd name="T83" fmla="*/ 2147483646 h 336"/>
                  <a:gd name="T84" fmla="*/ 2147483646 w 896"/>
                  <a:gd name="T85" fmla="*/ 2147483646 h 336"/>
                  <a:gd name="T86" fmla="*/ 2147483646 w 896"/>
                  <a:gd name="T87" fmla="*/ 2147483646 h 336"/>
                  <a:gd name="T88" fmla="*/ 2147483646 w 896"/>
                  <a:gd name="T89" fmla="*/ 2147483646 h 336"/>
                  <a:gd name="T90" fmla="*/ 2147483646 w 896"/>
                  <a:gd name="T91" fmla="*/ 2147483646 h 336"/>
                  <a:gd name="T92" fmla="*/ 2147483646 w 896"/>
                  <a:gd name="T93" fmla="*/ 2147483646 h 336"/>
                  <a:gd name="T94" fmla="*/ 2147483646 w 896"/>
                  <a:gd name="T95" fmla="*/ 2147483646 h 336"/>
                  <a:gd name="T96" fmla="*/ 2147483646 w 896"/>
                  <a:gd name="T97" fmla="*/ 2147483646 h 3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6"/>
                  <a:gd name="T148" fmla="*/ 0 h 336"/>
                  <a:gd name="T149" fmla="*/ 896 w 896"/>
                  <a:gd name="T150" fmla="*/ 336 h 3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6" h="336">
                    <a:moveTo>
                      <a:pt x="840" y="336"/>
                    </a:moveTo>
                    <a:lnTo>
                      <a:pt x="896" y="272"/>
                    </a:lnTo>
                    <a:lnTo>
                      <a:pt x="880" y="224"/>
                    </a:lnTo>
                    <a:lnTo>
                      <a:pt x="840" y="216"/>
                    </a:lnTo>
                    <a:lnTo>
                      <a:pt x="848" y="128"/>
                    </a:lnTo>
                    <a:lnTo>
                      <a:pt x="800" y="120"/>
                    </a:lnTo>
                    <a:lnTo>
                      <a:pt x="760" y="56"/>
                    </a:lnTo>
                    <a:lnTo>
                      <a:pt x="744" y="16"/>
                    </a:lnTo>
                    <a:lnTo>
                      <a:pt x="696" y="56"/>
                    </a:lnTo>
                    <a:lnTo>
                      <a:pt x="624" y="40"/>
                    </a:lnTo>
                    <a:lnTo>
                      <a:pt x="584" y="8"/>
                    </a:lnTo>
                    <a:lnTo>
                      <a:pt x="568" y="48"/>
                    </a:lnTo>
                    <a:lnTo>
                      <a:pt x="536" y="8"/>
                    </a:lnTo>
                    <a:lnTo>
                      <a:pt x="504" y="16"/>
                    </a:lnTo>
                    <a:lnTo>
                      <a:pt x="496" y="48"/>
                    </a:lnTo>
                    <a:lnTo>
                      <a:pt x="456" y="56"/>
                    </a:lnTo>
                    <a:lnTo>
                      <a:pt x="424" y="80"/>
                    </a:lnTo>
                    <a:lnTo>
                      <a:pt x="424" y="32"/>
                    </a:lnTo>
                    <a:lnTo>
                      <a:pt x="392" y="24"/>
                    </a:lnTo>
                    <a:lnTo>
                      <a:pt x="360" y="56"/>
                    </a:lnTo>
                    <a:lnTo>
                      <a:pt x="280" y="24"/>
                    </a:lnTo>
                    <a:lnTo>
                      <a:pt x="208" y="48"/>
                    </a:lnTo>
                    <a:lnTo>
                      <a:pt x="176" y="0"/>
                    </a:lnTo>
                    <a:lnTo>
                      <a:pt x="136" y="8"/>
                    </a:lnTo>
                    <a:lnTo>
                      <a:pt x="120" y="40"/>
                    </a:lnTo>
                    <a:lnTo>
                      <a:pt x="32" y="48"/>
                    </a:lnTo>
                    <a:lnTo>
                      <a:pt x="0" y="88"/>
                    </a:lnTo>
                    <a:lnTo>
                      <a:pt x="24" y="136"/>
                    </a:lnTo>
                    <a:lnTo>
                      <a:pt x="24" y="192"/>
                    </a:lnTo>
                    <a:lnTo>
                      <a:pt x="64" y="208"/>
                    </a:lnTo>
                    <a:lnTo>
                      <a:pt x="128" y="200"/>
                    </a:lnTo>
                    <a:lnTo>
                      <a:pt x="160" y="216"/>
                    </a:lnTo>
                    <a:lnTo>
                      <a:pt x="176" y="272"/>
                    </a:lnTo>
                    <a:lnTo>
                      <a:pt x="256" y="248"/>
                    </a:lnTo>
                    <a:lnTo>
                      <a:pt x="296" y="192"/>
                    </a:lnTo>
                    <a:lnTo>
                      <a:pt x="312" y="224"/>
                    </a:lnTo>
                    <a:lnTo>
                      <a:pt x="392" y="208"/>
                    </a:lnTo>
                    <a:lnTo>
                      <a:pt x="400" y="248"/>
                    </a:lnTo>
                    <a:lnTo>
                      <a:pt x="480" y="240"/>
                    </a:lnTo>
                    <a:lnTo>
                      <a:pt x="512" y="256"/>
                    </a:lnTo>
                    <a:lnTo>
                      <a:pt x="536" y="224"/>
                    </a:lnTo>
                    <a:lnTo>
                      <a:pt x="576" y="264"/>
                    </a:lnTo>
                    <a:lnTo>
                      <a:pt x="616" y="224"/>
                    </a:lnTo>
                    <a:lnTo>
                      <a:pt x="624" y="272"/>
                    </a:lnTo>
                    <a:lnTo>
                      <a:pt x="656" y="256"/>
                    </a:lnTo>
                    <a:lnTo>
                      <a:pt x="704" y="288"/>
                    </a:lnTo>
                    <a:lnTo>
                      <a:pt x="760" y="328"/>
                    </a:lnTo>
                    <a:lnTo>
                      <a:pt x="776" y="312"/>
                    </a:lnTo>
                    <a:lnTo>
                      <a:pt x="840" y="336"/>
                    </a:lnTo>
                    <a:close/>
                  </a:path>
                </a:pathLst>
              </a:custGeom>
              <a:solidFill>
                <a:srgbClr val="9950A8"/>
              </a:solidFill>
              <a:ln w="9525">
                <a:solidFill>
                  <a:schemeClr val="bg1"/>
                </a:solidFill>
                <a:round/>
                <a:headEnd/>
                <a:tailEnd/>
              </a:ln>
            </p:spPr>
            <p:txBody>
              <a:bodyPr/>
              <a:lstStyle/>
              <a:p>
                <a:endParaRPr lang="en-US" sz="1050"/>
              </a:p>
            </p:txBody>
          </p:sp>
          <p:sp>
            <p:nvSpPr>
              <p:cNvPr id="128" name="Freeform 127"/>
              <p:cNvSpPr>
                <a:spLocks/>
              </p:cNvSpPr>
              <p:nvPr/>
            </p:nvSpPr>
            <p:spPr bwMode="auto">
              <a:xfrm>
                <a:off x="5598775" y="5228931"/>
                <a:ext cx="980549" cy="390378"/>
              </a:xfrm>
              <a:custGeom>
                <a:avLst/>
                <a:gdLst>
                  <a:gd name="T0" fmla="*/ 2147483646 w 832"/>
                  <a:gd name="T1" fmla="*/ 2147483646 h 360"/>
                  <a:gd name="T2" fmla="*/ 2147483646 w 832"/>
                  <a:gd name="T3" fmla="*/ 2147483646 h 360"/>
                  <a:gd name="T4" fmla="*/ 2147483646 w 832"/>
                  <a:gd name="T5" fmla="*/ 2147483646 h 360"/>
                  <a:gd name="T6" fmla="*/ 2147483646 w 832"/>
                  <a:gd name="T7" fmla="*/ 2147483646 h 360"/>
                  <a:gd name="T8" fmla="*/ 2147483646 w 832"/>
                  <a:gd name="T9" fmla="*/ 2147483646 h 360"/>
                  <a:gd name="T10" fmla="*/ 2147483646 w 832"/>
                  <a:gd name="T11" fmla="*/ 2147483646 h 360"/>
                  <a:gd name="T12" fmla="*/ 2147483646 w 832"/>
                  <a:gd name="T13" fmla="*/ 2147483646 h 360"/>
                  <a:gd name="T14" fmla="*/ 2147483646 w 832"/>
                  <a:gd name="T15" fmla="*/ 2147483646 h 360"/>
                  <a:gd name="T16" fmla="*/ 2147483646 w 832"/>
                  <a:gd name="T17" fmla="*/ 2147483646 h 360"/>
                  <a:gd name="T18" fmla="*/ 2147483646 w 832"/>
                  <a:gd name="T19" fmla="*/ 2147483646 h 360"/>
                  <a:gd name="T20" fmla="*/ 2147483646 w 832"/>
                  <a:gd name="T21" fmla="*/ 2147483646 h 360"/>
                  <a:gd name="T22" fmla="*/ 2147483646 w 832"/>
                  <a:gd name="T23" fmla="*/ 2147483646 h 360"/>
                  <a:gd name="T24" fmla="*/ 2147483646 w 832"/>
                  <a:gd name="T25" fmla="*/ 2147483646 h 360"/>
                  <a:gd name="T26" fmla="*/ 2147483646 w 832"/>
                  <a:gd name="T27" fmla="*/ 2147483646 h 360"/>
                  <a:gd name="T28" fmla="*/ 2147483646 w 832"/>
                  <a:gd name="T29" fmla="*/ 2147483646 h 360"/>
                  <a:gd name="T30" fmla="*/ 2147483646 w 832"/>
                  <a:gd name="T31" fmla="*/ 2147483646 h 360"/>
                  <a:gd name="T32" fmla="*/ 2147483646 w 832"/>
                  <a:gd name="T33" fmla="*/ 2147483646 h 360"/>
                  <a:gd name="T34" fmla="*/ 2147483646 w 832"/>
                  <a:gd name="T35" fmla="*/ 2147483646 h 360"/>
                  <a:gd name="T36" fmla="*/ 2147483646 w 832"/>
                  <a:gd name="T37" fmla="*/ 2147483646 h 360"/>
                  <a:gd name="T38" fmla="*/ 2147483646 w 832"/>
                  <a:gd name="T39" fmla="*/ 2147483646 h 360"/>
                  <a:gd name="T40" fmla="*/ 2147483646 w 832"/>
                  <a:gd name="T41" fmla="*/ 0 h 360"/>
                  <a:gd name="T42" fmla="*/ 2147483646 w 832"/>
                  <a:gd name="T43" fmla="*/ 2147483646 h 360"/>
                  <a:gd name="T44" fmla="*/ 2147483646 w 832"/>
                  <a:gd name="T45" fmla="*/ 2147483646 h 360"/>
                  <a:gd name="T46" fmla="*/ 2147483646 w 832"/>
                  <a:gd name="T47" fmla="*/ 2147483646 h 360"/>
                  <a:gd name="T48" fmla="*/ 2147483646 w 832"/>
                  <a:gd name="T49" fmla="*/ 2147483646 h 360"/>
                  <a:gd name="T50" fmla="*/ 2147483646 w 832"/>
                  <a:gd name="T51" fmla="*/ 2147483646 h 360"/>
                  <a:gd name="T52" fmla="*/ 2147483646 w 832"/>
                  <a:gd name="T53" fmla="*/ 2147483646 h 360"/>
                  <a:gd name="T54" fmla="*/ 2147483646 w 832"/>
                  <a:gd name="T55" fmla="*/ 2147483646 h 360"/>
                  <a:gd name="T56" fmla="*/ 2147483646 w 832"/>
                  <a:gd name="T57" fmla="*/ 2147483646 h 360"/>
                  <a:gd name="T58" fmla="*/ 0 w 832"/>
                  <a:gd name="T59" fmla="*/ 2147483646 h 360"/>
                  <a:gd name="T60" fmla="*/ 2147483646 w 832"/>
                  <a:gd name="T61" fmla="*/ 2147483646 h 360"/>
                  <a:gd name="T62" fmla="*/ 2147483646 w 832"/>
                  <a:gd name="T63" fmla="*/ 2147483646 h 360"/>
                  <a:gd name="T64" fmla="*/ 2147483646 w 832"/>
                  <a:gd name="T65" fmla="*/ 2147483646 h 360"/>
                  <a:gd name="T66" fmla="*/ 2147483646 w 832"/>
                  <a:gd name="T67" fmla="*/ 2147483646 h 360"/>
                  <a:gd name="T68" fmla="*/ 2147483646 w 832"/>
                  <a:gd name="T69" fmla="*/ 2147483646 h 360"/>
                  <a:gd name="T70" fmla="*/ 2147483646 w 832"/>
                  <a:gd name="T71" fmla="*/ 2147483646 h 360"/>
                  <a:gd name="T72" fmla="*/ 2147483646 w 832"/>
                  <a:gd name="T73" fmla="*/ 2147483646 h 360"/>
                  <a:gd name="T74" fmla="*/ 2147483646 w 832"/>
                  <a:gd name="T75" fmla="*/ 2147483646 h 360"/>
                  <a:gd name="T76" fmla="*/ 2147483646 w 832"/>
                  <a:gd name="T77" fmla="*/ 2147483646 h 360"/>
                  <a:gd name="T78" fmla="*/ 2147483646 w 832"/>
                  <a:gd name="T79" fmla="*/ 2147483646 h 360"/>
                  <a:gd name="T80" fmla="*/ 2147483646 w 832"/>
                  <a:gd name="T81" fmla="*/ 2147483646 h 360"/>
                  <a:gd name="T82" fmla="*/ 2147483646 w 832"/>
                  <a:gd name="T83" fmla="*/ 2147483646 h 3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2"/>
                  <a:gd name="T127" fmla="*/ 0 h 360"/>
                  <a:gd name="T128" fmla="*/ 832 w 832"/>
                  <a:gd name="T129" fmla="*/ 360 h 3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2" h="360">
                    <a:moveTo>
                      <a:pt x="472" y="320"/>
                    </a:moveTo>
                    <a:lnTo>
                      <a:pt x="496" y="288"/>
                    </a:lnTo>
                    <a:lnTo>
                      <a:pt x="576" y="288"/>
                    </a:lnTo>
                    <a:lnTo>
                      <a:pt x="640" y="248"/>
                    </a:lnTo>
                    <a:lnTo>
                      <a:pt x="696" y="248"/>
                    </a:lnTo>
                    <a:lnTo>
                      <a:pt x="728" y="216"/>
                    </a:lnTo>
                    <a:lnTo>
                      <a:pt x="816" y="208"/>
                    </a:lnTo>
                    <a:lnTo>
                      <a:pt x="832" y="144"/>
                    </a:lnTo>
                    <a:lnTo>
                      <a:pt x="768" y="120"/>
                    </a:lnTo>
                    <a:lnTo>
                      <a:pt x="752" y="136"/>
                    </a:lnTo>
                    <a:lnTo>
                      <a:pt x="648" y="64"/>
                    </a:lnTo>
                    <a:lnTo>
                      <a:pt x="616" y="80"/>
                    </a:lnTo>
                    <a:lnTo>
                      <a:pt x="608" y="32"/>
                    </a:lnTo>
                    <a:lnTo>
                      <a:pt x="568" y="72"/>
                    </a:lnTo>
                    <a:lnTo>
                      <a:pt x="528" y="32"/>
                    </a:lnTo>
                    <a:lnTo>
                      <a:pt x="504" y="64"/>
                    </a:lnTo>
                    <a:lnTo>
                      <a:pt x="472" y="48"/>
                    </a:lnTo>
                    <a:lnTo>
                      <a:pt x="392" y="56"/>
                    </a:lnTo>
                    <a:lnTo>
                      <a:pt x="384" y="16"/>
                    </a:lnTo>
                    <a:lnTo>
                      <a:pt x="304" y="32"/>
                    </a:lnTo>
                    <a:lnTo>
                      <a:pt x="288" y="0"/>
                    </a:lnTo>
                    <a:lnTo>
                      <a:pt x="248" y="56"/>
                    </a:lnTo>
                    <a:lnTo>
                      <a:pt x="168" y="80"/>
                    </a:lnTo>
                    <a:lnTo>
                      <a:pt x="152" y="24"/>
                    </a:lnTo>
                    <a:lnTo>
                      <a:pt x="120" y="8"/>
                    </a:lnTo>
                    <a:lnTo>
                      <a:pt x="40" y="8"/>
                    </a:lnTo>
                    <a:lnTo>
                      <a:pt x="56" y="48"/>
                    </a:lnTo>
                    <a:lnTo>
                      <a:pt x="96" y="80"/>
                    </a:lnTo>
                    <a:lnTo>
                      <a:pt x="32" y="120"/>
                    </a:lnTo>
                    <a:lnTo>
                      <a:pt x="0" y="160"/>
                    </a:lnTo>
                    <a:lnTo>
                      <a:pt x="16" y="200"/>
                    </a:lnTo>
                    <a:lnTo>
                      <a:pt x="48" y="192"/>
                    </a:lnTo>
                    <a:lnTo>
                      <a:pt x="112" y="272"/>
                    </a:lnTo>
                    <a:lnTo>
                      <a:pt x="64" y="360"/>
                    </a:lnTo>
                    <a:lnTo>
                      <a:pt x="160" y="352"/>
                    </a:lnTo>
                    <a:lnTo>
                      <a:pt x="224" y="328"/>
                    </a:lnTo>
                    <a:lnTo>
                      <a:pt x="248" y="336"/>
                    </a:lnTo>
                    <a:lnTo>
                      <a:pt x="288" y="304"/>
                    </a:lnTo>
                    <a:lnTo>
                      <a:pt x="328" y="288"/>
                    </a:lnTo>
                    <a:lnTo>
                      <a:pt x="384" y="288"/>
                    </a:lnTo>
                    <a:lnTo>
                      <a:pt x="440" y="296"/>
                    </a:lnTo>
                    <a:lnTo>
                      <a:pt x="472" y="320"/>
                    </a:lnTo>
                    <a:close/>
                  </a:path>
                </a:pathLst>
              </a:custGeom>
              <a:solidFill>
                <a:srgbClr val="9950A8"/>
              </a:solidFill>
              <a:ln w="9525">
                <a:solidFill>
                  <a:schemeClr val="bg1"/>
                </a:solidFill>
                <a:round/>
                <a:headEnd/>
                <a:tailEnd/>
              </a:ln>
            </p:spPr>
            <p:txBody>
              <a:bodyPr/>
              <a:lstStyle/>
              <a:p>
                <a:endParaRPr lang="en-US" sz="1050"/>
              </a:p>
            </p:txBody>
          </p:sp>
          <p:sp>
            <p:nvSpPr>
              <p:cNvPr id="129" name="Freeform 128"/>
              <p:cNvSpPr>
                <a:spLocks/>
              </p:cNvSpPr>
              <p:nvPr/>
            </p:nvSpPr>
            <p:spPr bwMode="auto">
              <a:xfrm>
                <a:off x="5391351" y="5098804"/>
                <a:ext cx="320564" cy="338328"/>
              </a:xfrm>
              <a:custGeom>
                <a:avLst/>
                <a:gdLst>
                  <a:gd name="T0" fmla="*/ 2147483646 w 272"/>
                  <a:gd name="T1" fmla="*/ 2147483646 h 312"/>
                  <a:gd name="T2" fmla="*/ 2147483646 w 272"/>
                  <a:gd name="T3" fmla="*/ 2147483646 h 312"/>
                  <a:gd name="T4" fmla="*/ 2147483646 w 272"/>
                  <a:gd name="T5" fmla="*/ 2147483646 h 312"/>
                  <a:gd name="T6" fmla="*/ 2147483646 w 272"/>
                  <a:gd name="T7" fmla="*/ 2147483646 h 312"/>
                  <a:gd name="T8" fmla="*/ 2147483646 w 272"/>
                  <a:gd name="T9" fmla="*/ 2147483646 h 312"/>
                  <a:gd name="T10" fmla="*/ 2147483646 w 272"/>
                  <a:gd name="T11" fmla="*/ 2147483646 h 312"/>
                  <a:gd name="T12" fmla="*/ 2147483646 w 272"/>
                  <a:gd name="T13" fmla="*/ 2147483646 h 312"/>
                  <a:gd name="T14" fmla="*/ 2147483646 w 272"/>
                  <a:gd name="T15" fmla="*/ 2147483646 h 312"/>
                  <a:gd name="T16" fmla="*/ 2147483646 w 272"/>
                  <a:gd name="T17" fmla="*/ 0 h 312"/>
                  <a:gd name="T18" fmla="*/ 2147483646 w 272"/>
                  <a:gd name="T19" fmla="*/ 2147483646 h 312"/>
                  <a:gd name="T20" fmla="*/ 2147483646 w 272"/>
                  <a:gd name="T21" fmla="*/ 2147483646 h 312"/>
                  <a:gd name="T22" fmla="*/ 2147483646 w 272"/>
                  <a:gd name="T23" fmla="*/ 2147483646 h 312"/>
                  <a:gd name="T24" fmla="*/ 2147483646 w 272"/>
                  <a:gd name="T25" fmla="*/ 2147483646 h 312"/>
                  <a:gd name="T26" fmla="*/ 2147483646 w 272"/>
                  <a:gd name="T27" fmla="*/ 2147483646 h 312"/>
                  <a:gd name="T28" fmla="*/ 0 w 272"/>
                  <a:gd name="T29" fmla="*/ 2147483646 h 312"/>
                  <a:gd name="T30" fmla="*/ 2147483646 w 272"/>
                  <a:gd name="T31" fmla="*/ 2147483646 h 312"/>
                  <a:gd name="T32" fmla="*/ 2147483646 w 272"/>
                  <a:gd name="T33" fmla="*/ 2147483646 h 312"/>
                  <a:gd name="T34" fmla="*/ 2147483646 w 272"/>
                  <a:gd name="T35" fmla="*/ 2147483646 h 312"/>
                  <a:gd name="T36" fmla="*/ 2147483646 w 272"/>
                  <a:gd name="T37" fmla="*/ 2147483646 h 312"/>
                  <a:gd name="T38" fmla="*/ 2147483646 w 272"/>
                  <a:gd name="T39" fmla="*/ 2147483646 h 312"/>
                  <a:gd name="T40" fmla="*/ 2147483646 w 272"/>
                  <a:gd name="T41" fmla="*/ 2147483646 h 312"/>
                  <a:gd name="T42" fmla="*/ 2147483646 w 272"/>
                  <a:gd name="T43" fmla="*/ 2147483646 h 312"/>
                  <a:gd name="T44" fmla="*/ 2147483646 w 272"/>
                  <a:gd name="T45" fmla="*/ 2147483646 h 312"/>
                  <a:gd name="T46" fmla="*/ 2147483646 w 272"/>
                  <a:gd name="T47" fmla="*/ 2147483646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2"/>
                  <a:gd name="T73" fmla="*/ 0 h 312"/>
                  <a:gd name="T74" fmla="*/ 272 w 272"/>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2" h="312">
                    <a:moveTo>
                      <a:pt x="184" y="288"/>
                    </a:moveTo>
                    <a:lnTo>
                      <a:pt x="216" y="240"/>
                    </a:lnTo>
                    <a:lnTo>
                      <a:pt x="272" y="200"/>
                    </a:lnTo>
                    <a:lnTo>
                      <a:pt x="232" y="176"/>
                    </a:lnTo>
                    <a:lnTo>
                      <a:pt x="216" y="136"/>
                    </a:lnTo>
                    <a:lnTo>
                      <a:pt x="200" y="120"/>
                    </a:lnTo>
                    <a:lnTo>
                      <a:pt x="192" y="72"/>
                    </a:lnTo>
                    <a:lnTo>
                      <a:pt x="168" y="16"/>
                    </a:lnTo>
                    <a:lnTo>
                      <a:pt x="136" y="0"/>
                    </a:lnTo>
                    <a:lnTo>
                      <a:pt x="112" y="16"/>
                    </a:lnTo>
                    <a:lnTo>
                      <a:pt x="24" y="24"/>
                    </a:lnTo>
                    <a:lnTo>
                      <a:pt x="32" y="56"/>
                    </a:lnTo>
                    <a:lnTo>
                      <a:pt x="8" y="64"/>
                    </a:lnTo>
                    <a:lnTo>
                      <a:pt x="32" y="104"/>
                    </a:lnTo>
                    <a:lnTo>
                      <a:pt x="0" y="144"/>
                    </a:lnTo>
                    <a:lnTo>
                      <a:pt x="40" y="184"/>
                    </a:lnTo>
                    <a:lnTo>
                      <a:pt x="64" y="200"/>
                    </a:lnTo>
                    <a:lnTo>
                      <a:pt x="40" y="216"/>
                    </a:lnTo>
                    <a:lnTo>
                      <a:pt x="32" y="280"/>
                    </a:lnTo>
                    <a:lnTo>
                      <a:pt x="80" y="280"/>
                    </a:lnTo>
                    <a:lnTo>
                      <a:pt x="96" y="312"/>
                    </a:lnTo>
                    <a:lnTo>
                      <a:pt x="128" y="280"/>
                    </a:lnTo>
                    <a:lnTo>
                      <a:pt x="152" y="304"/>
                    </a:lnTo>
                    <a:lnTo>
                      <a:pt x="184" y="288"/>
                    </a:lnTo>
                    <a:close/>
                  </a:path>
                </a:pathLst>
              </a:custGeom>
              <a:solidFill>
                <a:srgbClr val="FFC000"/>
              </a:solidFill>
              <a:ln w="9525">
                <a:solidFill>
                  <a:schemeClr val="bg1"/>
                </a:solidFill>
                <a:round/>
                <a:headEnd/>
                <a:tailEnd/>
              </a:ln>
            </p:spPr>
            <p:txBody>
              <a:bodyPr/>
              <a:lstStyle/>
              <a:p>
                <a:endParaRPr lang="en-US" sz="1050"/>
              </a:p>
            </p:txBody>
          </p:sp>
          <p:sp>
            <p:nvSpPr>
              <p:cNvPr id="130" name="Freeform 129"/>
              <p:cNvSpPr>
                <a:spLocks/>
              </p:cNvSpPr>
              <p:nvPr/>
            </p:nvSpPr>
            <p:spPr bwMode="auto">
              <a:xfrm>
                <a:off x="4948218" y="4569625"/>
                <a:ext cx="480846" cy="720031"/>
              </a:xfrm>
              <a:custGeom>
                <a:avLst/>
                <a:gdLst>
                  <a:gd name="T0" fmla="*/ 2147483646 w 408"/>
                  <a:gd name="T1" fmla="*/ 2147483646 h 664"/>
                  <a:gd name="T2" fmla="*/ 2147483646 w 408"/>
                  <a:gd name="T3" fmla="*/ 2147483646 h 664"/>
                  <a:gd name="T4" fmla="*/ 2147483646 w 408"/>
                  <a:gd name="T5" fmla="*/ 2147483646 h 664"/>
                  <a:gd name="T6" fmla="*/ 2147483646 w 408"/>
                  <a:gd name="T7" fmla="*/ 2147483646 h 664"/>
                  <a:gd name="T8" fmla="*/ 2147483646 w 408"/>
                  <a:gd name="T9" fmla="*/ 2147483646 h 664"/>
                  <a:gd name="T10" fmla="*/ 2147483646 w 408"/>
                  <a:gd name="T11" fmla="*/ 2147483646 h 664"/>
                  <a:gd name="T12" fmla="*/ 2147483646 w 408"/>
                  <a:gd name="T13" fmla="*/ 2147483646 h 664"/>
                  <a:gd name="T14" fmla="*/ 2147483646 w 408"/>
                  <a:gd name="T15" fmla="*/ 2147483646 h 664"/>
                  <a:gd name="T16" fmla="*/ 2147483646 w 408"/>
                  <a:gd name="T17" fmla="*/ 2147483646 h 664"/>
                  <a:gd name="T18" fmla="*/ 2147483646 w 408"/>
                  <a:gd name="T19" fmla="*/ 2147483646 h 664"/>
                  <a:gd name="T20" fmla="*/ 2147483646 w 408"/>
                  <a:gd name="T21" fmla="*/ 2147483646 h 664"/>
                  <a:gd name="T22" fmla="*/ 2147483646 w 408"/>
                  <a:gd name="T23" fmla="*/ 2147483646 h 664"/>
                  <a:gd name="T24" fmla="*/ 2147483646 w 408"/>
                  <a:gd name="T25" fmla="*/ 2147483646 h 664"/>
                  <a:gd name="T26" fmla="*/ 2147483646 w 408"/>
                  <a:gd name="T27" fmla="*/ 2147483646 h 664"/>
                  <a:gd name="T28" fmla="*/ 2147483646 w 408"/>
                  <a:gd name="T29" fmla="*/ 2147483646 h 664"/>
                  <a:gd name="T30" fmla="*/ 2147483646 w 408"/>
                  <a:gd name="T31" fmla="*/ 0 h 664"/>
                  <a:gd name="T32" fmla="*/ 2147483646 w 408"/>
                  <a:gd name="T33" fmla="*/ 2147483646 h 664"/>
                  <a:gd name="T34" fmla="*/ 2147483646 w 408"/>
                  <a:gd name="T35" fmla="*/ 2147483646 h 664"/>
                  <a:gd name="T36" fmla="*/ 2147483646 w 408"/>
                  <a:gd name="T37" fmla="*/ 2147483646 h 664"/>
                  <a:gd name="T38" fmla="*/ 2147483646 w 408"/>
                  <a:gd name="T39" fmla="*/ 2147483646 h 664"/>
                  <a:gd name="T40" fmla="*/ 2147483646 w 408"/>
                  <a:gd name="T41" fmla="*/ 2147483646 h 664"/>
                  <a:gd name="T42" fmla="*/ 2147483646 w 408"/>
                  <a:gd name="T43" fmla="*/ 2147483646 h 664"/>
                  <a:gd name="T44" fmla="*/ 0 w 408"/>
                  <a:gd name="T45" fmla="*/ 2147483646 h 664"/>
                  <a:gd name="T46" fmla="*/ 2147483646 w 408"/>
                  <a:gd name="T47" fmla="*/ 2147483646 h 664"/>
                  <a:gd name="T48" fmla="*/ 2147483646 w 408"/>
                  <a:gd name="T49" fmla="*/ 2147483646 h 664"/>
                  <a:gd name="T50" fmla="*/ 2147483646 w 408"/>
                  <a:gd name="T51" fmla="*/ 2147483646 h 664"/>
                  <a:gd name="T52" fmla="*/ 2147483646 w 408"/>
                  <a:gd name="T53" fmla="*/ 2147483646 h 664"/>
                  <a:gd name="T54" fmla="*/ 2147483646 w 408"/>
                  <a:gd name="T55" fmla="*/ 2147483646 h 664"/>
                  <a:gd name="T56" fmla="*/ 2147483646 w 408"/>
                  <a:gd name="T57" fmla="*/ 2147483646 h 664"/>
                  <a:gd name="T58" fmla="*/ 2147483646 w 408"/>
                  <a:gd name="T59" fmla="*/ 2147483646 h 664"/>
                  <a:gd name="T60" fmla="*/ 2147483646 w 408"/>
                  <a:gd name="T61" fmla="*/ 2147483646 h 664"/>
                  <a:gd name="T62" fmla="*/ 2147483646 w 408"/>
                  <a:gd name="T63" fmla="*/ 2147483646 h 664"/>
                  <a:gd name="T64" fmla="*/ 2147483646 w 408"/>
                  <a:gd name="T65" fmla="*/ 2147483646 h 664"/>
                  <a:gd name="T66" fmla="*/ 2147483646 w 408"/>
                  <a:gd name="T67" fmla="*/ 2147483646 h 664"/>
                  <a:gd name="T68" fmla="*/ 2147483646 w 408"/>
                  <a:gd name="T69" fmla="*/ 2147483646 h 664"/>
                  <a:gd name="T70" fmla="*/ 2147483646 w 408"/>
                  <a:gd name="T71" fmla="*/ 2147483646 h 664"/>
                  <a:gd name="T72" fmla="*/ 2147483646 w 408"/>
                  <a:gd name="T73" fmla="*/ 2147483646 h 664"/>
                  <a:gd name="T74" fmla="*/ 2147483646 w 408"/>
                  <a:gd name="T75" fmla="*/ 2147483646 h 664"/>
                  <a:gd name="T76" fmla="*/ 2147483646 w 408"/>
                  <a:gd name="T77" fmla="*/ 2147483646 h 664"/>
                  <a:gd name="T78" fmla="*/ 2147483646 w 408"/>
                  <a:gd name="T79" fmla="*/ 2147483646 h 664"/>
                  <a:gd name="T80" fmla="*/ 2147483646 w 408"/>
                  <a:gd name="T81" fmla="*/ 2147483646 h 6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664"/>
                  <a:gd name="T125" fmla="*/ 408 w 408"/>
                  <a:gd name="T126" fmla="*/ 664 h 66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664">
                    <a:moveTo>
                      <a:pt x="376" y="632"/>
                    </a:moveTo>
                    <a:lnTo>
                      <a:pt x="408" y="592"/>
                    </a:lnTo>
                    <a:lnTo>
                      <a:pt x="384" y="552"/>
                    </a:lnTo>
                    <a:lnTo>
                      <a:pt x="408" y="544"/>
                    </a:lnTo>
                    <a:lnTo>
                      <a:pt x="400" y="504"/>
                    </a:lnTo>
                    <a:lnTo>
                      <a:pt x="400" y="480"/>
                    </a:lnTo>
                    <a:lnTo>
                      <a:pt x="368" y="440"/>
                    </a:lnTo>
                    <a:lnTo>
                      <a:pt x="336" y="440"/>
                    </a:lnTo>
                    <a:lnTo>
                      <a:pt x="336" y="344"/>
                    </a:lnTo>
                    <a:lnTo>
                      <a:pt x="280" y="328"/>
                    </a:lnTo>
                    <a:lnTo>
                      <a:pt x="288" y="264"/>
                    </a:lnTo>
                    <a:lnTo>
                      <a:pt x="208" y="184"/>
                    </a:lnTo>
                    <a:lnTo>
                      <a:pt x="240" y="136"/>
                    </a:lnTo>
                    <a:lnTo>
                      <a:pt x="176" y="80"/>
                    </a:lnTo>
                    <a:lnTo>
                      <a:pt x="184" y="24"/>
                    </a:lnTo>
                    <a:lnTo>
                      <a:pt x="144" y="0"/>
                    </a:lnTo>
                    <a:lnTo>
                      <a:pt x="104" y="48"/>
                    </a:lnTo>
                    <a:lnTo>
                      <a:pt x="96" y="128"/>
                    </a:lnTo>
                    <a:lnTo>
                      <a:pt x="64" y="160"/>
                    </a:lnTo>
                    <a:lnTo>
                      <a:pt x="72" y="200"/>
                    </a:lnTo>
                    <a:lnTo>
                      <a:pt x="32" y="224"/>
                    </a:lnTo>
                    <a:lnTo>
                      <a:pt x="16" y="200"/>
                    </a:lnTo>
                    <a:lnTo>
                      <a:pt x="0" y="264"/>
                    </a:lnTo>
                    <a:lnTo>
                      <a:pt x="64" y="368"/>
                    </a:lnTo>
                    <a:lnTo>
                      <a:pt x="48" y="448"/>
                    </a:lnTo>
                    <a:lnTo>
                      <a:pt x="72" y="472"/>
                    </a:lnTo>
                    <a:lnTo>
                      <a:pt x="56" y="512"/>
                    </a:lnTo>
                    <a:lnTo>
                      <a:pt x="80" y="560"/>
                    </a:lnTo>
                    <a:lnTo>
                      <a:pt x="112" y="568"/>
                    </a:lnTo>
                    <a:lnTo>
                      <a:pt x="88" y="600"/>
                    </a:lnTo>
                    <a:lnTo>
                      <a:pt x="96" y="640"/>
                    </a:lnTo>
                    <a:lnTo>
                      <a:pt x="64" y="664"/>
                    </a:lnTo>
                    <a:lnTo>
                      <a:pt x="104" y="664"/>
                    </a:lnTo>
                    <a:lnTo>
                      <a:pt x="168" y="632"/>
                    </a:lnTo>
                    <a:lnTo>
                      <a:pt x="200" y="656"/>
                    </a:lnTo>
                    <a:lnTo>
                      <a:pt x="200" y="624"/>
                    </a:lnTo>
                    <a:lnTo>
                      <a:pt x="240" y="632"/>
                    </a:lnTo>
                    <a:lnTo>
                      <a:pt x="280" y="600"/>
                    </a:lnTo>
                    <a:lnTo>
                      <a:pt x="320" y="600"/>
                    </a:lnTo>
                    <a:lnTo>
                      <a:pt x="344" y="632"/>
                    </a:lnTo>
                    <a:lnTo>
                      <a:pt x="376" y="632"/>
                    </a:lnTo>
                    <a:close/>
                  </a:path>
                </a:pathLst>
              </a:custGeom>
              <a:solidFill>
                <a:srgbClr val="C6CFEB"/>
              </a:solidFill>
              <a:ln w="9525">
                <a:solidFill>
                  <a:schemeClr val="bg1"/>
                </a:solidFill>
                <a:round/>
                <a:headEnd/>
                <a:tailEnd/>
              </a:ln>
            </p:spPr>
            <p:txBody>
              <a:bodyPr/>
              <a:lstStyle/>
              <a:p>
                <a:endParaRPr lang="en-US" sz="1050"/>
              </a:p>
            </p:txBody>
          </p:sp>
          <p:sp>
            <p:nvSpPr>
              <p:cNvPr id="131" name="Freeform 130"/>
              <p:cNvSpPr>
                <a:spLocks/>
              </p:cNvSpPr>
              <p:nvPr/>
            </p:nvSpPr>
            <p:spPr bwMode="auto">
              <a:xfrm>
                <a:off x="4589941" y="4456849"/>
                <a:ext cx="490275" cy="893533"/>
              </a:xfrm>
              <a:custGeom>
                <a:avLst/>
                <a:gdLst>
                  <a:gd name="T0" fmla="*/ 2147483646 w 416"/>
                  <a:gd name="T1" fmla="*/ 2147483646 h 824"/>
                  <a:gd name="T2" fmla="*/ 2147483646 w 416"/>
                  <a:gd name="T3" fmla="*/ 2147483646 h 824"/>
                  <a:gd name="T4" fmla="*/ 2147483646 w 416"/>
                  <a:gd name="T5" fmla="*/ 2147483646 h 824"/>
                  <a:gd name="T6" fmla="*/ 2147483646 w 416"/>
                  <a:gd name="T7" fmla="*/ 2147483646 h 824"/>
                  <a:gd name="T8" fmla="*/ 2147483646 w 416"/>
                  <a:gd name="T9" fmla="*/ 2147483646 h 824"/>
                  <a:gd name="T10" fmla="*/ 2147483646 w 416"/>
                  <a:gd name="T11" fmla="*/ 2147483646 h 824"/>
                  <a:gd name="T12" fmla="*/ 2147483646 w 416"/>
                  <a:gd name="T13" fmla="*/ 2147483646 h 824"/>
                  <a:gd name="T14" fmla="*/ 2147483646 w 416"/>
                  <a:gd name="T15" fmla="*/ 2147483646 h 824"/>
                  <a:gd name="T16" fmla="*/ 2147483646 w 416"/>
                  <a:gd name="T17" fmla="*/ 2147483646 h 824"/>
                  <a:gd name="T18" fmla="*/ 2147483646 w 416"/>
                  <a:gd name="T19" fmla="*/ 2147483646 h 824"/>
                  <a:gd name="T20" fmla="*/ 2147483646 w 416"/>
                  <a:gd name="T21" fmla="*/ 2147483646 h 824"/>
                  <a:gd name="T22" fmla="*/ 2147483646 w 416"/>
                  <a:gd name="T23" fmla="*/ 2147483646 h 824"/>
                  <a:gd name="T24" fmla="*/ 2147483646 w 416"/>
                  <a:gd name="T25" fmla="*/ 2147483646 h 824"/>
                  <a:gd name="T26" fmla="*/ 2147483646 w 416"/>
                  <a:gd name="T27" fmla="*/ 2147483646 h 824"/>
                  <a:gd name="T28" fmla="*/ 2147483646 w 416"/>
                  <a:gd name="T29" fmla="*/ 2147483646 h 824"/>
                  <a:gd name="T30" fmla="*/ 2147483646 w 416"/>
                  <a:gd name="T31" fmla="*/ 2147483646 h 824"/>
                  <a:gd name="T32" fmla="*/ 2147483646 w 416"/>
                  <a:gd name="T33" fmla="*/ 2147483646 h 824"/>
                  <a:gd name="T34" fmla="*/ 2147483646 w 416"/>
                  <a:gd name="T35" fmla="*/ 2147483646 h 824"/>
                  <a:gd name="T36" fmla="*/ 2147483646 w 416"/>
                  <a:gd name="T37" fmla="*/ 2147483646 h 824"/>
                  <a:gd name="T38" fmla="*/ 2147483646 w 416"/>
                  <a:gd name="T39" fmla="*/ 0 h 824"/>
                  <a:gd name="T40" fmla="*/ 2147483646 w 416"/>
                  <a:gd name="T41" fmla="*/ 2147483646 h 824"/>
                  <a:gd name="T42" fmla="*/ 2147483646 w 416"/>
                  <a:gd name="T43" fmla="*/ 2147483646 h 824"/>
                  <a:gd name="T44" fmla="*/ 2147483646 w 416"/>
                  <a:gd name="T45" fmla="*/ 2147483646 h 824"/>
                  <a:gd name="T46" fmla="*/ 2147483646 w 416"/>
                  <a:gd name="T47" fmla="*/ 2147483646 h 824"/>
                  <a:gd name="T48" fmla="*/ 2147483646 w 416"/>
                  <a:gd name="T49" fmla="*/ 2147483646 h 824"/>
                  <a:gd name="T50" fmla="*/ 2147483646 w 416"/>
                  <a:gd name="T51" fmla="*/ 2147483646 h 824"/>
                  <a:gd name="T52" fmla="*/ 2147483646 w 416"/>
                  <a:gd name="T53" fmla="*/ 2147483646 h 824"/>
                  <a:gd name="T54" fmla="*/ 0 w 416"/>
                  <a:gd name="T55" fmla="*/ 2147483646 h 824"/>
                  <a:gd name="T56" fmla="*/ 2147483646 w 416"/>
                  <a:gd name="T57" fmla="*/ 2147483646 h 824"/>
                  <a:gd name="T58" fmla="*/ 2147483646 w 416"/>
                  <a:gd name="T59" fmla="*/ 2147483646 h 824"/>
                  <a:gd name="T60" fmla="*/ 2147483646 w 416"/>
                  <a:gd name="T61" fmla="*/ 2147483646 h 824"/>
                  <a:gd name="T62" fmla="*/ 2147483646 w 416"/>
                  <a:gd name="T63" fmla="*/ 2147483646 h 824"/>
                  <a:gd name="T64" fmla="*/ 2147483646 w 416"/>
                  <a:gd name="T65" fmla="*/ 2147483646 h 824"/>
                  <a:gd name="T66" fmla="*/ 2147483646 w 416"/>
                  <a:gd name="T67" fmla="*/ 2147483646 h 824"/>
                  <a:gd name="T68" fmla="*/ 2147483646 w 416"/>
                  <a:gd name="T69" fmla="*/ 2147483646 h 824"/>
                  <a:gd name="T70" fmla="*/ 2147483646 w 416"/>
                  <a:gd name="T71" fmla="*/ 2147483646 h 824"/>
                  <a:gd name="T72" fmla="*/ 2147483646 w 416"/>
                  <a:gd name="T73" fmla="*/ 2147483646 h 824"/>
                  <a:gd name="T74" fmla="*/ 2147483646 w 416"/>
                  <a:gd name="T75" fmla="*/ 2147483646 h 824"/>
                  <a:gd name="T76" fmla="*/ 2147483646 w 416"/>
                  <a:gd name="T77" fmla="*/ 2147483646 h 824"/>
                  <a:gd name="T78" fmla="*/ 2147483646 w 416"/>
                  <a:gd name="T79" fmla="*/ 2147483646 h 824"/>
                  <a:gd name="T80" fmla="*/ 2147483646 w 416"/>
                  <a:gd name="T81" fmla="*/ 2147483646 h 8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6"/>
                  <a:gd name="T124" fmla="*/ 0 h 824"/>
                  <a:gd name="T125" fmla="*/ 416 w 416"/>
                  <a:gd name="T126" fmla="*/ 824 h 8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6" h="824">
                    <a:moveTo>
                      <a:pt x="368" y="768"/>
                    </a:moveTo>
                    <a:lnTo>
                      <a:pt x="400" y="744"/>
                    </a:lnTo>
                    <a:lnTo>
                      <a:pt x="392" y="704"/>
                    </a:lnTo>
                    <a:lnTo>
                      <a:pt x="416" y="672"/>
                    </a:lnTo>
                    <a:lnTo>
                      <a:pt x="384" y="664"/>
                    </a:lnTo>
                    <a:lnTo>
                      <a:pt x="360" y="616"/>
                    </a:lnTo>
                    <a:lnTo>
                      <a:pt x="376" y="576"/>
                    </a:lnTo>
                    <a:lnTo>
                      <a:pt x="352" y="552"/>
                    </a:lnTo>
                    <a:lnTo>
                      <a:pt x="368" y="472"/>
                    </a:lnTo>
                    <a:lnTo>
                      <a:pt x="304" y="368"/>
                    </a:lnTo>
                    <a:lnTo>
                      <a:pt x="320" y="304"/>
                    </a:lnTo>
                    <a:lnTo>
                      <a:pt x="336" y="328"/>
                    </a:lnTo>
                    <a:lnTo>
                      <a:pt x="376" y="304"/>
                    </a:lnTo>
                    <a:lnTo>
                      <a:pt x="368" y="264"/>
                    </a:lnTo>
                    <a:lnTo>
                      <a:pt x="400" y="232"/>
                    </a:lnTo>
                    <a:lnTo>
                      <a:pt x="408" y="152"/>
                    </a:lnTo>
                    <a:lnTo>
                      <a:pt x="360" y="112"/>
                    </a:lnTo>
                    <a:lnTo>
                      <a:pt x="368" y="72"/>
                    </a:lnTo>
                    <a:lnTo>
                      <a:pt x="272" y="16"/>
                    </a:lnTo>
                    <a:lnTo>
                      <a:pt x="176" y="0"/>
                    </a:lnTo>
                    <a:lnTo>
                      <a:pt x="128" y="8"/>
                    </a:lnTo>
                    <a:lnTo>
                      <a:pt x="48" y="32"/>
                    </a:lnTo>
                    <a:lnTo>
                      <a:pt x="40" y="176"/>
                    </a:lnTo>
                    <a:lnTo>
                      <a:pt x="16" y="240"/>
                    </a:lnTo>
                    <a:lnTo>
                      <a:pt x="48" y="320"/>
                    </a:lnTo>
                    <a:lnTo>
                      <a:pt x="16" y="376"/>
                    </a:lnTo>
                    <a:lnTo>
                      <a:pt x="16" y="480"/>
                    </a:lnTo>
                    <a:lnTo>
                      <a:pt x="0" y="512"/>
                    </a:lnTo>
                    <a:lnTo>
                      <a:pt x="8" y="536"/>
                    </a:lnTo>
                    <a:lnTo>
                      <a:pt x="48" y="480"/>
                    </a:lnTo>
                    <a:lnTo>
                      <a:pt x="72" y="504"/>
                    </a:lnTo>
                    <a:lnTo>
                      <a:pt x="64" y="576"/>
                    </a:lnTo>
                    <a:lnTo>
                      <a:pt x="88" y="608"/>
                    </a:lnTo>
                    <a:lnTo>
                      <a:pt x="136" y="600"/>
                    </a:lnTo>
                    <a:lnTo>
                      <a:pt x="120" y="632"/>
                    </a:lnTo>
                    <a:lnTo>
                      <a:pt x="152" y="744"/>
                    </a:lnTo>
                    <a:lnTo>
                      <a:pt x="128" y="784"/>
                    </a:lnTo>
                    <a:lnTo>
                      <a:pt x="144" y="824"/>
                    </a:lnTo>
                    <a:lnTo>
                      <a:pt x="208" y="816"/>
                    </a:lnTo>
                    <a:lnTo>
                      <a:pt x="320" y="800"/>
                    </a:lnTo>
                    <a:lnTo>
                      <a:pt x="368" y="768"/>
                    </a:lnTo>
                    <a:close/>
                  </a:path>
                </a:pathLst>
              </a:custGeom>
              <a:solidFill>
                <a:srgbClr val="C6CFEB"/>
              </a:solidFill>
              <a:ln w="9525">
                <a:solidFill>
                  <a:schemeClr val="bg1"/>
                </a:solidFill>
                <a:round/>
                <a:headEnd/>
                <a:tailEnd/>
              </a:ln>
            </p:spPr>
            <p:txBody>
              <a:bodyPr/>
              <a:lstStyle/>
              <a:p>
                <a:endParaRPr lang="en-US" sz="1050"/>
              </a:p>
            </p:txBody>
          </p:sp>
          <p:sp>
            <p:nvSpPr>
              <p:cNvPr id="132" name="Freeform 131"/>
              <p:cNvSpPr>
                <a:spLocks/>
              </p:cNvSpPr>
              <p:nvPr/>
            </p:nvSpPr>
            <p:spPr bwMode="auto">
              <a:xfrm>
                <a:off x="5136785" y="5220256"/>
                <a:ext cx="593987" cy="659306"/>
              </a:xfrm>
              <a:custGeom>
                <a:avLst/>
                <a:gdLst>
                  <a:gd name="T0" fmla="*/ 2147483646 w 504"/>
                  <a:gd name="T1" fmla="*/ 2147483646 h 608"/>
                  <a:gd name="T2" fmla="*/ 2147483646 w 504"/>
                  <a:gd name="T3" fmla="*/ 2147483646 h 608"/>
                  <a:gd name="T4" fmla="*/ 2147483646 w 504"/>
                  <a:gd name="T5" fmla="*/ 2147483646 h 608"/>
                  <a:gd name="T6" fmla="*/ 2147483646 w 504"/>
                  <a:gd name="T7" fmla="*/ 2147483646 h 608"/>
                  <a:gd name="T8" fmla="*/ 2147483646 w 504"/>
                  <a:gd name="T9" fmla="*/ 2147483646 h 608"/>
                  <a:gd name="T10" fmla="*/ 2147483646 w 504"/>
                  <a:gd name="T11" fmla="*/ 2147483646 h 608"/>
                  <a:gd name="T12" fmla="*/ 2147483646 w 504"/>
                  <a:gd name="T13" fmla="*/ 2147483646 h 608"/>
                  <a:gd name="T14" fmla="*/ 2147483646 w 504"/>
                  <a:gd name="T15" fmla="*/ 2147483646 h 608"/>
                  <a:gd name="T16" fmla="*/ 2147483646 w 504"/>
                  <a:gd name="T17" fmla="*/ 2147483646 h 608"/>
                  <a:gd name="T18" fmla="*/ 2147483646 w 504"/>
                  <a:gd name="T19" fmla="*/ 2147483646 h 608"/>
                  <a:gd name="T20" fmla="*/ 2147483646 w 504"/>
                  <a:gd name="T21" fmla="*/ 2147483646 h 608"/>
                  <a:gd name="T22" fmla="*/ 2147483646 w 504"/>
                  <a:gd name="T23" fmla="*/ 2147483646 h 608"/>
                  <a:gd name="T24" fmla="*/ 2147483646 w 504"/>
                  <a:gd name="T25" fmla="*/ 2147483646 h 608"/>
                  <a:gd name="T26" fmla="*/ 2147483646 w 504"/>
                  <a:gd name="T27" fmla="*/ 2147483646 h 608"/>
                  <a:gd name="T28" fmla="*/ 2147483646 w 504"/>
                  <a:gd name="T29" fmla="*/ 2147483646 h 608"/>
                  <a:gd name="T30" fmla="*/ 2147483646 w 504"/>
                  <a:gd name="T31" fmla="*/ 0 h 608"/>
                  <a:gd name="T32" fmla="*/ 2147483646 w 504"/>
                  <a:gd name="T33" fmla="*/ 0 h 608"/>
                  <a:gd name="T34" fmla="*/ 2147483646 w 504"/>
                  <a:gd name="T35" fmla="*/ 2147483646 h 608"/>
                  <a:gd name="T36" fmla="*/ 2147483646 w 504"/>
                  <a:gd name="T37" fmla="*/ 2147483646 h 608"/>
                  <a:gd name="T38" fmla="*/ 2147483646 w 504"/>
                  <a:gd name="T39" fmla="*/ 2147483646 h 608"/>
                  <a:gd name="T40" fmla="*/ 2147483646 w 504"/>
                  <a:gd name="T41" fmla="*/ 2147483646 h 608"/>
                  <a:gd name="T42" fmla="*/ 0 w 504"/>
                  <a:gd name="T43" fmla="*/ 2147483646 h 608"/>
                  <a:gd name="T44" fmla="*/ 2147483646 w 504"/>
                  <a:gd name="T45" fmla="*/ 2147483646 h 608"/>
                  <a:gd name="T46" fmla="*/ 2147483646 w 504"/>
                  <a:gd name="T47" fmla="*/ 2147483646 h 608"/>
                  <a:gd name="T48" fmla="*/ 2147483646 w 504"/>
                  <a:gd name="T49" fmla="*/ 2147483646 h 608"/>
                  <a:gd name="T50" fmla="*/ 2147483646 w 504"/>
                  <a:gd name="T51" fmla="*/ 2147483646 h 608"/>
                  <a:gd name="T52" fmla="*/ 2147483646 w 504"/>
                  <a:gd name="T53" fmla="*/ 2147483646 h 608"/>
                  <a:gd name="T54" fmla="*/ 2147483646 w 504"/>
                  <a:gd name="T55" fmla="*/ 2147483646 h 608"/>
                  <a:gd name="T56" fmla="*/ 2147483646 w 504"/>
                  <a:gd name="T57" fmla="*/ 2147483646 h 608"/>
                  <a:gd name="T58" fmla="*/ 2147483646 w 504"/>
                  <a:gd name="T59" fmla="*/ 2147483646 h 608"/>
                  <a:gd name="T60" fmla="*/ 2147483646 w 504"/>
                  <a:gd name="T61" fmla="*/ 2147483646 h 608"/>
                  <a:gd name="T62" fmla="*/ 2147483646 w 504"/>
                  <a:gd name="T63" fmla="*/ 2147483646 h 608"/>
                  <a:gd name="T64" fmla="*/ 2147483646 w 504"/>
                  <a:gd name="T65" fmla="*/ 2147483646 h 608"/>
                  <a:gd name="T66" fmla="*/ 2147483646 w 504"/>
                  <a:gd name="T67" fmla="*/ 2147483646 h 608"/>
                  <a:gd name="T68" fmla="*/ 2147483646 w 504"/>
                  <a:gd name="T69" fmla="*/ 2147483646 h 608"/>
                  <a:gd name="T70" fmla="*/ 2147483646 w 504"/>
                  <a:gd name="T71" fmla="*/ 2147483646 h 608"/>
                  <a:gd name="T72" fmla="*/ 2147483646 w 504"/>
                  <a:gd name="T73" fmla="*/ 2147483646 h 608"/>
                  <a:gd name="T74" fmla="*/ 2147483646 w 504"/>
                  <a:gd name="T75" fmla="*/ 2147483646 h 608"/>
                  <a:gd name="T76" fmla="*/ 2147483646 w 504"/>
                  <a:gd name="T77" fmla="*/ 2147483646 h 608"/>
                  <a:gd name="T78" fmla="*/ 2147483646 w 504"/>
                  <a:gd name="T79" fmla="*/ 2147483646 h 608"/>
                  <a:gd name="T80" fmla="*/ 2147483646 w 504"/>
                  <a:gd name="T81" fmla="*/ 2147483646 h 6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4"/>
                  <a:gd name="T124" fmla="*/ 0 h 608"/>
                  <a:gd name="T125" fmla="*/ 504 w 504"/>
                  <a:gd name="T126" fmla="*/ 608 h 6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4" h="608">
                    <a:moveTo>
                      <a:pt x="456" y="368"/>
                    </a:moveTo>
                    <a:lnTo>
                      <a:pt x="504" y="280"/>
                    </a:lnTo>
                    <a:lnTo>
                      <a:pt x="440" y="200"/>
                    </a:lnTo>
                    <a:lnTo>
                      <a:pt x="408" y="208"/>
                    </a:lnTo>
                    <a:lnTo>
                      <a:pt x="392" y="168"/>
                    </a:lnTo>
                    <a:lnTo>
                      <a:pt x="368" y="184"/>
                    </a:lnTo>
                    <a:lnTo>
                      <a:pt x="344" y="168"/>
                    </a:lnTo>
                    <a:lnTo>
                      <a:pt x="312" y="192"/>
                    </a:lnTo>
                    <a:lnTo>
                      <a:pt x="296" y="160"/>
                    </a:lnTo>
                    <a:lnTo>
                      <a:pt x="248" y="168"/>
                    </a:lnTo>
                    <a:lnTo>
                      <a:pt x="248" y="96"/>
                    </a:lnTo>
                    <a:lnTo>
                      <a:pt x="280" y="80"/>
                    </a:lnTo>
                    <a:lnTo>
                      <a:pt x="240" y="48"/>
                    </a:lnTo>
                    <a:lnTo>
                      <a:pt x="216" y="32"/>
                    </a:lnTo>
                    <a:lnTo>
                      <a:pt x="184" y="32"/>
                    </a:lnTo>
                    <a:lnTo>
                      <a:pt x="160" y="0"/>
                    </a:lnTo>
                    <a:lnTo>
                      <a:pt x="120" y="0"/>
                    </a:lnTo>
                    <a:lnTo>
                      <a:pt x="80" y="32"/>
                    </a:lnTo>
                    <a:lnTo>
                      <a:pt x="40" y="24"/>
                    </a:lnTo>
                    <a:lnTo>
                      <a:pt x="40" y="56"/>
                    </a:lnTo>
                    <a:lnTo>
                      <a:pt x="32" y="88"/>
                    </a:lnTo>
                    <a:lnTo>
                      <a:pt x="0" y="120"/>
                    </a:lnTo>
                    <a:lnTo>
                      <a:pt x="40" y="160"/>
                    </a:lnTo>
                    <a:lnTo>
                      <a:pt x="96" y="160"/>
                    </a:lnTo>
                    <a:lnTo>
                      <a:pt x="136" y="272"/>
                    </a:lnTo>
                    <a:lnTo>
                      <a:pt x="104" y="288"/>
                    </a:lnTo>
                    <a:lnTo>
                      <a:pt x="104" y="312"/>
                    </a:lnTo>
                    <a:lnTo>
                      <a:pt x="72" y="328"/>
                    </a:lnTo>
                    <a:lnTo>
                      <a:pt x="80" y="400"/>
                    </a:lnTo>
                    <a:lnTo>
                      <a:pt x="104" y="448"/>
                    </a:lnTo>
                    <a:lnTo>
                      <a:pt x="96" y="488"/>
                    </a:lnTo>
                    <a:lnTo>
                      <a:pt x="120" y="520"/>
                    </a:lnTo>
                    <a:lnTo>
                      <a:pt x="120" y="608"/>
                    </a:lnTo>
                    <a:lnTo>
                      <a:pt x="160" y="600"/>
                    </a:lnTo>
                    <a:lnTo>
                      <a:pt x="184" y="560"/>
                    </a:lnTo>
                    <a:lnTo>
                      <a:pt x="208" y="560"/>
                    </a:lnTo>
                    <a:lnTo>
                      <a:pt x="272" y="480"/>
                    </a:lnTo>
                    <a:lnTo>
                      <a:pt x="336" y="408"/>
                    </a:lnTo>
                    <a:lnTo>
                      <a:pt x="384" y="400"/>
                    </a:lnTo>
                    <a:lnTo>
                      <a:pt x="416" y="368"/>
                    </a:lnTo>
                    <a:lnTo>
                      <a:pt x="456" y="368"/>
                    </a:lnTo>
                    <a:close/>
                  </a:path>
                </a:pathLst>
              </a:custGeom>
              <a:solidFill>
                <a:srgbClr val="C6CFEB"/>
              </a:solidFill>
              <a:ln w="9525">
                <a:solidFill>
                  <a:schemeClr val="bg1"/>
                </a:solidFill>
                <a:round/>
                <a:headEnd/>
                <a:tailEnd/>
              </a:ln>
            </p:spPr>
            <p:txBody>
              <a:bodyPr/>
              <a:lstStyle/>
              <a:p>
                <a:endParaRPr lang="en-US" sz="1050"/>
              </a:p>
            </p:txBody>
          </p:sp>
          <p:sp>
            <p:nvSpPr>
              <p:cNvPr id="133" name="Freeform 132"/>
              <p:cNvSpPr>
                <a:spLocks/>
              </p:cNvSpPr>
              <p:nvPr/>
            </p:nvSpPr>
            <p:spPr bwMode="auto">
              <a:xfrm>
                <a:off x="4646511" y="5254956"/>
                <a:ext cx="650557" cy="685331"/>
              </a:xfrm>
              <a:custGeom>
                <a:avLst/>
                <a:gdLst>
                  <a:gd name="T0" fmla="*/ 2147483646 w 552"/>
                  <a:gd name="T1" fmla="*/ 2147483646 h 632"/>
                  <a:gd name="T2" fmla="*/ 2147483646 w 552"/>
                  <a:gd name="T3" fmla="*/ 2147483646 h 632"/>
                  <a:gd name="T4" fmla="*/ 2147483646 w 552"/>
                  <a:gd name="T5" fmla="*/ 2147483646 h 632"/>
                  <a:gd name="T6" fmla="*/ 2147483646 w 552"/>
                  <a:gd name="T7" fmla="*/ 2147483646 h 632"/>
                  <a:gd name="T8" fmla="*/ 2147483646 w 552"/>
                  <a:gd name="T9" fmla="*/ 2147483646 h 632"/>
                  <a:gd name="T10" fmla="*/ 2147483646 w 552"/>
                  <a:gd name="T11" fmla="*/ 2147483646 h 632"/>
                  <a:gd name="T12" fmla="*/ 2147483646 w 552"/>
                  <a:gd name="T13" fmla="*/ 2147483646 h 632"/>
                  <a:gd name="T14" fmla="*/ 2147483646 w 552"/>
                  <a:gd name="T15" fmla="*/ 2147483646 h 632"/>
                  <a:gd name="T16" fmla="*/ 2147483646 w 552"/>
                  <a:gd name="T17" fmla="*/ 2147483646 h 632"/>
                  <a:gd name="T18" fmla="*/ 2147483646 w 552"/>
                  <a:gd name="T19" fmla="*/ 2147483646 h 632"/>
                  <a:gd name="T20" fmla="*/ 2147483646 w 552"/>
                  <a:gd name="T21" fmla="*/ 2147483646 h 632"/>
                  <a:gd name="T22" fmla="*/ 2147483646 w 552"/>
                  <a:gd name="T23" fmla="*/ 2147483646 h 632"/>
                  <a:gd name="T24" fmla="*/ 2147483646 w 552"/>
                  <a:gd name="T25" fmla="*/ 2147483646 h 632"/>
                  <a:gd name="T26" fmla="*/ 2147483646 w 552"/>
                  <a:gd name="T27" fmla="*/ 2147483646 h 632"/>
                  <a:gd name="T28" fmla="*/ 2147483646 w 552"/>
                  <a:gd name="T29" fmla="*/ 0 h 632"/>
                  <a:gd name="T30" fmla="*/ 2147483646 w 552"/>
                  <a:gd name="T31" fmla="*/ 2147483646 h 632"/>
                  <a:gd name="T32" fmla="*/ 2147483646 w 552"/>
                  <a:gd name="T33" fmla="*/ 2147483646 h 632"/>
                  <a:gd name="T34" fmla="*/ 2147483646 w 552"/>
                  <a:gd name="T35" fmla="*/ 2147483646 h 632"/>
                  <a:gd name="T36" fmla="*/ 2147483646 w 552"/>
                  <a:gd name="T37" fmla="*/ 2147483646 h 632"/>
                  <a:gd name="T38" fmla="*/ 2147483646 w 552"/>
                  <a:gd name="T39" fmla="*/ 2147483646 h 632"/>
                  <a:gd name="T40" fmla="*/ 2147483646 w 552"/>
                  <a:gd name="T41" fmla="*/ 2147483646 h 632"/>
                  <a:gd name="T42" fmla="*/ 2147483646 w 552"/>
                  <a:gd name="T43" fmla="*/ 2147483646 h 632"/>
                  <a:gd name="T44" fmla="*/ 2147483646 w 552"/>
                  <a:gd name="T45" fmla="*/ 2147483646 h 632"/>
                  <a:gd name="T46" fmla="*/ 2147483646 w 552"/>
                  <a:gd name="T47" fmla="*/ 2147483646 h 632"/>
                  <a:gd name="T48" fmla="*/ 0 w 552"/>
                  <a:gd name="T49" fmla="*/ 2147483646 h 632"/>
                  <a:gd name="T50" fmla="*/ 2147483646 w 552"/>
                  <a:gd name="T51" fmla="*/ 2147483646 h 632"/>
                  <a:gd name="T52" fmla="*/ 2147483646 w 552"/>
                  <a:gd name="T53" fmla="*/ 2147483646 h 632"/>
                  <a:gd name="T54" fmla="*/ 2147483646 w 552"/>
                  <a:gd name="T55" fmla="*/ 2147483646 h 632"/>
                  <a:gd name="T56" fmla="*/ 2147483646 w 552"/>
                  <a:gd name="T57" fmla="*/ 2147483646 h 632"/>
                  <a:gd name="T58" fmla="*/ 2147483646 w 552"/>
                  <a:gd name="T59" fmla="*/ 2147483646 h 632"/>
                  <a:gd name="T60" fmla="*/ 2147483646 w 552"/>
                  <a:gd name="T61" fmla="*/ 2147483646 h 632"/>
                  <a:gd name="T62" fmla="*/ 2147483646 w 552"/>
                  <a:gd name="T63" fmla="*/ 2147483646 h 632"/>
                  <a:gd name="T64" fmla="*/ 2147483646 w 552"/>
                  <a:gd name="T65" fmla="*/ 2147483646 h 632"/>
                  <a:gd name="T66" fmla="*/ 2147483646 w 552"/>
                  <a:gd name="T67" fmla="*/ 2147483646 h 632"/>
                  <a:gd name="T68" fmla="*/ 2147483646 w 552"/>
                  <a:gd name="T69" fmla="*/ 2147483646 h 632"/>
                  <a:gd name="T70" fmla="*/ 2147483646 w 552"/>
                  <a:gd name="T71" fmla="*/ 2147483646 h 632"/>
                  <a:gd name="T72" fmla="*/ 2147483646 w 552"/>
                  <a:gd name="T73" fmla="*/ 2147483646 h 632"/>
                  <a:gd name="T74" fmla="*/ 2147483646 w 552"/>
                  <a:gd name="T75" fmla="*/ 2147483646 h 632"/>
                  <a:gd name="T76" fmla="*/ 2147483646 w 552"/>
                  <a:gd name="T77" fmla="*/ 2147483646 h 632"/>
                  <a:gd name="T78" fmla="*/ 2147483646 w 552"/>
                  <a:gd name="T79" fmla="*/ 2147483646 h 6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2"/>
                  <a:gd name="T121" fmla="*/ 0 h 632"/>
                  <a:gd name="T122" fmla="*/ 552 w 552"/>
                  <a:gd name="T123" fmla="*/ 632 h 6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2" h="632">
                    <a:moveTo>
                      <a:pt x="536" y="576"/>
                    </a:moveTo>
                    <a:lnTo>
                      <a:pt x="536" y="488"/>
                    </a:lnTo>
                    <a:lnTo>
                      <a:pt x="512" y="456"/>
                    </a:lnTo>
                    <a:lnTo>
                      <a:pt x="520" y="416"/>
                    </a:lnTo>
                    <a:lnTo>
                      <a:pt x="488" y="328"/>
                    </a:lnTo>
                    <a:lnTo>
                      <a:pt x="488" y="296"/>
                    </a:lnTo>
                    <a:lnTo>
                      <a:pt x="520" y="272"/>
                    </a:lnTo>
                    <a:lnTo>
                      <a:pt x="520" y="256"/>
                    </a:lnTo>
                    <a:lnTo>
                      <a:pt x="552" y="240"/>
                    </a:lnTo>
                    <a:lnTo>
                      <a:pt x="512" y="128"/>
                    </a:lnTo>
                    <a:lnTo>
                      <a:pt x="456" y="128"/>
                    </a:lnTo>
                    <a:lnTo>
                      <a:pt x="416" y="88"/>
                    </a:lnTo>
                    <a:lnTo>
                      <a:pt x="448" y="56"/>
                    </a:lnTo>
                    <a:lnTo>
                      <a:pt x="456" y="24"/>
                    </a:lnTo>
                    <a:lnTo>
                      <a:pt x="424" y="0"/>
                    </a:lnTo>
                    <a:lnTo>
                      <a:pt x="360" y="32"/>
                    </a:lnTo>
                    <a:lnTo>
                      <a:pt x="320" y="32"/>
                    </a:lnTo>
                    <a:lnTo>
                      <a:pt x="272" y="64"/>
                    </a:lnTo>
                    <a:lnTo>
                      <a:pt x="160" y="80"/>
                    </a:lnTo>
                    <a:lnTo>
                      <a:pt x="128" y="120"/>
                    </a:lnTo>
                    <a:lnTo>
                      <a:pt x="136" y="184"/>
                    </a:lnTo>
                    <a:lnTo>
                      <a:pt x="104" y="248"/>
                    </a:lnTo>
                    <a:lnTo>
                      <a:pt x="144" y="296"/>
                    </a:lnTo>
                    <a:lnTo>
                      <a:pt x="88" y="304"/>
                    </a:lnTo>
                    <a:lnTo>
                      <a:pt x="0" y="368"/>
                    </a:lnTo>
                    <a:lnTo>
                      <a:pt x="56" y="392"/>
                    </a:lnTo>
                    <a:lnTo>
                      <a:pt x="56" y="448"/>
                    </a:lnTo>
                    <a:lnTo>
                      <a:pt x="104" y="496"/>
                    </a:lnTo>
                    <a:lnTo>
                      <a:pt x="48" y="520"/>
                    </a:lnTo>
                    <a:lnTo>
                      <a:pt x="48" y="560"/>
                    </a:lnTo>
                    <a:lnTo>
                      <a:pt x="144" y="560"/>
                    </a:lnTo>
                    <a:lnTo>
                      <a:pt x="192" y="552"/>
                    </a:lnTo>
                    <a:lnTo>
                      <a:pt x="232" y="576"/>
                    </a:lnTo>
                    <a:lnTo>
                      <a:pt x="280" y="584"/>
                    </a:lnTo>
                    <a:lnTo>
                      <a:pt x="320" y="584"/>
                    </a:lnTo>
                    <a:lnTo>
                      <a:pt x="360" y="616"/>
                    </a:lnTo>
                    <a:lnTo>
                      <a:pt x="384" y="632"/>
                    </a:lnTo>
                    <a:lnTo>
                      <a:pt x="424" y="608"/>
                    </a:lnTo>
                    <a:lnTo>
                      <a:pt x="472" y="616"/>
                    </a:lnTo>
                    <a:lnTo>
                      <a:pt x="536" y="576"/>
                    </a:lnTo>
                    <a:close/>
                  </a:path>
                </a:pathLst>
              </a:custGeom>
              <a:solidFill>
                <a:srgbClr val="9950A8"/>
              </a:solidFill>
              <a:ln w="6350">
                <a:solidFill>
                  <a:schemeClr val="bg1"/>
                </a:solidFill>
                <a:round/>
                <a:headEnd/>
                <a:tailEnd/>
              </a:ln>
            </p:spPr>
            <p:txBody>
              <a:bodyPr/>
              <a:lstStyle/>
              <a:p>
                <a:endParaRPr lang="en-US" sz="1050"/>
              </a:p>
            </p:txBody>
          </p:sp>
          <p:sp>
            <p:nvSpPr>
              <p:cNvPr id="134" name="Freeform 133"/>
              <p:cNvSpPr>
                <a:spLocks/>
              </p:cNvSpPr>
              <p:nvPr/>
            </p:nvSpPr>
            <p:spPr bwMode="auto">
              <a:xfrm>
                <a:off x="4250519" y="4960003"/>
                <a:ext cx="584558" cy="919558"/>
              </a:xfrm>
              <a:custGeom>
                <a:avLst/>
                <a:gdLst>
                  <a:gd name="T0" fmla="*/ 2147483646 w 496"/>
                  <a:gd name="T1" fmla="*/ 2147483646 h 848"/>
                  <a:gd name="T2" fmla="*/ 2147483646 w 496"/>
                  <a:gd name="T3" fmla="*/ 2147483646 h 848"/>
                  <a:gd name="T4" fmla="*/ 2147483646 w 496"/>
                  <a:gd name="T5" fmla="*/ 2147483646 h 848"/>
                  <a:gd name="T6" fmla="*/ 2147483646 w 496"/>
                  <a:gd name="T7" fmla="*/ 2147483646 h 848"/>
                  <a:gd name="T8" fmla="*/ 2147483646 w 496"/>
                  <a:gd name="T9" fmla="*/ 2147483646 h 848"/>
                  <a:gd name="T10" fmla="*/ 2147483646 w 496"/>
                  <a:gd name="T11" fmla="*/ 2147483646 h 848"/>
                  <a:gd name="T12" fmla="*/ 2147483646 w 496"/>
                  <a:gd name="T13" fmla="*/ 2147483646 h 848"/>
                  <a:gd name="T14" fmla="*/ 2147483646 w 496"/>
                  <a:gd name="T15" fmla="*/ 2147483646 h 848"/>
                  <a:gd name="T16" fmla="*/ 2147483646 w 496"/>
                  <a:gd name="T17" fmla="*/ 2147483646 h 848"/>
                  <a:gd name="T18" fmla="*/ 2147483646 w 496"/>
                  <a:gd name="T19" fmla="*/ 2147483646 h 848"/>
                  <a:gd name="T20" fmla="*/ 2147483646 w 496"/>
                  <a:gd name="T21" fmla="*/ 2147483646 h 848"/>
                  <a:gd name="T22" fmla="*/ 2147483646 w 496"/>
                  <a:gd name="T23" fmla="*/ 2147483646 h 848"/>
                  <a:gd name="T24" fmla="*/ 2147483646 w 496"/>
                  <a:gd name="T25" fmla="*/ 2147483646 h 848"/>
                  <a:gd name="T26" fmla="*/ 2147483646 w 496"/>
                  <a:gd name="T27" fmla="*/ 2147483646 h 848"/>
                  <a:gd name="T28" fmla="*/ 2147483646 w 496"/>
                  <a:gd name="T29" fmla="*/ 2147483646 h 848"/>
                  <a:gd name="T30" fmla="*/ 2147483646 w 496"/>
                  <a:gd name="T31" fmla="*/ 2147483646 h 848"/>
                  <a:gd name="T32" fmla="*/ 2147483646 w 496"/>
                  <a:gd name="T33" fmla="*/ 2147483646 h 848"/>
                  <a:gd name="T34" fmla="*/ 2147483646 w 496"/>
                  <a:gd name="T35" fmla="*/ 2147483646 h 848"/>
                  <a:gd name="T36" fmla="*/ 2147483646 w 496"/>
                  <a:gd name="T37" fmla="*/ 2147483646 h 848"/>
                  <a:gd name="T38" fmla="*/ 2147483646 w 496"/>
                  <a:gd name="T39" fmla="*/ 2147483646 h 848"/>
                  <a:gd name="T40" fmla="*/ 2147483646 w 496"/>
                  <a:gd name="T41" fmla="*/ 2147483646 h 848"/>
                  <a:gd name="T42" fmla="*/ 2147483646 w 496"/>
                  <a:gd name="T43" fmla="*/ 2147483646 h 848"/>
                  <a:gd name="T44" fmla="*/ 2147483646 w 496"/>
                  <a:gd name="T45" fmla="*/ 2147483646 h 848"/>
                  <a:gd name="T46" fmla="*/ 2147483646 w 496"/>
                  <a:gd name="T47" fmla="*/ 0 h 848"/>
                  <a:gd name="T48" fmla="*/ 2147483646 w 496"/>
                  <a:gd name="T49" fmla="*/ 2147483646 h 848"/>
                  <a:gd name="T50" fmla="*/ 2147483646 w 496"/>
                  <a:gd name="T51" fmla="*/ 2147483646 h 848"/>
                  <a:gd name="T52" fmla="*/ 2147483646 w 496"/>
                  <a:gd name="T53" fmla="*/ 2147483646 h 848"/>
                  <a:gd name="T54" fmla="*/ 2147483646 w 496"/>
                  <a:gd name="T55" fmla="*/ 2147483646 h 848"/>
                  <a:gd name="T56" fmla="*/ 2147483646 w 496"/>
                  <a:gd name="T57" fmla="*/ 2147483646 h 848"/>
                  <a:gd name="T58" fmla="*/ 2147483646 w 496"/>
                  <a:gd name="T59" fmla="*/ 2147483646 h 848"/>
                  <a:gd name="T60" fmla="*/ 2147483646 w 496"/>
                  <a:gd name="T61" fmla="*/ 2147483646 h 848"/>
                  <a:gd name="T62" fmla="*/ 2147483646 w 496"/>
                  <a:gd name="T63" fmla="*/ 2147483646 h 848"/>
                  <a:gd name="T64" fmla="*/ 0 w 496"/>
                  <a:gd name="T65" fmla="*/ 2147483646 h 848"/>
                  <a:gd name="T66" fmla="*/ 2147483646 w 496"/>
                  <a:gd name="T67" fmla="*/ 2147483646 h 848"/>
                  <a:gd name="T68" fmla="*/ 2147483646 w 496"/>
                  <a:gd name="T69" fmla="*/ 2147483646 h 848"/>
                  <a:gd name="T70" fmla="*/ 2147483646 w 496"/>
                  <a:gd name="T71" fmla="*/ 2147483646 h 848"/>
                  <a:gd name="T72" fmla="*/ 2147483646 w 496"/>
                  <a:gd name="T73" fmla="*/ 2147483646 h 848"/>
                  <a:gd name="T74" fmla="*/ 2147483646 w 496"/>
                  <a:gd name="T75" fmla="*/ 2147483646 h 848"/>
                  <a:gd name="T76" fmla="*/ 2147483646 w 496"/>
                  <a:gd name="T77" fmla="*/ 2147483646 h 848"/>
                  <a:gd name="T78" fmla="*/ 2147483646 w 496"/>
                  <a:gd name="T79" fmla="*/ 2147483646 h 848"/>
                  <a:gd name="T80" fmla="*/ 2147483646 w 496"/>
                  <a:gd name="T81" fmla="*/ 2147483646 h 848"/>
                  <a:gd name="T82" fmla="*/ 2147483646 w 496"/>
                  <a:gd name="T83" fmla="*/ 2147483646 h 848"/>
                  <a:gd name="T84" fmla="*/ 2147483646 w 496"/>
                  <a:gd name="T85" fmla="*/ 2147483646 h 848"/>
                  <a:gd name="T86" fmla="*/ 2147483646 w 496"/>
                  <a:gd name="T87" fmla="*/ 2147483646 h 848"/>
                  <a:gd name="T88" fmla="*/ 2147483646 w 496"/>
                  <a:gd name="T89" fmla="*/ 2147483646 h 848"/>
                  <a:gd name="T90" fmla="*/ 2147483646 w 496"/>
                  <a:gd name="T91" fmla="*/ 2147483646 h 848"/>
                  <a:gd name="T92" fmla="*/ 2147483646 w 496"/>
                  <a:gd name="T93" fmla="*/ 2147483646 h 848"/>
                  <a:gd name="T94" fmla="*/ 2147483646 w 496"/>
                  <a:gd name="T95" fmla="*/ 2147483646 h 848"/>
                  <a:gd name="T96" fmla="*/ 2147483646 w 496"/>
                  <a:gd name="T97" fmla="*/ 2147483646 h 848"/>
                  <a:gd name="T98" fmla="*/ 2147483646 w 496"/>
                  <a:gd name="T99" fmla="*/ 2147483646 h 848"/>
                  <a:gd name="T100" fmla="*/ 2147483646 w 496"/>
                  <a:gd name="T101" fmla="*/ 2147483646 h 848"/>
                  <a:gd name="T102" fmla="*/ 2147483646 w 496"/>
                  <a:gd name="T103" fmla="*/ 2147483646 h 848"/>
                  <a:gd name="T104" fmla="*/ 2147483646 w 496"/>
                  <a:gd name="T105" fmla="*/ 2147483646 h 8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848"/>
                  <a:gd name="T161" fmla="*/ 496 w 496"/>
                  <a:gd name="T162" fmla="*/ 848 h 8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848">
                    <a:moveTo>
                      <a:pt x="384" y="832"/>
                    </a:moveTo>
                    <a:lnTo>
                      <a:pt x="384" y="792"/>
                    </a:lnTo>
                    <a:lnTo>
                      <a:pt x="440" y="768"/>
                    </a:lnTo>
                    <a:lnTo>
                      <a:pt x="392" y="720"/>
                    </a:lnTo>
                    <a:lnTo>
                      <a:pt x="392" y="664"/>
                    </a:lnTo>
                    <a:lnTo>
                      <a:pt x="336" y="640"/>
                    </a:lnTo>
                    <a:lnTo>
                      <a:pt x="424" y="576"/>
                    </a:lnTo>
                    <a:lnTo>
                      <a:pt x="480" y="568"/>
                    </a:lnTo>
                    <a:lnTo>
                      <a:pt x="440" y="520"/>
                    </a:lnTo>
                    <a:lnTo>
                      <a:pt x="472" y="456"/>
                    </a:lnTo>
                    <a:lnTo>
                      <a:pt x="464" y="392"/>
                    </a:lnTo>
                    <a:lnTo>
                      <a:pt x="496" y="352"/>
                    </a:lnTo>
                    <a:lnTo>
                      <a:pt x="432" y="360"/>
                    </a:lnTo>
                    <a:lnTo>
                      <a:pt x="416" y="320"/>
                    </a:lnTo>
                    <a:lnTo>
                      <a:pt x="440" y="280"/>
                    </a:lnTo>
                    <a:lnTo>
                      <a:pt x="408" y="168"/>
                    </a:lnTo>
                    <a:lnTo>
                      <a:pt x="424" y="136"/>
                    </a:lnTo>
                    <a:lnTo>
                      <a:pt x="376" y="144"/>
                    </a:lnTo>
                    <a:lnTo>
                      <a:pt x="352" y="112"/>
                    </a:lnTo>
                    <a:lnTo>
                      <a:pt x="360" y="40"/>
                    </a:lnTo>
                    <a:lnTo>
                      <a:pt x="336" y="16"/>
                    </a:lnTo>
                    <a:lnTo>
                      <a:pt x="288" y="64"/>
                    </a:lnTo>
                    <a:lnTo>
                      <a:pt x="288" y="48"/>
                    </a:lnTo>
                    <a:lnTo>
                      <a:pt x="288" y="0"/>
                    </a:lnTo>
                    <a:lnTo>
                      <a:pt x="208" y="64"/>
                    </a:lnTo>
                    <a:lnTo>
                      <a:pt x="200" y="160"/>
                    </a:lnTo>
                    <a:lnTo>
                      <a:pt x="224" y="248"/>
                    </a:lnTo>
                    <a:lnTo>
                      <a:pt x="184" y="232"/>
                    </a:lnTo>
                    <a:lnTo>
                      <a:pt x="160" y="264"/>
                    </a:lnTo>
                    <a:lnTo>
                      <a:pt x="128" y="264"/>
                    </a:lnTo>
                    <a:lnTo>
                      <a:pt x="104" y="280"/>
                    </a:lnTo>
                    <a:lnTo>
                      <a:pt x="48" y="264"/>
                    </a:lnTo>
                    <a:lnTo>
                      <a:pt x="0" y="312"/>
                    </a:lnTo>
                    <a:lnTo>
                      <a:pt x="64" y="344"/>
                    </a:lnTo>
                    <a:lnTo>
                      <a:pt x="80" y="400"/>
                    </a:lnTo>
                    <a:lnTo>
                      <a:pt x="136" y="416"/>
                    </a:lnTo>
                    <a:lnTo>
                      <a:pt x="176" y="472"/>
                    </a:lnTo>
                    <a:lnTo>
                      <a:pt x="168" y="536"/>
                    </a:lnTo>
                    <a:lnTo>
                      <a:pt x="200" y="560"/>
                    </a:lnTo>
                    <a:lnTo>
                      <a:pt x="160" y="576"/>
                    </a:lnTo>
                    <a:lnTo>
                      <a:pt x="152" y="616"/>
                    </a:lnTo>
                    <a:lnTo>
                      <a:pt x="184" y="648"/>
                    </a:lnTo>
                    <a:lnTo>
                      <a:pt x="160" y="672"/>
                    </a:lnTo>
                    <a:lnTo>
                      <a:pt x="176" y="704"/>
                    </a:lnTo>
                    <a:lnTo>
                      <a:pt x="144" y="712"/>
                    </a:lnTo>
                    <a:lnTo>
                      <a:pt x="152" y="752"/>
                    </a:lnTo>
                    <a:lnTo>
                      <a:pt x="120" y="760"/>
                    </a:lnTo>
                    <a:lnTo>
                      <a:pt x="112" y="840"/>
                    </a:lnTo>
                    <a:lnTo>
                      <a:pt x="160" y="848"/>
                    </a:lnTo>
                    <a:lnTo>
                      <a:pt x="224" y="840"/>
                    </a:lnTo>
                    <a:lnTo>
                      <a:pt x="304" y="800"/>
                    </a:lnTo>
                    <a:lnTo>
                      <a:pt x="352" y="800"/>
                    </a:lnTo>
                    <a:lnTo>
                      <a:pt x="384" y="832"/>
                    </a:lnTo>
                    <a:close/>
                  </a:path>
                </a:pathLst>
              </a:custGeom>
              <a:solidFill>
                <a:srgbClr val="9950A8"/>
              </a:solidFill>
              <a:ln w="9525">
                <a:solidFill>
                  <a:schemeClr val="bg1"/>
                </a:solidFill>
                <a:round/>
                <a:headEnd/>
                <a:tailEnd/>
              </a:ln>
            </p:spPr>
            <p:txBody>
              <a:bodyPr/>
              <a:lstStyle/>
              <a:p>
                <a:endParaRPr lang="en-US" sz="1050"/>
              </a:p>
            </p:txBody>
          </p:sp>
          <p:sp>
            <p:nvSpPr>
              <p:cNvPr id="135" name="Freeform 134"/>
              <p:cNvSpPr>
                <a:spLocks/>
              </p:cNvSpPr>
              <p:nvPr/>
            </p:nvSpPr>
            <p:spPr bwMode="auto">
              <a:xfrm>
                <a:off x="4156236" y="4482874"/>
                <a:ext cx="490275" cy="780757"/>
              </a:xfrm>
              <a:custGeom>
                <a:avLst/>
                <a:gdLst>
                  <a:gd name="T0" fmla="*/ 2147483646 w 416"/>
                  <a:gd name="T1" fmla="*/ 2147483646 h 720"/>
                  <a:gd name="T2" fmla="*/ 2147483646 w 416"/>
                  <a:gd name="T3" fmla="*/ 2147483646 h 720"/>
                  <a:gd name="T4" fmla="*/ 2147483646 w 416"/>
                  <a:gd name="T5" fmla="*/ 2147483646 h 720"/>
                  <a:gd name="T6" fmla="*/ 2147483646 w 416"/>
                  <a:gd name="T7" fmla="*/ 2147483646 h 720"/>
                  <a:gd name="T8" fmla="*/ 2147483646 w 416"/>
                  <a:gd name="T9" fmla="*/ 2147483646 h 720"/>
                  <a:gd name="T10" fmla="*/ 2147483646 w 416"/>
                  <a:gd name="T11" fmla="*/ 2147483646 h 720"/>
                  <a:gd name="T12" fmla="*/ 2147483646 w 416"/>
                  <a:gd name="T13" fmla="*/ 2147483646 h 720"/>
                  <a:gd name="T14" fmla="*/ 2147483646 w 416"/>
                  <a:gd name="T15" fmla="*/ 2147483646 h 720"/>
                  <a:gd name="T16" fmla="*/ 2147483646 w 416"/>
                  <a:gd name="T17" fmla="*/ 2147483646 h 720"/>
                  <a:gd name="T18" fmla="*/ 2147483646 w 416"/>
                  <a:gd name="T19" fmla="*/ 2147483646 h 720"/>
                  <a:gd name="T20" fmla="*/ 2147483646 w 416"/>
                  <a:gd name="T21" fmla="*/ 2147483646 h 720"/>
                  <a:gd name="T22" fmla="*/ 2147483646 w 416"/>
                  <a:gd name="T23" fmla="*/ 2147483646 h 720"/>
                  <a:gd name="T24" fmla="*/ 2147483646 w 416"/>
                  <a:gd name="T25" fmla="*/ 2147483646 h 720"/>
                  <a:gd name="T26" fmla="*/ 2147483646 w 416"/>
                  <a:gd name="T27" fmla="*/ 2147483646 h 720"/>
                  <a:gd name="T28" fmla="*/ 2147483646 w 416"/>
                  <a:gd name="T29" fmla="*/ 2147483646 h 720"/>
                  <a:gd name="T30" fmla="*/ 2147483646 w 416"/>
                  <a:gd name="T31" fmla="*/ 2147483646 h 720"/>
                  <a:gd name="T32" fmla="*/ 2147483646 w 416"/>
                  <a:gd name="T33" fmla="*/ 0 h 720"/>
                  <a:gd name="T34" fmla="*/ 2147483646 w 416"/>
                  <a:gd name="T35" fmla="*/ 2147483646 h 720"/>
                  <a:gd name="T36" fmla="*/ 2147483646 w 416"/>
                  <a:gd name="T37" fmla="*/ 2147483646 h 720"/>
                  <a:gd name="T38" fmla="*/ 0 w 416"/>
                  <a:gd name="T39" fmla="*/ 2147483646 h 720"/>
                  <a:gd name="T40" fmla="*/ 2147483646 w 416"/>
                  <a:gd name="T41" fmla="*/ 2147483646 h 720"/>
                  <a:gd name="T42" fmla="*/ 2147483646 w 416"/>
                  <a:gd name="T43" fmla="*/ 2147483646 h 720"/>
                  <a:gd name="T44" fmla="*/ 2147483646 w 416"/>
                  <a:gd name="T45" fmla="*/ 2147483646 h 720"/>
                  <a:gd name="T46" fmla="*/ 2147483646 w 416"/>
                  <a:gd name="T47" fmla="*/ 2147483646 h 720"/>
                  <a:gd name="T48" fmla="*/ 2147483646 w 416"/>
                  <a:gd name="T49" fmla="*/ 2147483646 h 720"/>
                  <a:gd name="T50" fmla="*/ 2147483646 w 416"/>
                  <a:gd name="T51" fmla="*/ 2147483646 h 720"/>
                  <a:gd name="T52" fmla="*/ 2147483646 w 416"/>
                  <a:gd name="T53" fmla="*/ 2147483646 h 720"/>
                  <a:gd name="T54" fmla="*/ 2147483646 w 416"/>
                  <a:gd name="T55" fmla="*/ 2147483646 h 720"/>
                  <a:gd name="T56" fmla="*/ 2147483646 w 416"/>
                  <a:gd name="T57" fmla="*/ 2147483646 h 720"/>
                  <a:gd name="T58" fmla="*/ 2147483646 w 416"/>
                  <a:gd name="T59" fmla="*/ 2147483646 h 720"/>
                  <a:gd name="T60" fmla="*/ 2147483646 w 416"/>
                  <a:gd name="T61" fmla="*/ 2147483646 h 720"/>
                  <a:gd name="T62" fmla="*/ 2147483646 w 416"/>
                  <a:gd name="T63" fmla="*/ 2147483646 h 720"/>
                  <a:gd name="T64" fmla="*/ 2147483646 w 416"/>
                  <a:gd name="T65" fmla="*/ 2147483646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720"/>
                  <a:gd name="T101" fmla="*/ 416 w 416"/>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720">
                    <a:moveTo>
                      <a:pt x="128" y="704"/>
                    </a:moveTo>
                    <a:lnTo>
                      <a:pt x="184" y="720"/>
                    </a:lnTo>
                    <a:lnTo>
                      <a:pt x="208" y="704"/>
                    </a:lnTo>
                    <a:lnTo>
                      <a:pt x="240" y="704"/>
                    </a:lnTo>
                    <a:lnTo>
                      <a:pt x="264" y="672"/>
                    </a:lnTo>
                    <a:lnTo>
                      <a:pt x="304" y="688"/>
                    </a:lnTo>
                    <a:lnTo>
                      <a:pt x="280" y="600"/>
                    </a:lnTo>
                    <a:lnTo>
                      <a:pt x="288" y="504"/>
                    </a:lnTo>
                    <a:lnTo>
                      <a:pt x="368" y="440"/>
                    </a:lnTo>
                    <a:lnTo>
                      <a:pt x="368" y="480"/>
                    </a:lnTo>
                    <a:lnTo>
                      <a:pt x="384" y="456"/>
                    </a:lnTo>
                    <a:lnTo>
                      <a:pt x="384" y="352"/>
                    </a:lnTo>
                    <a:lnTo>
                      <a:pt x="416" y="296"/>
                    </a:lnTo>
                    <a:lnTo>
                      <a:pt x="384" y="216"/>
                    </a:lnTo>
                    <a:lnTo>
                      <a:pt x="408" y="152"/>
                    </a:lnTo>
                    <a:lnTo>
                      <a:pt x="416" y="8"/>
                    </a:lnTo>
                    <a:lnTo>
                      <a:pt x="280" y="0"/>
                    </a:lnTo>
                    <a:lnTo>
                      <a:pt x="152" y="24"/>
                    </a:lnTo>
                    <a:lnTo>
                      <a:pt x="16" y="72"/>
                    </a:lnTo>
                    <a:lnTo>
                      <a:pt x="0" y="64"/>
                    </a:lnTo>
                    <a:lnTo>
                      <a:pt x="8" y="136"/>
                    </a:lnTo>
                    <a:lnTo>
                      <a:pt x="120" y="168"/>
                    </a:lnTo>
                    <a:lnTo>
                      <a:pt x="112" y="272"/>
                    </a:lnTo>
                    <a:lnTo>
                      <a:pt x="64" y="344"/>
                    </a:lnTo>
                    <a:lnTo>
                      <a:pt x="72" y="400"/>
                    </a:lnTo>
                    <a:lnTo>
                      <a:pt x="40" y="424"/>
                    </a:lnTo>
                    <a:lnTo>
                      <a:pt x="64" y="456"/>
                    </a:lnTo>
                    <a:lnTo>
                      <a:pt x="56" y="496"/>
                    </a:lnTo>
                    <a:lnTo>
                      <a:pt x="72" y="520"/>
                    </a:lnTo>
                    <a:lnTo>
                      <a:pt x="64" y="568"/>
                    </a:lnTo>
                    <a:lnTo>
                      <a:pt x="72" y="624"/>
                    </a:lnTo>
                    <a:lnTo>
                      <a:pt x="112" y="640"/>
                    </a:lnTo>
                    <a:lnTo>
                      <a:pt x="128" y="704"/>
                    </a:lnTo>
                    <a:close/>
                  </a:path>
                </a:pathLst>
              </a:custGeom>
              <a:solidFill>
                <a:srgbClr val="9950A8"/>
              </a:solidFill>
              <a:ln w="9525">
                <a:solidFill>
                  <a:schemeClr val="bg1"/>
                </a:solidFill>
                <a:round/>
                <a:headEnd/>
                <a:tailEnd/>
              </a:ln>
            </p:spPr>
            <p:txBody>
              <a:bodyPr/>
              <a:lstStyle/>
              <a:p>
                <a:endParaRPr lang="en-US" sz="1050"/>
              </a:p>
            </p:txBody>
          </p:sp>
          <p:sp>
            <p:nvSpPr>
              <p:cNvPr id="136" name="Freeform 135"/>
              <p:cNvSpPr>
                <a:spLocks/>
              </p:cNvSpPr>
              <p:nvPr/>
            </p:nvSpPr>
            <p:spPr bwMode="auto">
              <a:xfrm>
                <a:off x="3581106" y="4630350"/>
                <a:ext cx="716555" cy="589905"/>
              </a:xfrm>
              <a:custGeom>
                <a:avLst/>
                <a:gdLst>
                  <a:gd name="T0" fmla="*/ 2147483646 w 608"/>
                  <a:gd name="T1" fmla="*/ 2147483646 h 544"/>
                  <a:gd name="T2" fmla="*/ 2147483646 w 608"/>
                  <a:gd name="T3" fmla="*/ 2147483646 h 544"/>
                  <a:gd name="T4" fmla="*/ 2147483646 w 608"/>
                  <a:gd name="T5" fmla="*/ 2147483646 h 544"/>
                  <a:gd name="T6" fmla="*/ 2147483646 w 608"/>
                  <a:gd name="T7" fmla="*/ 2147483646 h 544"/>
                  <a:gd name="T8" fmla="*/ 2147483646 w 608"/>
                  <a:gd name="T9" fmla="*/ 2147483646 h 544"/>
                  <a:gd name="T10" fmla="*/ 2147483646 w 608"/>
                  <a:gd name="T11" fmla="*/ 0 h 544"/>
                  <a:gd name="T12" fmla="*/ 2147483646 w 608"/>
                  <a:gd name="T13" fmla="*/ 2147483646 h 544"/>
                  <a:gd name="T14" fmla="*/ 2147483646 w 608"/>
                  <a:gd name="T15" fmla="*/ 2147483646 h 544"/>
                  <a:gd name="T16" fmla="*/ 2147483646 w 608"/>
                  <a:gd name="T17" fmla="*/ 2147483646 h 544"/>
                  <a:gd name="T18" fmla="*/ 2147483646 w 608"/>
                  <a:gd name="T19" fmla="*/ 2147483646 h 544"/>
                  <a:gd name="T20" fmla="*/ 2147483646 w 608"/>
                  <a:gd name="T21" fmla="*/ 2147483646 h 544"/>
                  <a:gd name="T22" fmla="*/ 2147483646 w 608"/>
                  <a:gd name="T23" fmla="*/ 2147483646 h 544"/>
                  <a:gd name="T24" fmla="*/ 2147483646 w 608"/>
                  <a:gd name="T25" fmla="*/ 2147483646 h 544"/>
                  <a:gd name="T26" fmla="*/ 2147483646 w 608"/>
                  <a:gd name="T27" fmla="*/ 2147483646 h 544"/>
                  <a:gd name="T28" fmla="*/ 2147483646 w 608"/>
                  <a:gd name="T29" fmla="*/ 2147483646 h 544"/>
                  <a:gd name="T30" fmla="*/ 2147483646 w 608"/>
                  <a:gd name="T31" fmla="*/ 2147483646 h 544"/>
                  <a:gd name="T32" fmla="*/ 2147483646 w 608"/>
                  <a:gd name="T33" fmla="*/ 2147483646 h 544"/>
                  <a:gd name="T34" fmla="*/ 2147483646 w 608"/>
                  <a:gd name="T35" fmla="*/ 2147483646 h 544"/>
                  <a:gd name="T36" fmla="*/ 2147483646 w 608"/>
                  <a:gd name="T37" fmla="*/ 2147483646 h 544"/>
                  <a:gd name="T38" fmla="*/ 2147483646 w 608"/>
                  <a:gd name="T39" fmla="*/ 2147483646 h 544"/>
                  <a:gd name="T40" fmla="*/ 2147483646 w 608"/>
                  <a:gd name="T41" fmla="*/ 2147483646 h 544"/>
                  <a:gd name="T42" fmla="*/ 2147483646 w 608"/>
                  <a:gd name="T43" fmla="*/ 2147483646 h 544"/>
                  <a:gd name="T44" fmla="*/ 2147483646 w 608"/>
                  <a:gd name="T45" fmla="*/ 2147483646 h 544"/>
                  <a:gd name="T46" fmla="*/ 2147483646 w 608"/>
                  <a:gd name="T47" fmla="*/ 2147483646 h 544"/>
                  <a:gd name="T48" fmla="*/ 2147483646 w 608"/>
                  <a:gd name="T49" fmla="*/ 2147483646 h 544"/>
                  <a:gd name="T50" fmla="*/ 2147483646 w 608"/>
                  <a:gd name="T51" fmla="*/ 2147483646 h 544"/>
                  <a:gd name="T52" fmla="*/ 2147483646 w 608"/>
                  <a:gd name="T53" fmla="*/ 2147483646 h 544"/>
                  <a:gd name="T54" fmla="*/ 2147483646 w 608"/>
                  <a:gd name="T55" fmla="*/ 2147483646 h 544"/>
                  <a:gd name="T56" fmla="*/ 0 w 608"/>
                  <a:gd name="T57" fmla="*/ 2147483646 h 544"/>
                  <a:gd name="T58" fmla="*/ 0 w 608"/>
                  <a:gd name="T59" fmla="*/ 2147483646 h 544"/>
                  <a:gd name="T60" fmla="*/ 2147483646 w 608"/>
                  <a:gd name="T61" fmla="*/ 2147483646 h 5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8"/>
                  <a:gd name="T94" fmla="*/ 0 h 544"/>
                  <a:gd name="T95" fmla="*/ 608 w 608"/>
                  <a:gd name="T96" fmla="*/ 544 h 5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8" h="544">
                    <a:moveTo>
                      <a:pt x="40" y="48"/>
                    </a:moveTo>
                    <a:lnTo>
                      <a:pt x="88" y="40"/>
                    </a:lnTo>
                    <a:lnTo>
                      <a:pt x="200" y="72"/>
                    </a:lnTo>
                    <a:lnTo>
                      <a:pt x="312" y="32"/>
                    </a:lnTo>
                    <a:lnTo>
                      <a:pt x="440" y="32"/>
                    </a:lnTo>
                    <a:lnTo>
                      <a:pt x="496" y="0"/>
                    </a:lnTo>
                    <a:lnTo>
                      <a:pt x="608" y="32"/>
                    </a:lnTo>
                    <a:lnTo>
                      <a:pt x="600" y="136"/>
                    </a:lnTo>
                    <a:lnTo>
                      <a:pt x="552" y="208"/>
                    </a:lnTo>
                    <a:lnTo>
                      <a:pt x="560" y="264"/>
                    </a:lnTo>
                    <a:lnTo>
                      <a:pt x="528" y="288"/>
                    </a:lnTo>
                    <a:lnTo>
                      <a:pt x="544" y="304"/>
                    </a:lnTo>
                    <a:lnTo>
                      <a:pt x="544" y="360"/>
                    </a:lnTo>
                    <a:lnTo>
                      <a:pt x="560" y="384"/>
                    </a:lnTo>
                    <a:lnTo>
                      <a:pt x="552" y="432"/>
                    </a:lnTo>
                    <a:lnTo>
                      <a:pt x="520" y="440"/>
                    </a:lnTo>
                    <a:lnTo>
                      <a:pt x="496" y="528"/>
                    </a:lnTo>
                    <a:lnTo>
                      <a:pt x="424" y="520"/>
                    </a:lnTo>
                    <a:lnTo>
                      <a:pt x="384" y="544"/>
                    </a:lnTo>
                    <a:lnTo>
                      <a:pt x="304" y="488"/>
                    </a:lnTo>
                    <a:lnTo>
                      <a:pt x="216" y="456"/>
                    </a:lnTo>
                    <a:lnTo>
                      <a:pt x="192" y="408"/>
                    </a:lnTo>
                    <a:lnTo>
                      <a:pt x="136" y="392"/>
                    </a:lnTo>
                    <a:lnTo>
                      <a:pt x="144" y="320"/>
                    </a:lnTo>
                    <a:lnTo>
                      <a:pt x="120" y="280"/>
                    </a:lnTo>
                    <a:lnTo>
                      <a:pt x="152" y="264"/>
                    </a:lnTo>
                    <a:lnTo>
                      <a:pt x="120" y="192"/>
                    </a:lnTo>
                    <a:lnTo>
                      <a:pt x="56" y="152"/>
                    </a:lnTo>
                    <a:lnTo>
                      <a:pt x="0" y="112"/>
                    </a:lnTo>
                    <a:lnTo>
                      <a:pt x="0" y="80"/>
                    </a:lnTo>
                    <a:lnTo>
                      <a:pt x="40" y="48"/>
                    </a:lnTo>
                    <a:close/>
                  </a:path>
                </a:pathLst>
              </a:custGeom>
              <a:solidFill>
                <a:srgbClr val="002060"/>
              </a:solidFill>
              <a:ln w="9525">
                <a:solidFill>
                  <a:schemeClr val="bg1"/>
                </a:solidFill>
                <a:round/>
                <a:headEnd/>
                <a:tailEnd/>
              </a:ln>
            </p:spPr>
            <p:txBody>
              <a:bodyPr/>
              <a:lstStyle/>
              <a:p>
                <a:endParaRPr lang="en-US" sz="1050"/>
              </a:p>
            </p:txBody>
          </p:sp>
          <p:sp>
            <p:nvSpPr>
              <p:cNvPr id="137" name="Freeform 136"/>
              <p:cNvSpPr>
                <a:spLocks/>
              </p:cNvSpPr>
              <p:nvPr/>
            </p:nvSpPr>
            <p:spPr bwMode="auto">
              <a:xfrm>
                <a:off x="3203972" y="4795177"/>
                <a:ext cx="829695" cy="772082"/>
              </a:xfrm>
              <a:custGeom>
                <a:avLst/>
                <a:gdLst>
                  <a:gd name="T0" fmla="*/ 2147483646 w 704"/>
                  <a:gd name="T1" fmla="*/ 0 h 712"/>
                  <a:gd name="T2" fmla="*/ 2147483646 w 704"/>
                  <a:gd name="T3" fmla="*/ 2147483646 h 712"/>
                  <a:gd name="T4" fmla="*/ 2147483646 w 704"/>
                  <a:gd name="T5" fmla="*/ 2147483646 h 712"/>
                  <a:gd name="T6" fmla="*/ 2147483646 w 704"/>
                  <a:gd name="T7" fmla="*/ 2147483646 h 712"/>
                  <a:gd name="T8" fmla="*/ 2147483646 w 704"/>
                  <a:gd name="T9" fmla="*/ 2147483646 h 712"/>
                  <a:gd name="T10" fmla="*/ 2147483646 w 704"/>
                  <a:gd name="T11" fmla="*/ 2147483646 h 712"/>
                  <a:gd name="T12" fmla="*/ 2147483646 w 704"/>
                  <a:gd name="T13" fmla="*/ 2147483646 h 712"/>
                  <a:gd name="T14" fmla="*/ 2147483646 w 704"/>
                  <a:gd name="T15" fmla="*/ 2147483646 h 712"/>
                  <a:gd name="T16" fmla="*/ 2147483646 w 704"/>
                  <a:gd name="T17" fmla="*/ 2147483646 h 712"/>
                  <a:gd name="T18" fmla="*/ 2147483646 w 704"/>
                  <a:gd name="T19" fmla="*/ 2147483646 h 712"/>
                  <a:gd name="T20" fmla="*/ 2147483646 w 704"/>
                  <a:gd name="T21" fmla="*/ 2147483646 h 712"/>
                  <a:gd name="T22" fmla="*/ 2147483646 w 704"/>
                  <a:gd name="T23" fmla="*/ 2147483646 h 712"/>
                  <a:gd name="T24" fmla="*/ 2147483646 w 704"/>
                  <a:gd name="T25" fmla="*/ 2147483646 h 712"/>
                  <a:gd name="T26" fmla="*/ 2147483646 w 704"/>
                  <a:gd name="T27" fmla="*/ 2147483646 h 712"/>
                  <a:gd name="T28" fmla="*/ 2147483646 w 704"/>
                  <a:gd name="T29" fmla="*/ 2147483646 h 712"/>
                  <a:gd name="T30" fmla="*/ 2147483646 w 704"/>
                  <a:gd name="T31" fmla="*/ 2147483646 h 712"/>
                  <a:gd name="T32" fmla="*/ 2147483646 w 704"/>
                  <a:gd name="T33" fmla="*/ 2147483646 h 712"/>
                  <a:gd name="T34" fmla="*/ 2147483646 w 704"/>
                  <a:gd name="T35" fmla="*/ 2147483646 h 712"/>
                  <a:gd name="T36" fmla="*/ 2147483646 w 704"/>
                  <a:gd name="T37" fmla="*/ 2147483646 h 712"/>
                  <a:gd name="T38" fmla="*/ 2147483646 w 704"/>
                  <a:gd name="T39" fmla="*/ 2147483646 h 712"/>
                  <a:gd name="T40" fmla="*/ 2147483646 w 704"/>
                  <a:gd name="T41" fmla="*/ 2147483646 h 712"/>
                  <a:gd name="T42" fmla="*/ 2147483646 w 704"/>
                  <a:gd name="T43" fmla="*/ 2147483646 h 712"/>
                  <a:gd name="T44" fmla="*/ 2147483646 w 704"/>
                  <a:gd name="T45" fmla="*/ 2147483646 h 712"/>
                  <a:gd name="T46" fmla="*/ 2147483646 w 704"/>
                  <a:gd name="T47" fmla="*/ 2147483646 h 712"/>
                  <a:gd name="T48" fmla="*/ 2147483646 w 704"/>
                  <a:gd name="T49" fmla="*/ 2147483646 h 712"/>
                  <a:gd name="T50" fmla="*/ 2147483646 w 704"/>
                  <a:gd name="T51" fmla="*/ 2147483646 h 712"/>
                  <a:gd name="T52" fmla="*/ 2147483646 w 704"/>
                  <a:gd name="T53" fmla="*/ 2147483646 h 712"/>
                  <a:gd name="T54" fmla="*/ 2147483646 w 704"/>
                  <a:gd name="T55" fmla="*/ 2147483646 h 712"/>
                  <a:gd name="T56" fmla="*/ 2147483646 w 704"/>
                  <a:gd name="T57" fmla="*/ 2147483646 h 712"/>
                  <a:gd name="T58" fmla="*/ 2147483646 w 704"/>
                  <a:gd name="T59" fmla="*/ 2147483646 h 712"/>
                  <a:gd name="T60" fmla="*/ 2147483646 w 704"/>
                  <a:gd name="T61" fmla="*/ 2147483646 h 712"/>
                  <a:gd name="T62" fmla="*/ 2147483646 w 704"/>
                  <a:gd name="T63" fmla="*/ 2147483646 h 712"/>
                  <a:gd name="T64" fmla="*/ 2147483646 w 704"/>
                  <a:gd name="T65" fmla="*/ 2147483646 h 712"/>
                  <a:gd name="T66" fmla="*/ 2147483646 w 704"/>
                  <a:gd name="T67" fmla="*/ 2147483646 h 712"/>
                  <a:gd name="T68" fmla="*/ 2147483646 w 704"/>
                  <a:gd name="T69" fmla="*/ 2147483646 h 712"/>
                  <a:gd name="T70" fmla="*/ 2147483646 w 704"/>
                  <a:gd name="T71" fmla="*/ 2147483646 h 712"/>
                  <a:gd name="T72" fmla="*/ 2147483646 w 704"/>
                  <a:gd name="T73" fmla="*/ 2147483646 h 712"/>
                  <a:gd name="T74" fmla="*/ 2147483646 w 704"/>
                  <a:gd name="T75" fmla="*/ 2147483646 h 712"/>
                  <a:gd name="T76" fmla="*/ 2147483646 w 704"/>
                  <a:gd name="T77" fmla="*/ 2147483646 h 712"/>
                  <a:gd name="T78" fmla="*/ 2147483646 w 704"/>
                  <a:gd name="T79" fmla="*/ 2147483646 h 712"/>
                  <a:gd name="T80" fmla="*/ 2147483646 w 704"/>
                  <a:gd name="T81" fmla="*/ 2147483646 h 712"/>
                  <a:gd name="T82" fmla="*/ 2147483646 w 704"/>
                  <a:gd name="T83" fmla="*/ 2147483646 h 712"/>
                  <a:gd name="T84" fmla="*/ 2147483646 w 704"/>
                  <a:gd name="T85" fmla="*/ 2147483646 h 712"/>
                  <a:gd name="T86" fmla="*/ 2147483646 w 704"/>
                  <a:gd name="T87" fmla="*/ 2147483646 h 712"/>
                  <a:gd name="T88" fmla="*/ 2147483646 w 704"/>
                  <a:gd name="T89" fmla="*/ 2147483646 h 712"/>
                  <a:gd name="T90" fmla="*/ 2147483646 w 704"/>
                  <a:gd name="T91" fmla="*/ 2147483646 h 712"/>
                  <a:gd name="T92" fmla="*/ 2147483646 w 704"/>
                  <a:gd name="T93" fmla="*/ 2147483646 h 712"/>
                  <a:gd name="T94" fmla="*/ 2147483646 w 704"/>
                  <a:gd name="T95" fmla="*/ 2147483646 h 712"/>
                  <a:gd name="T96" fmla="*/ 0 w 704"/>
                  <a:gd name="T97" fmla="*/ 2147483646 h 712"/>
                  <a:gd name="T98" fmla="*/ 2147483646 w 704"/>
                  <a:gd name="T99" fmla="*/ 2147483646 h 712"/>
                  <a:gd name="T100" fmla="*/ 2147483646 w 704"/>
                  <a:gd name="T101" fmla="*/ 2147483646 h 712"/>
                  <a:gd name="T102" fmla="*/ 2147483646 w 704"/>
                  <a:gd name="T103" fmla="*/ 2147483646 h 712"/>
                  <a:gd name="T104" fmla="*/ 2147483646 w 704"/>
                  <a:gd name="T105" fmla="*/ 2147483646 h 712"/>
                  <a:gd name="T106" fmla="*/ 2147483646 w 704"/>
                  <a:gd name="T107" fmla="*/ 2147483646 h 712"/>
                  <a:gd name="T108" fmla="*/ 2147483646 w 704"/>
                  <a:gd name="T109" fmla="*/ 2147483646 h 712"/>
                  <a:gd name="T110" fmla="*/ 2147483646 w 704"/>
                  <a:gd name="T111" fmla="*/ 2147483646 h 712"/>
                  <a:gd name="T112" fmla="*/ 2147483646 w 704"/>
                  <a:gd name="T113" fmla="*/ 2147483646 h 712"/>
                  <a:gd name="T114" fmla="*/ 2147483646 w 704"/>
                  <a:gd name="T115" fmla="*/ 2147483646 h 712"/>
                  <a:gd name="T116" fmla="*/ 2147483646 w 704"/>
                  <a:gd name="T117" fmla="*/ 2147483646 h 712"/>
                  <a:gd name="T118" fmla="*/ 2147483646 w 704"/>
                  <a:gd name="T119" fmla="*/ 2147483646 h 712"/>
                  <a:gd name="T120" fmla="*/ 2147483646 w 704"/>
                  <a:gd name="T121" fmla="*/ 2147483646 h 712"/>
                  <a:gd name="T122" fmla="*/ 2147483646 w 704"/>
                  <a:gd name="T123" fmla="*/ 0 h 7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
                  <a:gd name="T187" fmla="*/ 0 h 712"/>
                  <a:gd name="T188" fmla="*/ 704 w 704"/>
                  <a:gd name="T189" fmla="*/ 712 h 7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 h="712">
                    <a:moveTo>
                      <a:pt x="376" y="0"/>
                    </a:moveTo>
                    <a:lnTo>
                      <a:pt x="440" y="40"/>
                    </a:lnTo>
                    <a:lnTo>
                      <a:pt x="472" y="112"/>
                    </a:lnTo>
                    <a:lnTo>
                      <a:pt x="440" y="128"/>
                    </a:lnTo>
                    <a:lnTo>
                      <a:pt x="464" y="168"/>
                    </a:lnTo>
                    <a:lnTo>
                      <a:pt x="456" y="240"/>
                    </a:lnTo>
                    <a:lnTo>
                      <a:pt x="512" y="256"/>
                    </a:lnTo>
                    <a:lnTo>
                      <a:pt x="536" y="304"/>
                    </a:lnTo>
                    <a:lnTo>
                      <a:pt x="624" y="336"/>
                    </a:lnTo>
                    <a:lnTo>
                      <a:pt x="704" y="392"/>
                    </a:lnTo>
                    <a:lnTo>
                      <a:pt x="616" y="424"/>
                    </a:lnTo>
                    <a:lnTo>
                      <a:pt x="552" y="472"/>
                    </a:lnTo>
                    <a:lnTo>
                      <a:pt x="552" y="504"/>
                    </a:lnTo>
                    <a:lnTo>
                      <a:pt x="584" y="512"/>
                    </a:lnTo>
                    <a:lnTo>
                      <a:pt x="552" y="544"/>
                    </a:lnTo>
                    <a:lnTo>
                      <a:pt x="520" y="600"/>
                    </a:lnTo>
                    <a:lnTo>
                      <a:pt x="528" y="680"/>
                    </a:lnTo>
                    <a:lnTo>
                      <a:pt x="488" y="672"/>
                    </a:lnTo>
                    <a:lnTo>
                      <a:pt x="464" y="712"/>
                    </a:lnTo>
                    <a:lnTo>
                      <a:pt x="416" y="704"/>
                    </a:lnTo>
                    <a:lnTo>
                      <a:pt x="392" y="680"/>
                    </a:lnTo>
                    <a:lnTo>
                      <a:pt x="368" y="664"/>
                    </a:lnTo>
                    <a:lnTo>
                      <a:pt x="352" y="640"/>
                    </a:lnTo>
                    <a:lnTo>
                      <a:pt x="304" y="632"/>
                    </a:lnTo>
                    <a:lnTo>
                      <a:pt x="304" y="576"/>
                    </a:lnTo>
                    <a:lnTo>
                      <a:pt x="264" y="568"/>
                    </a:lnTo>
                    <a:lnTo>
                      <a:pt x="240" y="520"/>
                    </a:lnTo>
                    <a:lnTo>
                      <a:pt x="232" y="480"/>
                    </a:lnTo>
                    <a:lnTo>
                      <a:pt x="200" y="456"/>
                    </a:lnTo>
                    <a:lnTo>
                      <a:pt x="224" y="432"/>
                    </a:lnTo>
                    <a:lnTo>
                      <a:pt x="248" y="432"/>
                    </a:lnTo>
                    <a:lnTo>
                      <a:pt x="264" y="392"/>
                    </a:lnTo>
                    <a:lnTo>
                      <a:pt x="304" y="392"/>
                    </a:lnTo>
                    <a:lnTo>
                      <a:pt x="344" y="416"/>
                    </a:lnTo>
                    <a:lnTo>
                      <a:pt x="360" y="392"/>
                    </a:lnTo>
                    <a:lnTo>
                      <a:pt x="344" y="360"/>
                    </a:lnTo>
                    <a:lnTo>
                      <a:pt x="320" y="352"/>
                    </a:lnTo>
                    <a:lnTo>
                      <a:pt x="288" y="344"/>
                    </a:lnTo>
                    <a:lnTo>
                      <a:pt x="240" y="312"/>
                    </a:lnTo>
                    <a:lnTo>
                      <a:pt x="216" y="280"/>
                    </a:lnTo>
                    <a:lnTo>
                      <a:pt x="192" y="296"/>
                    </a:lnTo>
                    <a:lnTo>
                      <a:pt x="168" y="312"/>
                    </a:lnTo>
                    <a:lnTo>
                      <a:pt x="144" y="312"/>
                    </a:lnTo>
                    <a:lnTo>
                      <a:pt x="112" y="368"/>
                    </a:lnTo>
                    <a:lnTo>
                      <a:pt x="80" y="440"/>
                    </a:lnTo>
                    <a:lnTo>
                      <a:pt x="48" y="448"/>
                    </a:lnTo>
                    <a:lnTo>
                      <a:pt x="16" y="416"/>
                    </a:lnTo>
                    <a:lnTo>
                      <a:pt x="32" y="392"/>
                    </a:lnTo>
                    <a:lnTo>
                      <a:pt x="0" y="384"/>
                    </a:lnTo>
                    <a:lnTo>
                      <a:pt x="8" y="360"/>
                    </a:lnTo>
                    <a:lnTo>
                      <a:pt x="40" y="352"/>
                    </a:lnTo>
                    <a:lnTo>
                      <a:pt x="56" y="384"/>
                    </a:lnTo>
                    <a:lnTo>
                      <a:pt x="80" y="360"/>
                    </a:lnTo>
                    <a:lnTo>
                      <a:pt x="64" y="296"/>
                    </a:lnTo>
                    <a:lnTo>
                      <a:pt x="104" y="256"/>
                    </a:lnTo>
                    <a:lnTo>
                      <a:pt x="104" y="208"/>
                    </a:lnTo>
                    <a:lnTo>
                      <a:pt x="136" y="208"/>
                    </a:lnTo>
                    <a:lnTo>
                      <a:pt x="168" y="256"/>
                    </a:lnTo>
                    <a:lnTo>
                      <a:pt x="208" y="248"/>
                    </a:lnTo>
                    <a:lnTo>
                      <a:pt x="240" y="168"/>
                    </a:lnTo>
                    <a:lnTo>
                      <a:pt x="304" y="56"/>
                    </a:lnTo>
                    <a:lnTo>
                      <a:pt x="376" y="0"/>
                    </a:lnTo>
                    <a:close/>
                  </a:path>
                </a:pathLst>
              </a:custGeom>
              <a:solidFill>
                <a:srgbClr val="9950A8"/>
              </a:solidFill>
              <a:ln w="9525">
                <a:solidFill>
                  <a:schemeClr val="bg1"/>
                </a:solidFill>
                <a:round/>
                <a:headEnd/>
                <a:tailEnd/>
              </a:ln>
            </p:spPr>
            <p:txBody>
              <a:bodyPr/>
              <a:lstStyle/>
              <a:p>
                <a:endParaRPr lang="en-US" sz="1050"/>
              </a:p>
            </p:txBody>
          </p:sp>
          <p:sp>
            <p:nvSpPr>
              <p:cNvPr id="138" name="Freeform 137"/>
              <p:cNvSpPr>
                <a:spLocks/>
              </p:cNvSpPr>
              <p:nvPr/>
            </p:nvSpPr>
            <p:spPr bwMode="auto">
              <a:xfrm>
                <a:off x="3628248" y="5098804"/>
                <a:ext cx="857981" cy="772082"/>
              </a:xfrm>
              <a:custGeom>
                <a:avLst/>
                <a:gdLst>
                  <a:gd name="T0" fmla="*/ 2147483646 w 728"/>
                  <a:gd name="T1" fmla="*/ 2147483646 h 712"/>
                  <a:gd name="T2" fmla="*/ 2147483646 w 728"/>
                  <a:gd name="T3" fmla="*/ 2147483646 h 712"/>
                  <a:gd name="T4" fmla="*/ 2147483646 w 728"/>
                  <a:gd name="T5" fmla="*/ 2147483646 h 712"/>
                  <a:gd name="T6" fmla="*/ 2147483646 w 728"/>
                  <a:gd name="T7" fmla="*/ 2147483646 h 712"/>
                  <a:gd name="T8" fmla="*/ 2147483646 w 728"/>
                  <a:gd name="T9" fmla="*/ 2147483646 h 712"/>
                  <a:gd name="T10" fmla="*/ 2147483646 w 728"/>
                  <a:gd name="T11" fmla="*/ 2147483646 h 712"/>
                  <a:gd name="T12" fmla="*/ 2147483646 w 728"/>
                  <a:gd name="T13" fmla="*/ 2147483646 h 712"/>
                  <a:gd name="T14" fmla="*/ 2147483646 w 728"/>
                  <a:gd name="T15" fmla="*/ 2147483646 h 712"/>
                  <a:gd name="T16" fmla="*/ 2147483646 w 728"/>
                  <a:gd name="T17" fmla="*/ 2147483646 h 712"/>
                  <a:gd name="T18" fmla="*/ 2147483646 w 728"/>
                  <a:gd name="T19" fmla="*/ 2147483646 h 712"/>
                  <a:gd name="T20" fmla="*/ 2147483646 w 728"/>
                  <a:gd name="T21" fmla="*/ 2147483646 h 712"/>
                  <a:gd name="T22" fmla="*/ 2147483646 w 728"/>
                  <a:gd name="T23" fmla="*/ 2147483646 h 712"/>
                  <a:gd name="T24" fmla="*/ 2147483646 w 728"/>
                  <a:gd name="T25" fmla="*/ 2147483646 h 712"/>
                  <a:gd name="T26" fmla="*/ 2147483646 w 728"/>
                  <a:gd name="T27" fmla="*/ 0 h 712"/>
                  <a:gd name="T28" fmla="*/ 2147483646 w 728"/>
                  <a:gd name="T29" fmla="*/ 2147483646 h 712"/>
                  <a:gd name="T30" fmla="*/ 2147483646 w 728"/>
                  <a:gd name="T31" fmla="*/ 2147483646 h 712"/>
                  <a:gd name="T32" fmla="*/ 2147483646 w 728"/>
                  <a:gd name="T33" fmla="*/ 2147483646 h 712"/>
                  <a:gd name="T34" fmla="*/ 2147483646 w 728"/>
                  <a:gd name="T35" fmla="*/ 2147483646 h 712"/>
                  <a:gd name="T36" fmla="*/ 2147483646 w 728"/>
                  <a:gd name="T37" fmla="*/ 2147483646 h 712"/>
                  <a:gd name="T38" fmla="*/ 2147483646 w 728"/>
                  <a:gd name="T39" fmla="*/ 2147483646 h 712"/>
                  <a:gd name="T40" fmla="*/ 2147483646 w 728"/>
                  <a:gd name="T41" fmla="*/ 2147483646 h 712"/>
                  <a:gd name="T42" fmla="*/ 2147483646 w 728"/>
                  <a:gd name="T43" fmla="*/ 2147483646 h 712"/>
                  <a:gd name="T44" fmla="*/ 2147483646 w 728"/>
                  <a:gd name="T45" fmla="*/ 2147483646 h 712"/>
                  <a:gd name="T46" fmla="*/ 2147483646 w 728"/>
                  <a:gd name="T47" fmla="*/ 2147483646 h 712"/>
                  <a:gd name="T48" fmla="*/ 2147483646 w 728"/>
                  <a:gd name="T49" fmla="*/ 2147483646 h 712"/>
                  <a:gd name="T50" fmla="*/ 2147483646 w 728"/>
                  <a:gd name="T51" fmla="*/ 2147483646 h 712"/>
                  <a:gd name="T52" fmla="*/ 2147483646 w 728"/>
                  <a:gd name="T53" fmla="*/ 2147483646 h 712"/>
                  <a:gd name="T54" fmla="*/ 2147483646 w 728"/>
                  <a:gd name="T55" fmla="*/ 2147483646 h 712"/>
                  <a:gd name="T56" fmla="*/ 2147483646 w 728"/>
                  <a:gd name="T57" fmla="*/ 2147483646 h 712"/>
                  <a:gd name="T58" fmla="*/ 2147483646 w 728"/>
                  <a:gd name="T59" fmla="*/ 2147483646 h 712"/>
                  <a:gd name="T60" fmla="*/ 2147483646 w 728"/>
                  <a:gd name="T61" fmla="*/ 2147483646 h 712"/>
                  <a:gd name="T62" fmla="*/ 2147483646 w 728"/>
                  <a:gd name="T63" fmla="*/ 2147483646 h 712"/>
                  <a:gd name="T64" fmla="*/ 2147483646 w 728"/>
                  <a:gd name="T65" fmla="*/ 2147483646 h 712"/>
                  <a:gd name="T66" fmla="*/ 2147483646 w 728"/>
                  <a:gd name="T67" fmla="*/ 2147483646 h 712"/>
                  <a:gd name="T68" fmla="*/ 2147483646 w 728"/>
                  <a:gd name="T69" fmla="*/ 2147483646 h 712"/>
                  <a:gd name="T70" fmla="*/ 2147483646 w 728"/>
                  <a:gd name="T71" fmla="*/ 2147483646 h 712"/>
                  <a:gd name="T72" fmla="*/ 2147483646 w 728"/>
                  <a:gd name="T73" fmla="*/ 2147483646 h 712"/>
                  <a:gd name="T74" fmla="*/ 2147483646 w 728"/>
                  <a:gd name="T75" fmla="*/ 2147483646 h 712"/>
                  <a:gd name="T76" fmla="*/ 2147483646 w 728"/>
                  <a:gd name="T77" fmla="*/ 2147483646 h 712"/>
                  <a:gd name="T78" fmla="*/ 2147483646 w 728"/>
                  <a:gd name="T79" fmla="*/ 2147483646 h 712"/>
                  <a:gd name="T80" fmla="*/ 2147483646 w 728"/>
                  <a:gd name="T81" fmla="*/ 2147483646 h 712"/>
                  <a:gd name="T82" fmla="*/ 2147483646 w 728"/>
                  <a:gd name="T83" fmla="*/ 2147483646 h 712"/>
                  <a:gd name="T84" fmla="*/ 2147483646 w 728"/>
                  <a:gd name="T85" fmla="*/ 2147483646 h 712"/>
                  <a:gd name="T86" fmla="*/ 2147483646 w 728"/>
                  <a:gd name="T87" fmla="*/ 2147483646 h 712"/>
                  <a:gd name="T88" fmla="*/ 2147483646 w 728"/>
                  <a:gd name="T89" fmla="*/ 2147483646 h 712"/>
                  <a:gd name="T90" fmla="*/ 2147483646 w 728"/>
                  <a:gd name="T91" fmla="*/ 2147483646 h 712"/>
                  <a:gd name="T92" fmla="*/ 2147483646 w 728"/>
                  <a:gd name="T93" fmla="*/ 2147483646 h 712"/>
                  <a:gd name="T94" fmla="*/ 2147483646 w 728"/>
                  <a:gd name="T95" fmla="*/ 2147483646 h 712"/>
                  <a:gd name="T96" fmla="*/ 0 w 728"/>
                  <a:gd name="T97" fmla="*/ 2147483646 h 712"/>
                  <a:gd name="T98" fmla="*/ 2147483646 w 728"/>
                  <a:gd name="T99" fmla="*/ 2147483646 h 712"/>
                  <a:gd name="T100" fmla="*/ 2147483646 w 728"/>
                  <a:gd name="T101" fmla="*/ 2147483646 h 712"/>
                  <a:gd name="T102" fmla="*/ 2147483646 w 728"/>
                  <a:gd name="T103" fmla="*/ 2147483646 h 712"/>
                  <a:gd name="T104" fmla="*/ 2147483646 w 728"/>
                  <a:gd name="T105" fmla="*/ 2147483646 h 712"/>
                  <a:gd name="T106" fmla="*/ 2147483646 w 728"/>
                  <a:gd name="T107" fmla="*/ 2147483646 h 712"/>
                  <a:gd name="T108" fmla="*/ 2147483646 w 728"/>
                  <a:gd name="T109" fmla="*/ 2147483646 h 712"/>
                  <a:gd name="T110" fmla="*/ 2147483646 w 728"/>
                  <a:gd name="T111" fmla="*/ 2147483646 h 7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12"/>
                  <a:gd name="T170" fmla="*/ 728 w 728"/>
                  <a:gd name="T171" fmla="*/ 712 h 7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12">
                    <a:moveTo>
                      <a:pt x="104" y="432"/>
                    </a:moveTo>
                    <a:lnTo>
                      <a:pt x="128" y="392"/>
                    </a:lnTo>
                    <a:lnTo>
                      <a:pt x="168" y="400"/>
                    </a:lnTo>
                    <a:lnTo>
                      <a:pt x="160" y="320"/>
                    </a:lnTo>
                    <a:lnTo>
                      <a:pt x="192" y="264"/>
                    </a:lnTo>
                    <a:lnTo>
                      <a:pt x="224" y="232"/>
                    </a:lnTo>
                    <a:lnTo>
                      <a:pt x="192" y="224"/>
                    </a:lnTo>
                    <a:lnTo>
                      <a:pt x="192" y="192"/>
                    </a:lnTo>
                    <a:lnTo>
                      <a:pt x="256" y="144"/>
                    </a:lnTo>
                    <a:lnTo>
                      <a:pt x="344" y="112"/>
                    </a:lnTo>
                    <a:lnTo>
                      <a:pt x="384" y="88"/>
                    </a:lnTo>
                    <a:lnTo>
                      <a:pt x="456" y="96"/>
                    </a:lnTo>
                    <a:lnTo>
                      <a:pt x="480" y="8"/>
                    </a:lnTo>
                    <a:lnTo>
                      <a:pt x="512" y="0"/>
                    </a:lnTo>
                    <a:lnTo>
                      <a:pt x="520" y="56"/>
                    </a:lnTo>
                    <a:lnTo>
                      <a:pt x="560" y="72"/>
                    </a:lnTo>
                    <a:lnTo>
                      <a:pt x="576" y="136"/>
                    </a:lnTo>
                    <a:lnTo>
                      <a:pt x="528" y="184"/>
                    </a:lnTo>
                    <a:lnTo>
                      <a:pt x="592" y="216"/>
                    </a:lnTo>
                    <a:lnTo>
                      <a:pt x="608" y="272"/>
                    </a:lnTo>
                    <a:lnTo>
                      <a:pt x="664" y="288"/>
                    </a:lnTo>
                    <a:lnTo>
                      <a:pt x="704" y="344"/>
                    </a:lnTo>
                    <a:lnTo>
                      <a:pt x="696" y="408"/>
                    </a:lnTo>
                    <a:lnTo>
                      <a:pt x="728" y="432"/>
                    </a:lnTo>
                    <a:lnTo>
                      <a:pt x="688" y="448"/>
                    </a:lnTo>
                    <a:lnTo>
                      <a:pt x="680" y="488"/>
                    </a:lnTo>
                    <a:lnTo>
                      <a:pt x="712" y="520"/>
                    </a:lnTo>
                    <a:lnTo>
                      <a:pt x="688" y="544"/>
                    </a:lnTo>
                    <a:lnTo>
                      <a:pt x="704" y="576"/>
                    </a:lnTo>
                    <a:lnTo>
                      <a:pt x="672" y="584"/>
                    </a:lnTo>
                    <a:lnTo>
                      <a:pt x="680" y="624"/>
                    </a:lnTo>
                    <a:lnTo>
                      <a:pt x="648" y="632"/>
                    </a:lnTo>
                    <a:lnTo>
                      <a:pt x="640" y="712"/>
                    </a:lnTo>
                    <a:lnTo>
                      <a:pt x="592" y="688"/>
                    </a:lnTo>
                    <a:lnTo>
                      <a:pt x="560" y="672"/>
                    </a:lnTo>
                    <a:lnTo>
                      <a:pt x="528" y="672"/>
                    </a:lnTo>
                    <a:lnTo>
                      <a:pt x="504" y="656"/>
                    </a:lnTo>
                    <a:lnTo>
                      <a:pt x="456" y="648"/>
                    </a:lnTo>
                    <a:lnTo>
                      <a:pt x="424" y="624"/>
                    </a:lnTo>
                    <a:lnTo>
                      <a:pt x="384" y="640"/>
                    </a:lnTo>
                    <a:lnTo>
                      <a:pt x="360" y="624"/>
                    </a:lnTo>
                    <a:lnTo>
                      <a:pt x="320" y="608"/>
                    </a:lnTo>
                    <a:lnTo>
                      <a:pt x="288" y="600"/>
                    </a:lnTo>
                    <a:lnTo>
                      <a:pt x="240" y="600"/>
                    </a:lnTo>
                    <a:lnTo>
                      <a:pt x="200" y="616"/>
                    </a:lnTo>
                    <a:lnTo>
                      <a:pt x="144" y="624"/>
                    </a:lnTo>
                    <a:lnTo>
                      <a:pt x="88" y="616"/>
                    </a:lnTo>
                    <a:lnTo>
                      <a:pt x="40" y="608"/>
                    </a:lnTo>
                    <a:lnTo>
                      <a:pt x="0" y="576"/>
                    </a:lnTo>
                    <a:lnTo>
                      <a:pt x="16" y="536"/>
                    </a:lnTo>
                    <a:lnTo>
                      <a:pt x="24" y="512"/>
                    </a:lnTo>
                    <a:lnTo>
                      <a:pt x="32" y="488"/>
                    </a:lnTo>
                    <a:lnTo>
                      <a:pt x="80" y="480"/>
                    </a:lnTo>
                    <a:lnTo>
                      <a:pt x="120" y="464"/>
                    </a:lnTo>
                    <a:lnTo>
                      <a:pt x="120" y="440"/>
                    </a:lnTo>
                    <a:lnTo>
                      <a:pt x="104" y="432"/>
                    </a:lnTo>
                    <a:close/>
                  </a:path>
                </a:pathLst>
              </a:custGeom>
              <a:solidFill>
                <a:srgbClr val="002060"/>
              </a:solidFill>
              <a:ln w="9525">
                <a:solidFill>
                  <a:schemeClr val="bg1"/>
                </a:solidFill>
                <a:round/>
                <a:headEnd/>
                <a:tailEnd/>
              </a:ln>
            </p:spPr>
            <p:txBody>
              <a:bodyPr/>
              <a:lstStyle/>
              <a:p>
                <a:endParaRPr lang="en-US" sz="1050"/>
              </a:p>
            </p:txBody>
          </p:sp>
          <p:sp>
            <p:nvSpPr>
              <p:cNvPr id="139" name="Freeform 138"/>
              <p:cNvSpPr>
                <a:spLocks/>
              </p:cNvSpPr>
              <p:nvPr/>
            </p:nvSpPr>
            <p:spPr bwMode="auto">
              <a:xfrm>
                <a:off x="2855123" y="4378773"/>
                <a:ext cx="810839" cy="832807"/>
              </a:xfrm>
              <a:custGeom>
                <a:avLst/>
                <a:gdLst>
                  <a:gd name="T0" fmla="*/ 2147483646 w 688"/>
                  <a:gd name="T1" fmla="*/ 2147483646 h 768"/>
                  <a:gd name="T2" fmla="*/ 2147483646 w 688"/>
                  <a:gd name="T3" fmla="*/ 2147483646 h 768"/>
                  <a:gd name="T4" fmla="*/ 2147483646 w 688"/>
                  <a:gd name="T5" fmla="*/ 2147483646 h 768"/>
                  <a:gd name="T6" fmla="*/ 2147483646 w 688"/>
                  <a:gd name="T7" fmla="*/ 2147483646 h 768"/>
                  <a:gd name="T8" fmla="*/ 2147483646 w 688"/>
                  <a:gd name="T9" fmla="*/ 2147483646 h 768"/>
                  <a:gd name="T10" fmla="*/ 2147483646 w 688"/>
                  <a:gd name="T11" fmla="*/ 2147483646 h 768"/>
                  <a:gd name="T12" fmla="*/ 2147483646 w 688"/>
                  <a:gd name="T13" fmla="*/ 2147483646 h 768"/>
                  <a:gd name="T14" fmla="*/ 2147483646 w 688"/>
                  <a:gd name="T15" fmla="*/ 2147483646 h 768"/>
                  <a:gd name="T16" fmla="*/ 2147483646 w 688"/>
                  <a:gd name="T17" fmla="*/ 2147483646 h 768"/>
                  <a:gd name="T18" fmla="*/ 2147483646 w 688"/>
                  <a:gd name="T19" fmla="*/ 2147483646 h 768"/>
                  <a:gd name="T20" fmla="*/ 2147483646 w 688"/>
                  <a:gd name="T21" fmla="*/ 2147483646 h 768"/>
                  <a:gd name="T22" fmla="*/ 2147483646 w 688"/>
                  <a:gd name="T23" fmla="*/ 2147483646 h 768"/>
                  <a:gd name="T24" fmla="*/ 2147483646 w 688"/>
                  <a:gd name="T25" fmla="*/ 2147483646 h 768"/>
                  <a:gd name="T26" fmla="*/ 2147483646 w 688"/>
                  <a:gd name="T27" fmla="*/ 2147483646 h 768"/>
                  <a:gd name="T28" fmla="*/ 2147483646 w 688"/>
                  <a:gd name="T29" fmla="*/ 2147483646 h 768"/>
                  <a:gd name="T30" fmla="*/ 2147483646 w 688"/>
                  <a:gd name="T31" fmla="*/ 2147483646 h 768"/>
                  <a:gd name="T32" fmla="*/ 2147483646 w 688"/>
                  <a:gd name="T33" fmla="*/ 2147483646 h 768"/>
                  <a:gd name="T34" fmla="*/ 2147483646 w 688"/>
                  <a:gd name="T35" fmla="*/ 2147483646 h 768"/>
                  <a:gd name="T36" fmla="*/ 2147483646 w 688"/>
                  <a:gd name="T37" fmla="*/ 2147483646 h 768"/>
                  <a:gd name="T38" fmla="*/ 2147483646 w 688"/>
                  <a:gd name="T39" fmla="*/ 2147483646 h 768"/>
                  <a:gd name="T40" fmla="*/ 2147483646 w 688"/>
                  <a:gd name="T41" fmla="*/ 2147483646 h 768"/>
                  <a:gd name="T42" fmla="*/ 2147483646 w 688"/>
                  <a:gd name="T43" fmla="*/ 2147483646 h 768"/>
                  <a:gd name="T44" fmla="*/ 2147483646 w 688"/>
                  <a:gd name="T45" fmla="*/ 0 h 768"/>
                  <a:gd name="T46" fmla="*/ 2147483646 w 688"/>
                  <a:gd name="T47" fmla="*/ 2147483646 h 768"/>
                  <a:gd name="T48" fmla="*/ 2147483646 w 688"/>
                  <a:gd name="T49" fmla="*/ 2147483646 h 768"/>
                  <a:gd name="T50" fmla="*/ 2147483646 w 688"/>
                  <a:gd name="T51" fmla="*/ 2147483646 h 768"/>
                  <a:gd name="T52" fmla="*/ 2147483646 w 688"/>
                  <a:gd name="T53" fmla="*/ 2147483646 h 768"/>
                  <a:gd name="T54" fmla="*/ 2147483646 w 688"/>
                  <a:gd name="T55" fmla="*/ 2147483646 h 768"/>
                  <a:gd name="T56" fmla="*/ 2147483646 w 688"/>
                  <a:gd name="T57" fmla="*/ 2147483646 h 768"/>
                  <a:gd name="T58" fmla="*/ 2147483646 w 688"/>
                  <a:gd name="T59" fmla="*/ 2147483646 h 768"/>
                  <a:gd name="T60" fmla="*/ 2147483646 w 688"/>
                  <a:gd name="T61" fmla="*/ 2147483646 h 768"/>
                  <a:gd name="T62" fmla="*/ 2147483646 w 688"/>
                  <a:gd name="T63" fmla="*/ 2147483646 h 768"/>
                  <a:gd name="T64" fmla="*/ 2147483646 w 688"/>
                  <a:gd name="T65" fmla="*/ 2147483646 h 768"/>
                  <a:gd name="T66" fmla="*/ 2147483646 w 688"/>
                  <a:gd name="T67" fmla="*/ 2147483646 h 768"/>
                  <a:gd name="T68" fmla="*/ 2147483646 w 688"/>
                  <a:gd name="T69" fmla="*/ 2147483646 h 768"/>
                  <a:gd name="T70" fmla="*/ 2147483646 w 688"/>
                  <a:gd name="T71" fmla="*/ 2147483646 h 768"/>
                  <a:gd name="T72" fmla="*/ 2147483646 w 688"/>
                  <a:gd name="T73" fmla="*/ 2147483646 h 768"/>
                  <a:gd name="T74" fmla="*/ 2147483646 w 688"/>
                  <a:gd name="T75" fmla="*/ 2147483646 h 768"/>
                  <a:gd name="T76" fmla="*/ 2147483646 w 688"/>
                  <a:gd name="T77" fmla="*/ 2147483646 h 768"/>
                  <a:gd name="T78" fmla="*/ 2147483646 w 688"/>
                  <a:gd name="T79" fmla="*/ 2147483646 h 768"/>
                  <a:gd name="T80" fmla="*/ 2147483646 w 688"/>
                  <a:gd name="T81" fmla="*/ 2147483646 h 768"/>
                  <a:gd name="T82" fmla="*/ 2147483646 w 688"/>
                  <a:gd name="T83" fmla="*/ 2147483646 h 768"/>
                  <a:gd name="T84" fmla="*/ 2147483646 w 688"/>
                  <a:gd name="T85" fmla="*/ 2147483646 h 768"/>
                  <a:gd name="T86" fmla="*/ 2147483646 w 688"/>
                  <a:gd name="T87" fmla="*/ 2147483646 h 768"/>
                  <a:gd name="T88" fmla="*/ 2147483646 w 688"/>
                  <a:gd name="T89" fmla="*/ 2147483646 h 768"/>
                  <a:gd name="T90" fmla="*/ 2147483646 w 688"/>
                  <a:gd name="T91" fmla="*/ 2147483646 h 768"/>
                  <a:gd name="T92" fmla="*/ 2147483646 w 688"/>
                  <a:gd name="T93" fmla="*/ 2147483646 h 768"/>
                  <a:gd name="T94" fmla="*/ 2147483646 w 688"/>
                  <a:gd name="T95" fmla="*/ 2147483646 h 768"/>
                  <a:gd name="T96" fmla="*/ 0 w 688"/>
                  <a:gd name="T97" fmla="*/ 2147483646 h 768"/>
                  <a:gd name="T98" fmla="*/ 0 w 688"/>
                  <a:gd name="T99" fmla="*/ 2147483646 h 768"/>
                  <a:gd name="T100" fmla="*/ 2147483646 w 688"/>
                  <a:gd name="T101" fmla="*/ 2147483646 h 768"/>
                  <a:gd name="T102" fmla="*/ 2147483646 w 688"/>
                  <a:gd name="T103" fmla="*/ 2147483646 h 768"/>
                  <a:gd name="T104" fmla="*/ 2147483646 w 688"/>
                  <a:gd name="T105" fmla="*/ 2147483646 h 768"/>
                  <a:gd name="T106" fmla="*/ 2147483646 w 688"/>
                  <a:gd name="T107" fmla="*/ 2147483646 h 768"/>
                  <a:gd name="T108" fmla="*/ 2147483646 w 688"/>
                  <a:gd name="T109" fmla="*/ 2147483646 h 768"/>
                  <a:gd name="T110" fmla="*/ 2147483646 w 688"/>
                  <a:gd name="T111" fmla="*/ 2147483646 h 768"/>
                  <a:gd name="T112" fmla="*/ 2147483646 w 688"/>
                  <a:gd name="T113" fmla="*/ 2147483646 h 768"/>
                  <a:gd name="T114" fmla="*/ 2147483646 w 688"/>
                  <a:gd name="T115" fmla="*/ 2147483646 h 768"/>
                  <a:gd name="T116" fmla="*/ 2147483646 w 688"/>
                  <a:gd name="T117" fmla="*/ 2147483646 h 7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8"/>
                  <a:gd name="T178" fmla="*/ 0 h 768"/>
                  <a:gd name="T179" fmla="*/ 688 w 688"/>
                  <a:gd name="T180" fmla="*/ 768 h 7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8" h="768">
                    <a:moveTo>
                      <a:pt x="304" y="744"/>
                    </a:moveTo>
                    <a:lnTo>
                      <a:pt x="336" y="736"/>
                    </a:lnTo>
                    <a:lnTo>
                      <a:pt x="352" y="768"/>
                    </a:lnTo>
                    <a:lnTo>
                      <a:pt x="376" y="744"/>
                    </a:lnTo>
                    <a:lnTo>
                      <a:pt x="360" y="680"/>
                    </a:lnTo>
                    <a:lnTo>
                      <a:pt x="400" y="640"/>
                    </a:lnTo>
                    <a:lnTo>
                      <a:pt x="400" y="592"/>
                    </a:lnTo>
                    <a:lnTo>
                      <a:pt x="432" y="592"/>
                    </a:lnTo>
                    <a:lnTo>
                      <a:pt x="464" y="640"/>
                    </a:lnTo>
                    <a:lnTo>
                      <a:pt x="504" y="632"/>
                    </a:lnTo>
                    <a:lnTo>
                      <a:pt x="536" y="552"/>
                    </a:lnTo>
                    <a:lnTo>
                      <a:pt x="600" y="440"/>
                    </a:lnTo>
                    <a:lnTo>
                      <a:pt x="672" y="384"/>
                    </a:lnTo>
                    <a:lnTo>
                      <a:pt x="616" y="344"/>
                    </a:lnTo>
                    <a:lnTo>
                      <a:pt x="616" y="312"/>
                    </a:lnTo>
                    <a:lnTo>
                      <a:pt x="656" y="280"/>
                    </a:lnTo>
                    <a:lnTo>
                      <a:pt x="648" y="200"/>
                    </a:lnTo>
                    <a:lnTo>
                      <a:pt x="688" y="168"/>
                    </a:lnTo>
                    <a:lnTo>
                      <a:pt x="600" y="32"/>
                    </a:lnTo>
                    <a:lnTo>
                      <a:pt x="560" y="16"/>
                    </a:lnTo>
                    <a:lnTo>
                      <a:pt x="512" y="16"/>
                    </a:lnTo>
                    <a:lnTo>
                      <a:pt x="464" y="56"/>
                    </a:lnTo>
                    <a:lnTo>
                      <a:pt x="432" y="0"/>
                    </a:lnTo>
                    <a:lnTo>
                      <a:pt x="392" y="64"/>
                    </a:lnTo>
                    <a:lnTo>
                      <a:pt x="360" y="72"/>
                    </a:lnTo>
                    <a:lnTo>
                      <a:pt x="360" y="120"/>
                    </a:lnTo>
                    <a:lnTo>
                      <a:pt x="320" y="128"/>
                    </a:lnTo>
                    <a:lnTo>
                      <a:pt x="192" y="64"/>
                    </a:lnTo>
                    <a:lnTo>
                      <a:pt x="144" y="80"/>
                    </a:lnTo>
                    <a:lnTo>
                      <a:pt x="128" y="136"/>
                    </a:lnTo>
                    <a:lnTo>
                      <a:pt x="80" y="152"/>
                    </a:lnTo>
                    <a:lnTo>
                      <a:pt x="112" y="184"/>
                    </a:lnTo>
                    <a:lnTo>
                      <a:pt x="72" y="208"/>
                    </a:lnTo>
                    <a:lnTo>
                      <a:pt x="112" y="264"/>
                    </a:lnTo>
                    <a:lnTo>
                      <a:pt x="96" y="304"/>
                    </a:lnTo>
                    <a:lnTo>
                      <a:pt x="64" y="336"/>
                    </a:lnTo>
                    <a:lnTo>
                      <a:pt x="72" y="360"/>
                    </a:lnTo>
                    <a:lnTo>
                      <a:pt x="64" y="376"/>
                    </a:lnTo>
                    <a:lnTo>
                      <a:pt x="48" y="384"/>
                    </a:lnTo>
                    <a:lnTo>
                      <a:pt x="48" y="408"/>
                    </a:lnTo>
                    <a:lnTo>
                      <a:pt x="40" y="440"/>
                    </a:lnTo>
                    <a:lnTo>
                      <a:pt x="8" y="440"/>
                    </a:lnTo>
                    <a:lnTo>
                      <a:pt x="8" y="472"/>
                    </a:lnTo>
                    <a:lnTo>
                      <a:pt x="24" y="472"/>
                    </a:lnTo>
                    <a:lnTo>
                      <a:pt x="64" y="496"/>
                    </a:lnTo>
                    <a:lnTo>
                      <a:pt x="80" y="512"/>
                    </a:lnTo>
                    <a:lnTo>
                      <a:pt x="80" y="536"/>
                    </a:lnTo>
                    <a:lnTo>
                      <a:pt x="48" y="544"/>
                    </a:lnTo>
                    <a:lnTo>
                      <a:pt x="0" y="544"/>
                    </a:lnTo>
                    <a:lnTo>
                      <a:pt x="0" y="568"/>
                    </a:lnTo>
                    <a:lnTo>
                      <a:pt x="16" y="600"/>
                    </a:lnTo>
                    <a:lnTo>
                      <a:pt x="64" y="608"/>
                    </a:lnTo>
                    <a:lnTo>
                      <a:pt x="96" y="616"/>
                    </a:lnTo>
                    <a:lnTo>
                      <a:pt x="112" y="672"/>
                    </a:lnTo>
                    <a:lnTo>
                      <a:pt x="144" y="696"/>
                    </a:lnTo>
                    <a:lnTo>
                      <a:pt x="192" y="688"/>
                    </a:lnTo>
                    <a:lnTo>
                      <a:pt x="240" y="712"/>
                    </a:lnTo>
                    <a:lnTo>
                      <a:pt x="288" y="720"/>
                    </a:lnTo>
                    <a:lnTo>
                      <a:pt x="304" y="744"/>
                    </a:lnTo>
                    <a:close/>
                  </a:path>
                </a:pathLst>
              </a:custGeom>
              <a:solidFill>
                <a:srgbClr val="4670F8"/>
              </a:solidFill>
              <a:ln w="9525">
                <a:solidFill>
                  <a:schemeClr val="bg1"/>
                </a:solidFill>
                <a:round/>
                <a:headEnd/>
                <a:tailEnd/>
              </a:ln>
            </p:spPr>
            <p:txBody>
              <a:bodyPr/>
              <a:lstStyle/>
              <a:p>
                <a:endParaRPr lang="en-US" sz="1050"/>
              </a:p>
            </p:txBody>
          </p:sp>
          <p:sp>
            <p:nvSpPr>
              <p:cNvPr id="140" name="Freeform 139"/>
              <p:cNvSpPr>
                <a:spLocks/>
              </p:cNvSpPr>
              <p:nvPr/>
            </p:nvSpPr>
            <p:spPr bwMode="auto">
              <a:xfrm>
                <a:off x="2298850" y="3988395"/>
                <a:ext cx="1272829" cy="754732"/>
              </a:xfrm>
              <a:custGeom>
                <a:avLst/>
                <a:gdLst>
                  <a:gd name="T0" fmla="*/ 2147483646 w 1080"/>
                  <a:gd name="T1" fmla="*/ 2147483646 h 696"/>
                  <a:gd name="T2" fmla="*/ 2147483646 w 1080"/>
                  <a:gd name="T3" fmla="*/ 2147483646 h 696"/>
                  <a:gd name="T4" fmla="*/ 2147483646 w 1080"/>
                  <a:gd name="T5" fmla="*/ 2147483646 h 696"/>
                  <a:gd name="T6" fmla="*/ 2147483646 w 1080"/>
                  <a:gd name="T7" fmla="*/ 2147483646 h 696"/>
                  <a:gd name="T8" fmla="*/ 2147483646 w 1080"/>
                  <a:gd name="T9" fmla="*/ 2147483646 h 696"/>
                  <a:gd name="T10" fmla="*/ 2147483646 w 1080"/>
                  <a:gd name="T11" fmla="*/ 2147483646 h 696"/>
                  <a:gd name="T12" fmla="*/ 2147483646 w 1080"/>
                  <a:gd name="T13" fmla="*/ 2147483646 h 696"/>
                  <a:gd name="T14" fmla="*/ 2147483646 w 1080"/>
                  <a:gd name="T15" fmla="*/ 2147483646 h 696"/>
                  <a:gd name="T16" fmla="*/ 2147483646 w 1080"/>
                  <a:gd name="T17" fmla="*/ 2147483646 h 696"/>
                  <a:gd name="T18" fmla="*/ 2147483646 w 1080"/>
                  <a:gd name="T19" fmla="*/ 2147483646 h 696"/>
                  <a:gd name="T20" fmla="*/ 2147483646 w 1080"/>
                  <a:gd name="T21" fmla="*/ 2147483646 h 696"/>
                  <a:gd name="T22" fmla="*/ 2147483646 w 1080"/>
                  <a:gd name="T23" fmla="*/ 2147483646 h 696"/>
                  <a:gd name="T24" fmla="*/ 2147483646 w 1080"/>
                  <a:gd name="T25" fmla="*/ 2147483646 h 696"/>
                  <a:gd name="T26" fmla="*/ 2147483646 w 1080"/>
                  <a:gd name="T27" fmla="*/ 2147483646 h 696"/>
                  <a:gd name="T28" fmla="*/ 2147483646 w 1080"/>
                  <a:gd name="T29" fmla="*/ 2147483646 h 696"/>
                  <a:gd name="T30" fmla="*/ 2147483646 w 1080"/>
                  <a:gd name="T31" fmla="*/ 2147483646 h 696"/>
                  <a:gd name="T32" fmla="*/ 2147483646 w 1080"/>
                  <a:gd name="T33" fmla="*/ 2147483646 h 696"/>
                  <a:gd name="T34" fmla="*/ 2147483646 w 1080"/>
                  <a:gd name="T35" fmla="*/ 2147483646 h 696"/>
                  <a:gd name="T36" fmla="*/ 2147483646 w 1080"/>
                  <a:gd name="T37" fmla="*/ 2147483646 h 696"/>
                  <a:gd name="T38" fmla="*/ 2147483646 w 1080"/>
                  <a:gd name="T39" fmla="*/ 2147483646 h 696"/>
                  <a:gd name="T40" fmla="*/ 2147483646 w 1080"/>
                  <a:gd name="T41" fmla="*/ 2147483646 h 696"/>
                  <a:gd name="T42" fmla="*/ 2147483646 w 1080"/>
                  <a:gd name="T43" fmla="*/ 0 h 696"/>
                  <a:gd name="T44" fmla="*/ 2147483646 w 1080"/>
                  <a:gd name="T45" fmla="*/ 2147483646 h 696"/>
                  <a:gd name="T46" fmla="*/ 2147483646 w 1080"/>
                  <a:gd name="T47" fmla="*/ 2147483646 h 696"/>
                  <a:gd name="T48" fmla="*/ 2147483646 w 1080"/>
                  <a:gd name="T49" fmla="*/ 2147483646 h 696"/>
                  <a:gd name="T50" fmla="*/ 2147483646 w 1080"/>
                  <a:gd name="T51" fmla="*/ 2147483646 h 696"/>
                  <a:gd name="T52" fmla="*/ 2147483646 w 1080"/>
                  <a:gd name="T53" fmla="*/ 2147483646 h 696"/>
                  <a:gd name="T54" fmla="*/ 2147483646 w 1080"/>
                  <a:gd name="T55" fmla="*/ 2147483646 h 696"/>
                  <a:gd name="T56" fmla="*/ 2147483646 w 1080"/>
                  <a:gd name="T57" fmla="*/ 2147483646 h 696"/>
                  <a:gd name="T58" fmla="*/ 2147483646 w 1080"/>
                  <a:gd name="T59" fmla="*/ 2147483646 h 696"/>
                  <a:gd name="T60" fmla="*/ 2147483646 w 1080"/>
                  <a:gd name="T61" fmla="*/ 2147483646 h 696"/>
                  <a:gd name="T62" fmla="*/ 2147483646 w 1080"/>
                  <a:gd name="T63" fmla="*/ 2147483646 h 696"/>
                  <a:gd name="T64" fmla="*/ 2147483646 w 1080"/>
                  <a:gd name="T65" fmla="*/ 2147483646 h 696"/>
                  <a:gd name="T66" fmla="*/ 2147483646 w 1080"/>
                  <a:gd name="T67" fmla="*/ 2147483646 h 696"/>
                  <a:gd name="T68" fmla="*/ 2147483646 w 1080"/>
                  <a:gd name="T69" fmla="*/ 2147483646 h 696"/>
                  <a:gd name="T70" fmla="*/ 2147483646 w 1080"/>
                  <a:gd name="T71" fmla="*/ 2147483646 h 696"/>
                  <a:gd name="T72" fmla="*/ 2147483646 w 1080"/>
                  <a:gd name="T73" fmla="*/ 2147483646 h 6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0"/>
                  <a:gd name="T112" fmla="*/ 0 h 696"/>
                  <a:gd name="T113" fmla="*/ 1080 w 1080"/>
                  <a:gd name="T114" fmla="*/ 696 h 6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0" h="696">
                    <a:moveTo>
                      <a:pt x="536" y="696"/>
                    </a:moveTo>
                    <a:lnTo>
                      <a:pt x="584" y="624"/>
                    </a:lnTo>
                    <a:lnTo>
                      <a:pt x="544" y="568"/>
                    </a:lnTo>
                    <a:lnTo>
                      <a:pt x="584" y="544"/>
                    </a:lnTo>
                    <a:lnTo>
                      <a:pt x="552" y="512"/>
                    </a:lnTo>
                    <a:lnTo>
                      <a:pt x="600" y="496"/>
                    </a:lnTo>
                    <a:lnTo>
                      <a:pt x="616" y="440"/>
                    </a:lnTo>
                    <a:lnTo>
                      <a:pt x="664" y="424"/>
                    </a:lnTo>
                    <a:lnTo>
                      <a:pt x="792" y="488"/>
                    </a:lnTo>
                    <a:lnTo>
                      <a:pt x="832" y="480"/>
                    </a:lnTo>
                    <a:lnTo>
                      <a:pt x="832" y="432"/>
                    </a:lnTo>
                    <a:lnTo>
                      <a:pt x="864" y="424"/>
                    </a:lnTo>
                    <a:lnTo>
                      <a:pt x="904" y="360"/>
                    </a:lnTo>
                    <a:lnTo>
                      <a:pt x="936" y="416"/>
                    </a:lnTo>
                    <a:lnTo>
                      <a:pt x="984" y="376"/>
                    </a:lnTo>
                    <a:lnTo>
                      <a:pt x="1032" y="376"/>
                    </a:lnTo>
                    <a:lnTo>
                      <a:pt x="1080" y="312"/>
                    </a:lnTo>
                    <a:lnTo>
                      <a:pt x="1048" y="256"/>
                    </a:lnTo>
                    <a:lnTo>
                      <a:pt x="1008" y="248"/>
                    </a:lnTo>
                    <a:lnTo>
                      <a:pt x="1008" y="200"/>
                    </a:lnTo>
                    <a:lnTo>
                      <a:pt x="976" y="192"/>
                    </a:lnTo>
                    <a:lnTo>
                      <a:pt x="912" y="232"/>
                    </a:lnTo>
                    <a:lnTo>
                      <a:pt x="840" y="176"/>
                    </a:lnTo>
                    <a:lnTo>
                      <a:pt x="784" y="192"/>
                    </a:lnTo>
                    <a:lnTo>
                      <a:pt x="752" y="160"/>
                    </a:lnTo>
                    <a:lnTo>
                      <a:pt x="720" y="208"/>
                    </a:lnTo>
                    <a:lnTo>
                      <a:pt x="688" y="208"/>
                    </a:lnTo>
                    <a:lnTo>
                      <a:pt x="672" y="168"/>
                    </a:lnTo>
                    <a:lnTo>
                      <a:pt x="624" y="184"/>
                    </a:lnTo>
                    <a:lnTo>
                      <a:pt x="592" y="120"/>
                    </a:lnTo>
                    <a:lnTo>
                      <a:pt x="568" y="120"/>
                    </a:lnTo>
                    <a:lnTo>
                      <a:pt x="552" y="160"/>
                    </a:lnTo>
                    <a:lnTo>
                      <a:pt x="488" y="168"/>
                    </a:lnTo>
                    <a:lnTo>
                      <a:pt x="464" y="152"/>
                    </a:lnTo>
                    <a:lnTo>
                      <a:pt x="432" y="152"/>
                    </a:lnTo>
                    <a:lnTo>
                      <a:pt x="408" y="104"/>
                    </a:lnTo>
                    <a:lnTo>
                      <a:pt x="352" y="120"/>
                    </a:lnTo>
                    <a:lnTo>
                      <a:pt x="280" y="24"/>
                    </a:lnTo>
                    <a:lnTo>
                      <a:pt x="216" y="8"/>
                    </a:lnTo>
                    <a:lnTo>
                      <a:pt x="192" y="32"/>
                    </a:lnTo>
                    <a:lnTo>
                      <a:pt x="176" y="40"/>
                    </a:lnTo>
                    <a:lnTo>
                      <a:pt x="160" y="32"/>
                    </a:lnTo>
                    <a:lnTo>
                      <a:pt x="144" y="8"/>
                    </a:lnTo>
                    <a:lnTo>
                      <a:pt x="112" y="0"/>
                    </a:lnTo>
                    <a:lnTo>
                      <a:pt x="104" y="24"/>
                    </a:lnTo>
                    <a:lnTo>
                      <a:pt x="72" y="24"/>
                    </a:lnTo>
                    <a:lnTo>
                      <a:pt x="48" y="8"/>
                    </a:lnTo>
                    <a:lnTo>
                      <a:pt x="16" y="24"/>
                    </a:lnTo>
                    <a:lnTo>
                      <a:pt x="0" y="32"/>
                    </a:lnTo>
                    <a:lnTo>
                      <a:pt x="24" y="80"/>
                    </a:lnTo>
                    <a:lnTo>
                      <a:pt x="40" y="128"/>
                    </a:lnTo>
                    <a:lnTo>
                      <a:pt x="72" y="152"/>
                    </a:lnTo>
                    <a:lnTo>
                      <a:pt x="96" y="176"/>
                    </a:lnTo>
                    <a:lnTo>
                      <a:pt x="128" y="192"/>
                    </a:lnTo>
                    <a:lnTo>
                      <a:pt x="160" y="224"/>
                    </a:lnTo>
                    <a:lnTo>
                      <a:pt x="176" y="264"/>
                    </a:lnTo>
                    <a:lnTo>
                      <a:pt x="200" y="304"/>
                    </a:lnTo>
                    <a:lnTo>
                      <a:pt x="224" y="296"/>
                    </a:lnTo>
                    <a:lnTo>
                      <a:pt x="240" y="304"/>
                    </a:lnTo>
                    <a:lnTo>
                      <a:pt x="232" y="360"/>
                    </a:lnTo>
                    <a:lnTo>
                      <a:pt x="216" y="384"/>
                    </a:lnTo>
                    <a:lnTo>
                      <a:pt x="216" y="416"/>
                    </a:lnTo>
                    <a:lnTo>
                      <a:pt x="240" y="440"/>
                    </a:lnTo>
                    <a:lnTo>
                      <a:pt x="232" y="456"/>
                    </a:lnTo>
                    <a:lnTo>
                      <a:pt x="216" y="472"/>
                    </a:lnTo>
                    <a:lnTo>
                      <a:pt x="248" y="488"/>
                    </a:lnTo>
                    <a:lnTo>
                      <a:pt x="280" y="536"/>
                    </a:lnTo>
                    <a:lnTo>
                      <a:pt x="312" y="584"/>
                    </a:lnTo>
                    <a:lnTo>
                      <a:pt x="360" y="608"/>
                    </a:lnTo>
                    <a:lnTo>
                      <a:pt x="384" y="600"/>
                    </a:lnTo>
                    <a:lnTo>
                      <a:pt x="408" y="640"/>
                    </a:lnTo>
                    <a:lnTo>
                      <a:pt x="464" y="672"/>
                    </a:lnTo>
                    <a:lnTo>
                      <a:pt x="512" y="688"/>
                    </a:lnTo>
                    <a:lnTo>
                      <a:pt x="536" y="696"/>
                    </a:lnTo>
                    <a:close/>
                  </a:path>
                </a:pathLst>
              </a:custGeom>
              <a:solidFill>
                <a:srgbClr val="C6B89B"/>
              </a:solidFill>
              <a:ln w="9525">
                <a:solidFill>
                  <a:schemeClr val="bg1"/>
                </a:solidFill>
                <a:round/>
                <a:headEnd/>
                <a:tailEnd/>
              </a:ln>
            </p:spPr>
            <p:txBody>
              <a:bodyPr/>
              <a:lstStyle/>
              <a:p>
                <a:endParaRPr lang="en-US" sz="1050"/>
              </a:p>
            </p:txBody>
          </p:sp>
          <p:sp>
            <p:nvSpPr>
              <p:cNvPr id="141" name="Freeform 140"/>
              <p:cNvSpPr>
                <a:spLocks/>
              </p:cNvSpPr>
              <p:nvPr/>
            </p:nvSpPr>
            <p:spPr bwMode="auto">
              <a:xfrm>
                <a:off x="2553416" y="3658742"/>
                <a:ext cx="1112547" cy="581230"/>
              </a:xfrm>
              <a:custGeom>
                <a:avLst/>
                <a:gdLst>
                  <a:gd name="T0" fmla="*/ 0 w 944"/>
                  <a:gd name="T1" fmla="*/ 2147483646 h 536"/>
                  <a:gd name="T2" fmla="*/ 2147483646 w 944"/>
                  <a:gd name="T3" fmla="*/ 2147483646 h 536"/>
                  <a:gd name="T4" fmla="*/ 2147483646 w 944"/>
                  <a:gd name="T5" fmla="*/ 2147483646 h 536"/>
                  <a:gd name="T6" fmla="*/ 2147483646 w 944"/>
                  <a:gd name="T7" fmla="*/ 2147483646 h 536"/>
                  <a:gd name="T8" fmla="*/ 2147483646 w 944"/>
                  <a:gd name="T9" fmla="*/ 2147483646 h 536"/>
                  <a:gd name="T10" fmla="*/ 2147483646 w 944"/>
                  <a:gd name="T11" fmla="*/ 2147483646 h 536"/>
                  <a:gd name="T12" fmla="*/ 2147483646 w 944"/>
                  <a:gd name="T13" fmla="*/ 2147483646 h 536"/>
                  <a:gd name="T14" fmla="*/ 2147483646 w 944"/>
                  <a:gd name="T15" fmla="*/ 2147483646 h 536"/>
                  <a:gd name="T16" fmla="*/ 2147483646 w 944"/>
                  <a:gd name="T17" fmla="*/ 2147483646 h 536"/>
                  <a:gd name="T18" fmla="*/ 2147483646 w 944"/>
                  <a:gd name="T19" fmla="*/ 2147483646 h 536"/>
                  <a:gd name="T20" fmla="*/ 2147483646 w 944"/>
                  <a:gd name="T21" fmla="*/ 2147483646 h 536"/>
                  <a:gd name="T22" fmla="*/ 2147483646 w 944"/>
                  <a:gd name="T23" fmla="*/ 2147483646 h 536"/>
                  <a:gd name="T24" fmla="*/ 2147483646 w 944"/>
                  <a:gd name="T25" fmla="*/ 2147483646 h 536"/>
                  <a:gd name="T26" fmla="*/ 2147483646 w 944"/>
                  <a:gd name="T27" fmla="*/ 2147483646 h 536"/>
                  <a:gd name="T28" fmla="*/ 2147483646 w 944"/>
                  <a:gd name="T29" fmla="*/ 2147483646 h 536"/>
                  <a:gd name="T30" fmla="*/ 2147483646 w 944"/>
                  <a:gd name="T31" fmla="*/ 2147483646 h 536"/>
                  <a:gd name="T32" fmla="*/ 2147483646 w 944"/>
                  <a:gd name="T33" fmla="*/ 2147483646 h 536"/>
                  <a:gd name="T34" fmla="*/ 2147483646 w 944"/>
                  <a:gd name="T35" fmla="*/ 2147483646 h 536"/>
                  <a:gd name="T36" fmla="*/ 2147483646 w 944"/>
                  <a:gd name="T37" fmla="*/ 2147483646 h 536"/>
                  <a:gd name="T38" fmla="*/ 2147483646 w 944"/>
                  <a:gd name="T39" fmla="*/ 2147483646 h 536"/>
                  <a:gd name="T40" fmla="*/ 2147483646 w 944"/>
                  <a:gd name="T41" fmla="*/ 2147483646 h 536"/>
                  <a:gd name="T42" fmla="*/ 2147483646 w 944"/>
                  <a:gd name="T43" fmla="*/ 2147483646 h 536"/>
                  <a:gd name="T44" fmla="*/ 2147483646 w 944"/>
                  <a:gd name="T45" fmla="*/ 2147483646 h 536"/>
                  <a:gd name="T46" fmla="*/ 2147483646 w 944"/>
                  <a:gd name="T47" fmla="*/ 2147483646 h 536"/>
                  <a:gd name="T48" fmla="*/ 2147483646 w 944"/>
                  <a:gd name="T49" fmla="*/ 2147483646 h 536"/>
                  <a:gd name="T50" fmla="*/ 2147483646 w 944"/>
                  <a:gd name="T51" fmla="*/ 2147483646 h 536"/>
                  <a:gd name="T52" fmla="*/ 2147483646 w 944"/>
                  <a:gd name="T53" fmla="*/ 2147483646 h 536"/>
                  <a:gd name="T54" fmla="*/ 2147483646 w 944"/>
                  <a:gd name="T55" fmla="*/ 2147483646 h 536"/>
                  <a:gd name="T56" fmla="*/ 2147483646 w 944"/>
                  <a:gd name="T57" fmla="*/ 2147483646 h 536"/>
                  <a:gd name="T58" fmla="*/ 2147483646 w 944"/>
                  <a:gd name="T59" fmla="*/ 2147483646 h 536"/>
                  <a:gd name="T60" fmla="*/ 2147483646 w 944"/>
                  <a:gd name="T61" fmla="*/ 2147483646 h 536"/>
                  <a:gd name="T62" fmla="*/ 2147483646 w 944"/>
                  <a:gd name="T63" fmla="*/ 2147483646 h 536"/>
                  <a:gd name="T64" fmla="*/ 2147483646 w 944"/>
                  <a:gd name="T65" fmla="*/ 2147483646 h 536"/>
                  <a:gd name="T66" fmla="*/ 2147483646 w 944"/>
                  <a:gd name="T67" fmla="*/ 2147483646 h 536"/>
                  <a:gd name="T68" fmla="*/ 2147483646 w 944"/>
                  <a:gd name="T69" fmla="*/ 2147483646 h 536"/>
                  <a:gd name="T70" fmla="*/ 2147483646 w 944"/>
                  <a:gd name="T71" fmla="*/ 2147483646 h 536"/>
                  <a:gd name="T72" fmla="*/ 2147483646 w 944"/>
                  <a:gd name="T73" fmla="*/ 0 h 536"/>
                  <a:gd name="T74" fmla="*/ 2147483646 w 944"/>
                  <a:gd name="T75" fmla="*/ 0 h 536"/>
                  <a:gd name="T76" fmla="*/ 2147483646 w 944"/>
                  <a:gd name="T77" fmla="*/ 2147483646 h 536"/>
                  <a:gd name="T78" fmla="*/ 2147483646 w 944"/>
                  <a:gd name="T79" fmla="*/ 2147483646 h 536"/>
                  <a:gd name="T80" fmla="*/ 2147483646 w 944"/>
                  <a:gd name="T81" fmla="*/ 2147483646 h 536"/>
                  <a:gd name="T82" fmla="*/ 2147483646 w 944"/>
                  <a:gd name="T83" fmla="*/ 2147483646 h 536"/>
                  <a:gd name="T84" fmla="*/ 2147483646 w 944"/>
                  <a:gd name="T85" fmla="*/ 2147483646 h 536"/>
                  <a:gd name="T86" fmla="*/ 2147483646 w 944"/>
                  <a:gd name="T87" fmla="*/ 2147483646 h 536"/>
                  <a:gd name="T88" fmla="*/ 2147483646 w 944"/>
                  <a:gd name="T89" fmla="*/ 2147483646 h 536"/>
                  <a:gd name="T90" fmla="*/ 2147483646 w 944"/>
                  <a:gd name="T91" fmla="*/ 2147483646 h 536"/>
                  <a:gd name="T92" fmla="*/ 2147483646 w 944"/>
                  <a:gd name="T93" fmla="*/ 2147483646 h 536"/>
                  <a:gd name="T94" fmla="*/ 2147483646 w 944"/>
                  <a:gd name="T95" fmla="*/ 2147483646 h 536"/>
                  <a:gd name="T96" fmla="*/ 2147483646 w 944"/>
                  <a:gd name="T97" fmla="*/ 2147483646 h 536"/>
                  <a:gd name="T98" fmla="*/ 2147483646 w 944"/>
                  <a:gd name="T99" fmla="*/ 2147483646 h 536"/>
                  <a:gd name="T100" fmla="*/ 2147483646 w 944"/>
                  <a:gd name="T101" fmla="*/ 2147483646 h 536"/>
                  <a:gd name="T102" fmla="*/ 2147483646 w 944"/>
                  <a:gd name="T103" fmla="*/ 2147483646 h 536"/>
                  <a:gd name="T104" fmla="*/ 2147483646 w 944"/>
                  <a:gd name="T105" fmla="*/ 2147483646 h 536"/>
                  <a:gd name="T106" fmla="*/ 2147483646 w 944"/>
                  <a:gd name="T107" fmla="*/ 2147483646 h 536"/>
                  <a:gd name="T108" fmla="*/ 2147483646 w 944"/>
                  <a:gd name="T109" fmla="*/ 2147483646 h 536"/>
                  <a:gd name="T110" fmla="*/ 2147483646 w 944"/>
                  <a:gd name="T111" fmla="*/ 2147483646 h 536"/>
                  <a:gd name="T112" fmla="*/ 2147483646 w 944"/>
                  <a:gd name="T113" fmla="*/ 2147483646 h 536"/>
                  <a:gd name="T114" fmla="*/ 2147483646 w 944"/>
                  <a:gd name="T115" fmla="*/ 2147483646 h 536"/>
                  <a:gd name="T116" fmla="*/ 2147483646 w 944"/>
                  <a:gd name="T117" fmla="*/ 2147483646 h 536"/>
                  <a:gd name="T118" fmla="*/ 0 w 944"/>
                  <a:gd name="T119" fmla="*/ 2147483646 h 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4"/>
                  <a:gd name="T181" fmla="*/ 0 h 536"/>
                  <a:gd name="T182" fmla="*/ 944 w 944"/>
                  <a:gd name="T183" fmla="*/ 536 h 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4" h="536">
                    <a:moveTo>
                      <a:pt x="0" y="312"/>
                    </a:moveTo>
                    <a:lnTo>
                      <a:pt x="64" y="328"/>
                    </a:lnTo>
                    <a:lnTo>
                      <a:pt x="136" y="424"/>
                    </a:lnTo>
                    <a:lnTo>
                      <a:pt x="192" y="408"/>
                    </a:lnTo>
                    <a:lnTo>
                      <a:pt x="216" y="456"/>
                    </a:lnTo>
                    <a:lnTo>
                      <a:pt x="248" y="456"/>
                    </a:lnTo>
                    <a:lnTo>
                      <a:pt x="272" y="472"/>
                    </a:lnTo>
                    <a:lnTo>
                      <a:pt x="336" y="464"/>
                    </a:lnTo>
                    <a:lnTo>
                      <a:pt x="352" y="424"/>
                    </a:lnTo>
                    <a:lnTo>
                      <a:pt x="376" y="424"/>
                    </a:lnTo>
                    <a:lnTo>
                      <a:pt x="408" y="488"/>
                    </a:lnTo>
                    <a:lnTo>
                      <a:pt x="456" y="472"/>
                    </a:lnTo>
                    <a:lnTo>
                      <a:pt x="472" y="512"/>
                    </a:lnTo>
                    <a:lnTo>
                      <a:pt x="504" y="512"/>
                    </a:lnTo>
                    <a:lnTo>
                      <a:pt x="536" y="464"/>
                    </a:lnTo>
                    <a:lnTo>
                      <a:pt x="568" y="496"/>
                    </a:lnTo>
                    <a:lnTo>
                      <a:pt x="624" y="480"/>
                    </a:lnTo>
                    <a:lnTo>
                      <a:pt x="696" y="536"/>
                    </a:lnTo>
                    <a:lnTo>
                      <a:pt x="760" y="496"/>
                    </a:lnTo>
                    <a:lnTo>
                      <a:pt x="776" y="464"/>
                    </a:lnTo>
                    <a:lnTo>
                      <a:pt x="808" y="448"/>
                    </a:lnTo>
                    <a:lnTo>
                      <a:pt x="808" y="424"/>
                    </a:lnTo>
                    <a:lnTo>
                      <a:pt x="848" y="400"/>
                    </a:lnTo>
                    <a:lnTo>
                      <a:pt x="856" y="328"/>
                    </a:lnTo>
                    <a:lnTo>
                      <a:pt x="904" y="328"/>
                    </a:lnTo>
                    <a:lnTo>
                      <a:pt x="944" y="224"/>
                    </a:lnTo>
                    <a:lnTo>
                      <a:pt x="896" y="200"/>
                    </a:lnTo>
                    <a:lnTo>
                      <a:pt x="832" y="200"/>
                    </a:lnTo>
                    <a:lnTo>
                      <a:pt x="768" y="128"/>
                    </a:lnTo>
                    <a:lnTo>
                      <a:pt x="728" y="120"/>
                    </a:lnTo>
                    <a:lnTo>
                      <a:pt x="720" y="80"/>
                    </a:lnTo>
                    <a:lnTo>
                      <a:pt x="632" y="40"/>
                    </a:lnTo>
                    <a:lnTo>
                      <a:pt x="608" y="48"/>
                    </a:lnTo>
                    <a:lnTo>
                      <a:pt x="568" y="8"/>
                    </a:lnTo>
                    <a:lnTo>
                      <a:pt x="456" y="24"/>
                    </a:lnTo>
                    <a:lnTo>
                      <a:pt x="424" y="40"/>
                    </a:lnTo>
                    <a:lnTo>
                      <a:pt x="368" y="0"/>
                    </a:lnTo>
                    <a:lnTo>
                      <a:pt x="352" y="0"/>
                    </a:lnTo>
                    <a:lnTo>
                      <a:pt x="344" y="32"/>
                    </a:lnTo>
                    <a:lnTo>
                      <a:pt x="320" y="48"/>
                    </a:lnTo>
                    <a:lnTo>
                      <a:pt x="288" y="40"/>
                    </a:lnTo>
                    <a:lnTo>
                      <a:pt x="272" y="72"/>
                    </a:lnTo>
                    <a:lnTo>
                      <a:pt x="272" y="96"/>
                    </a:lnTo>
                    <a:lnTo>
                      <a:pt x="256" y="112"/>
                    </a:lnTo>
                    <a:lnTo>
                      <a:pt x="280" y="160"/>
                    </a:lnTo>
                    <a:lnTo>
                      <a:pt x="264" y="176"/>
                    </a:lnTo>
                    <a:lnTo>
                      <a:pt x="224" y="176"/>
                    </a:lnTo>
                    <a:lnTo>
                      <a:pt x="216" y="224"/>
                    </a:lnTo>
                    <a:lnTo>
                      <a:pt x="208" y="256"/>
                    </a:lnTo>
                    <a:lnTo>
                      <a:pt x="192" y="256"/>
                    </a:lnTo>
                    <a:lnTo>
                      <a:pt x="160" y="288"/>
                    </a:lnTo>
                    <a:lnTo>
                      <a:pt x="136" y="264"/>
                    </a:lnTo>
                    <a:lnTo>
                      <a:pt x="120" y="264"/>
                    </a:lnTo>
                    <a:lnTo>
                      <a:pt x="104" y="256"/>
                    </a:lnTo>
                    <a:lnTo>
                      <a:pt x="88" y="264"/>
                    </a:lnTo>
                    <a:lnTo>
                      <a:pt x="64" y="248"/>
                    </a:lnTo>
                    <a:lnTo>
                      <a:pt x="32" y="264"/>
                    </a:lnTo>
                    <a:lnTo>
                      <a:pt x="16" y="272"/>
                    </a:lnTo>
                    <a:lnTo>
                      <a:pt x="16" y="296"/>
                    </a:lnTo>
                    <a:lnTo>
                      <a:pt x="0" y="312"/>
                    </a:lnTo>
                    <a:close/>
                  </a:path>
                </a:pathLst>
              </a:custGeom>
              <a:solidFill>
                <a:srgbClr val="C6B89B"/>
              </a:solidFill>
              <a:ln w="9525">
                <a:solidFill>
                  <a:schemeClr val="bg1"/>
                </a:solidFill>
                <a:round/>
                <a:headEnd/>
                <a:tailEnd/>
              </a:ln>
            </p:spPr>
            <p:txBody>
              <a:bodyPr/>
              <a:lstStyle/>
              <a:p>
                <a:endParaRPr lang="en-US" sz="1050"/>
              </a:p>
            </p:txBody>
          </p:sp>
          <p:sp>
            <p:nvSpPr>
              <p:cNvPr id="142" name="Freeform 141"/>
              <p:cNvSpPr>
                <a:spLocks/>
              </p:cNvSpPr>
              <p:nvPr/>
            </p:nvSpPr>
            <p:spPr bwMode="auto">
              <a:xfrm>
                <a:off x="2987119" y="2999436"/>
                <a:ext cx="763697" cy="902208"/>
              </a:xfrm>
              <a:custGeom>
                <a:avLst/>
                <a:gdLst>
                  <a:gd name="T0" fmla="*/ 2147483646 w 648"/>
                  <a:gd name="T1" fmla="*/ 2147483646 h 832"/>
                  <a:gd name="T2" fmla="*/ 2147483646 w 648"/>
                  <a:gd name="T3" fmla="*/ 2147483646 h 832"/>
                  <a:gd name="T4" fmla="*/ 2147483646 w 648"/>
                  <a:gd name="T5" fmla="*/ 2147483646 h 832"/>
                  <a:gd name="T6" fmla="*/ 2147483646 w 648"/>
                  <a:gd name="T7" fmla="*/ 2147483646 h 832"/>
                  <a:gd name="T8" fmla="*/ 2147483646 w 648"/>
                  <a:gd name="T9" fmla="*/ 2147483646 h 832"/>
                  <a:gd name="T10" fmla="*/ 2147483646 w 648"/>
                  <a:gd name="T11" fmla="*/ 2147483646 h 832"/>
                  <a:gd name="T12" fmla="*/ 2147483646 w 648"/>
                  <a:gd name="T13" fmla="*/ 2147483646 h 832"/>
                  <a:gd name="T14" fmla="*/ 2147483646 w 648"/>
                  <a:gd name="T15" fmla="*/ 2147483646 h 832"/>
                  <a:gd name="T16" fmla="*/ 2147483646 w 648"/>
                  <a:gd name="T17" fmla="*/ 2147483646 h 832"/>
                  <a:gd name="T18" fmla="*/ 2147483646 w 648"/>
                  <a:gd name="T19" fmla="*/ 2147483646 h 832"/>
                  <a:gd name="T20" fmla="*/ 2147483646 w 648"/>
                  <a:gd name="T21" fmla="*/ 2147483646 h 832"/>
                  <a:gd name="T22" fmla="*/ 2147483646 w 648"/>
                  <a:gd name="T23" fmla="*/ 2147483646 h 832"/>
                  <a:gd name="T24" fmla="*/ 2147483646 w 648"/>
                  <a:gd name="T25" fmla="*/ 2147483646 h 832"/>
                  <a:gd name="T26" fmla="*/ 2147483646 w 648"/>
                  <a:gd name="T27" fmla="*/ 2147483646 h 832"/>
                  <a:gd name="T28" fmla="*/ 2147483646 w 648"/>
                  <a:gd name="T29" fmla="*/ 2147483646 h 832"/>
                  <a:gd name="T30" fmla="*/ 2147483646 w 648"/>
                  <a:gd name="T31" fmla="*/ 2147483646 h 832"/>
                  <a:gd name="T32" fmla="*/ 2147483646 w 648"/>
                  <a:gd name="T33" fmla="*/ 2147483646 h 832"/>
                  <a:gd name="T34" fmla="*/ 2147483646 w 648"/>
                  <a:gd name="T35" fmla="*/ 2147483646 h 832"/>
                  <a:gd name="T36" fmla="*/ 2147483646 w 648"/>
                  <a:gd name="T37" fmla="*/ 2147483646 h 832"/>
                  <a:gd name="T38" fmla="*/ 2147483646 w 648"/>
                  <a:gd name="T39" fmla="*/ 2147483646 h 832"/>
                  <a:gd name="T40" fmla="*/ 2147483646 w 648"/>
                  <a:gd name="T41" fmla="*/ 2147483646 h 832"/>
                  <a:gd name="T42" fmla="*/ 2147483646 w 648"/>
                  <a:gd name="T43" fmla="*/ 2147483646 h 832"/>
                  <a:gd name="T44" fmla="*/ 2147483646 w 648"/>
                  <a:gd name="T45" fmla="*/ 2147483646 h 832"/>
                  <a:gd name="T46" fmla="*/ 2147483646 w 648"/>
                  <a:gd name="T47" fmla="*/ 2147483646 h 832"/>
                  <a:gd name="T48" fmla="*/ 2147483646 w 648"/>
                  <a:gd name="T49" fmla="*/ 2147483646 h 832"/>
                  <a:gd name="T50" fmla="*/ 2147483646 w 648"/>
                  <a:gd name="T51" fmla="*/ 2147483646 h 832"/>
                  <a:gd name="T52" fmla="*/ 2147483646 w 648"/>
                  <a:gd name="T53" fmla="*/ 2147483646 h 832"/>
                  <a:gd name="T54" fmla="*/ 2147483646 w 648"/>
                  <a:gd name="T55" fmla="*/ 2147483646 h 832"/>
                  <a:gd name="T56" fmla="*/ 2147483646 w 648"/>
                  <a:gd name="T57" fmla="*/ 2147483646 h 832"/>
                  <a:gd name="T58" fmla="*/ 2147483646 w 648"/>
                  <a:gd name="T59" fmla="*/ 2147483646 h 832"/>
                  <a:gd name="T60" fmla="*/ 2147483646 w 648"/>
                  <a:gd name="T61" fmla="*/ 2147483646 h 832"/>
                  <a:gd name="T62" fmla="*/ 2147483646 w 648"/>
                  <a:gd name="T63" fmla="*/ 2147483646 h 832"/>
                  <a:gd name="T64" fmla="*/ 2147483646 w 648"/>
                  <a:gd name="T65" fmla="*/ 2147483646 h 8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832"/>
                  <a:gd name="T101" fmla="*/ 648 w 648"/>
                  <a:gd name="T102" fmla="*/ 832 h 8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832">
                    <a:moveTo>
                      <a:pt x="0" y="608"/>
                    </a:moveTo>
                    <a:lnTo>
                      <a:pt x="56" y="648"/>
                    </a:lnTo>
                    <a:lnTo>
                      <a:pt x="88" y="632"/>
                    </a:lnTo>
                    <a:lnTo>
                      <a:pt x="200" y="616"/>
                    </a:lnTo>
                    <a:lnTo>
                      <a:pt x="240" y="656"/>
                    </a:lnTo>
                    <a:lnTo>
                      <a:pt x="264" y="648"/>
                    </a:lnTo>
                    <a:lnTo>
                      <a:pt x="352" y="688"/>
                    </a:lnTo>
                    <a:lnTo>
                      <a:pt x="360" y="728"/>
                    </a:lnTo>
                    <a:lnTo>
                      <a:pt x="400" y="736"/>
                    </a:lnTo>
                    <a:lnTo>
                      <a:pt x="464" y="808"/>
                    </a:lnTo>
                    <a:lnTo>
                      <a:pt x="528" y="808"/>
                    </a:lnTo>
                    <a:lnTo>
                      <a:pt x="576" y="832"/>
                    </a:lnTo>
                    <a:lnTo>
                      <a:pt x="592" y="784"/>
                    </a:lnTo>
                    <a:lnTo>
                      <a:pt x="560" y="712"/>
                    </a:lnTo>
                    <a:lnTo>
                      <a:pt x="592" y="672"/>
                    </a:lnTo>
                    <a:lnTo>
                      <a:pt x="632" y="656"/>
                    </a:lnTo>
                    <a:lnTo>
                      <a:pt x="624" y="608"/>
                    </a:lnTo>
                    <a:lnTo>
                      <a:pt x="560" y="544"/>
                    </a:lnTo>
                    <a:lnTo>
                      <a:pt x="616" y="536"/>
                    </a:lnTo>
                    <a:lnTo>
                      <a:pt x="648" y="472"/>
                    </a:lnTo>
                    <a:lnTo>
                      <a:pt x="616" y="448"/>
                    </a:lnTo>
                    <a:lnTo>
                      <a:pt x="640" y="408"/>
                    </a:lnTo>
                    <a:lnTo>
                      <a:pt x="632" y="376"/>
                    </a:lnTo>
                    <a:lnTo>
                      <a:pt x="592" y="368"/>
                    </a:lnTo>
                    <a:lnTo>
                      <a:pt x="552" y="312"/>
                    </a:lnTo>
                    <a:lnTo>
                      <a:pt x="528" y="312"/>
                    </a:lnTo>
                    <a:lnTo>
                      <a:pt x="512" y="280"/>
                    </a:lnTo>
                    <a:lnTo>
                      <a:pt x="568" y="248"/>
                    </a:lnTo>
                    <a:lnTo>
                      <a:pt x="568" y="216"/>
                    </a:lnTo>
                    <a:lnTo>
                      <a:pt x="600" y="208"/>
                    </a:lnTo>
                    <a:lnTo>
                      <a:pt x="592" y="168"/>
                    </a:lnTo>
                    <a:lnTo>
                      <a:pt x="552" y="128"/>
                    </a:lnTo>
                    <a:lnTo>
                      <a:pt x="496" y="136"/>
                    </a:lnTo>
                    <a:lnTo>
                      <a:pt x="464" y="96"/>
                    </a:lnTo>
                    <a:lnTo>
                      <a:pt x="424" y="96"/>
                    </a:lnTo>
                    <a:lnTo>
                      <a:pt x="432" y="40"/>
                    </a:lnTo>
                    <a:lnTo>
                      <a:pt x="352" y="0"/>
                    </a:lnTo>
                    <a:lnTo>
                      <a:pt x="320" y="24"/>
                    </a:lnTo>
                    <a:lnTo>
                      <a:pt x="264" y="40"/>
                    </a:lnTo>
                    <a:lnTo>
                      <a:pt x="256" y="72"/>
                    </a:lnTo>
                    <a:lnTo>
                      <a:pt x="272" y="120"/>
                    </a:lnTo>
                    <a:lnTo>
                      <a:pt x="264" y="152"/>
                    </a:lnTo>
                    <a:lnTo>
                      <a:pt x="240" y="168"/>
                    </a:lnTo>
                    <a:lnTo>
                      <a:pt x="216" y="168"/>
                    </a:lnTo>
                    <a:lnTo>
                      <a:pt x="208" y="184"/>
                    </a:lnTo>
                    <a:lnTo>
                      <a:pt x="200" y="200"/>
                    </a:lnTo>
                    <a:lnTo>
                      <a:pt x="192" y="208"/>
                    </a:lnTo>
                    <a:lnTo>
                      <a:pt x="192" y="232"/>
                    </a:lnTo>
                    <a:lnTo>
                      <a:pt x="184" y="240"/>
                    </a:lnTo>
                    <a:lnTo>
                      <a:pt x="184" y="264"/>
                    </a:lnTo>
                    <a:lnTo>
                      <a:pt x="168" y="296"/>
                    </a:lnTo>
                    <a:lnTo>
                      <a:pt x="152" y="312"/>
                    </a:lnTo>
                    <a:lnTo>
                      <a:pt x="128" y="328"/>
                    </a:lnTo>
                    <a:lnTo>
                      <a:pt x="112" y="344"/>
                    </a:lnTo>
                    <a:lnTo>
                      <a:pt x="96" y="360"/>
                    </a:lnTo>
                    <a:lnTo>
                      <a:pt x="88" y="376"/>
                    </a:lnTo>
                    <a:lnTo>
                      <a:pt x="104" y="400"/>
                    </a:lnTo>
                    <a:lnTo>
                      <a:pt x="96" y="424"/>
                    </a:lnTo>
                    <a:lnTo>
                      <a:pt x="80" y="448"/>
                    </a:lnTo>
                    <a:lnTo>
                      <a:pt x="56" y="448"/>
                    </a:lnTo>
                    <a:lnTo>
                      <a:pt x="72" y="480"/>
                    </a:lnTo>
                    <a:lnTo>
                      <a:pt x="40" y="504"/>
                    </a:lnTo>
                    <a:lnTo>
                      <a:pt x="24" y="520"/>
                    </a:lnTo>
                    <a:lnTo>
                      <a:pt x="8" y="544"/>
                    </a:lnTo>
                    <a:lnTo>
                      <a:pt x="0" y="568"/>
                    </a:lnTo>
                    <a:lnTo>
                      <a:pt x="32" y="576"/>
                    </a:lnTo>
                    <a:lnTo>
                      <a:pt x="0" y="608"/>
                    </a:lnTo>
                    <a:close/>
                  </a:path>
                </a:pathLst>
              </a:custGeom>
              <a:solidFill>
                <a:srgbClr val="4670F8"/>
              </a:solidFill>
              <a:ln w="9525">
                <a:solidFill>
                  <a:schemeClr val="bg1"/>
                </a:solidFill>
                <a:round/>
                <a:headEnd/>
                <a:tailEnd/>
              </a:ln>
            </p:spPr>
            <p:txBody>
              <a:bodyPr/>
              <a:lstStyle/>
              <a:p>
                <a:endParaRPr lang="en-US" sz="1050"/>
              </a:p>
            </p:txBody>
          </p:sp>
          <p:sp>
            <p:nvSpPr>
              <p:cNvPr id="143" name="Freeform 142"/>
              <p:cNvSpPr>
                <a:spLocks/>
              </p:cNvSpPr>
              <p:nvPr/>
            </p:nvSpPr>
            <p:spPr bwMode="auto">
              <a:xfrm>
                <a:off x="3401967" y="2652433"/>
                <a:ext cx="791982" cy="572555"/>
              </a:xfrm>
              <a:custGeom>
                <a:avLst/>
                <a:gdLst>
                  <a:gd name="T0" fmla="*/ 0 w 672"/>
                  <a:gd name="T1" fmla="*/ 2147483646 h 528"/>
                  <a:gd name="T2" fmla="*/ 2147483646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2147483646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0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2147483646 w 672"/>
                  <a:gd name="T79" fmla="*/ 2147483646 h 528"/>
                  <a:gd name="T80" fmla="*/ 2147483646 w 672"/>
                  <a:gd name="T81" fmla="*/ 2147483646 h 528"/>
                  <a:gd name="T82" fmla="*/ 2147483646 w 672"/>
                  <a:gd name="T83" fmla="*/ 2147483646 h 528"/>
                  <a:gd name="T84" fmla="*/ 2147483646 w 672"/>
                  <a:gd name="T85" fmla="*/ 2147483646 h 528"/>
                  <a:gd name="T86" fmla="*/ 2147483646 w 672"/>
                  <a:gd name="T87" fmla="*/ 2147483646 h 528"/>
                  <a:gd name="T88" fmla="*/ 2147483646 w 672"/>
                  <a:gd name="T89" fmla="*/ 2147483646 h 528"/>
                  <a:gd name="T90" fmla="*/ 2147483646 w 672"/>
                  <a:gd name="T91" fmla="*/ 2147483646 h 528"/>
                  <a:gd name="T92" fmla="*/ 2147483646 w 672"/>
                  <a:gd name="T93" fmla="*/ 2147483646 h 528"/>
                  <a:gd name="T94" fmla="*/ 2147483646 w 672"/>
                  <a:gd name="T95" fmla="*/ 2147483646 h 528"/>
                  <a:gd name="T96" fmla="*/ 2147483646 w 672"/>
                  <a:gd name="T97" fmla="*/ 2147483646 h 528"/>
                  <a:gd name="T98" fmla="*/ 2147483646 w 672"/>
                  <a:gd name="T99" fmla="*/ 2147483646 h 528"/>
                  <a:gd name="T100" fmla="*/ 2147483646 w 672"/>
                  <a:gd name="T101" fmla="*/ 2147483646 h 528"/>
                  <a:gd name="T102" fmla="*/ 2147483646 w 672"/>
                  <a:gd name="T103" fmla="*/ 2147483646 h 528"/>
                  <a:gd name="T104" fmla="*/ 0 w 672"/>
                  <a:gd name="T105" fmla="*/ 2147483646 h 5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28"/>
                  <a:gd name="T161" fmla="*/ 672 w 672"/>
                  <a:gd name="T162" fmla="*/ 528 h 5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28">
                    <a:moveTo>
                      <a:pt x="0" y="320"/>
                    </a:moveTo>
                    <a:lnTo>
                      <a:pt x="80" y="360"/>
                    </a:lnTo>
                    <a:lnTo>
                      <a:pt x="72" y="416"/>
                    </a:lnTo>
                    <a:lnTo>
                      <a:pt x="112" y="416"/>
                    </a:lnTo>
                    <a:lnTo>
                      <a:pt x="144" y="456"/>
                    </a:lnTo>
                    <a:lnTo>
                      <a:pt x="200" y="448"/>
                    </a:lnTo>
                    <a:lnTo>
                      <a:pt x="240" y="488"/>
                    </a:lnTo>
                    <a:lnTo>
                      <a:pt x="336" y="456"/>
                    </a:lnTo>
                    <a:lnTo>
                      <a:pt x="320" y="488"/>
                    </a:lnTo>
                    <a:lnTo>
                      <a:pt x="352" y="488"/>
                    </a:lnTo>
                    <a:lnTo>
                      <a:pt x="408" y="528"/>
                    </a:lnTo>
                    <a:lnTo>
                      <a:pt x="440" y="488"/>
                    </a:lnTo>
                    <a:lnTo>
                      <a:pt x="440" y="480"/>
                    </a:lnTo>
                    <a:lnTo>
                      <a:pt x="376" y="480"/>
                    </a:lnTo>
                    <a:lnTo>
                      <a:pt x="376" y="440"/>
                    </a:lnTo>
                    <a:lnTo>
                      <a:pt x="408" y="432"/>
                    </a:lnTo>
                    <a:lnTo>
                      <a:pt x="400" y="384"/>
                    </a:lnTo>
                    <a:lnTo>
                      <a:pt x="448" y="336"/>
                    </a:lnTo>
                    <a:lnTo>
                      <a:pt x="512" y="368"/>
                    </a:lnTo>
                    <a:lnTo>
                      <a:pt x="520" y="304"/>
                    </a:lnTo>
                    <a:lnTo>
                      <a:pt x="544" y="264"/>
                    </a:lnTo>
                    <a:lnTo>
                      <a:pt x="472" y="256"/>
                    </a:lnTo>
                    <a:lnTo>
                      <a:pt x="480" y="224"/>
                    </a:lnTo>
                    <a:lnTo>
                      <a:pt x="632" y="200"/>
                    </a:lnTo>
                    <a:lnTo>
                      <a:pt x="672" y="128"/>
                    </a:lnTo>
                    <a:lnTo>
                      <a:pt x="624" y="112"/>
                    </a:lnTo>
                    <a:lnTo>
                      <a:pt x="624" y="72"/>
                    </a:lnTo>
                    <a:lnTo>
                      <a:pt x="592" y="96"/>
                    </a:lnTo>
                    <a:lnTo>
                      <a:pt x="568" y="80"/>
                    </a:lnTo>
                    <a:lnTo>
                      <a:pt x="536" y="80"/>
                    </a:lnTo>
                    <a:lnTo>
                      <a:pt x="520" y="56"/>
                    </a:lnTo>
                    <a:lnTo>
                      <a:pt x="488" y="16"/>
                    </a:lnTo>
                    <a:lnTo>
                      <a:pt x="464" y="16"/>
                    </a:lnTo>
                    <a:lnTo>
                      <a:pt x="448" y="0"/>
                    </a:lnTo>
                    <a:lnTo>
                      <a:pt x="424" y="24"/>
                    </a:lnTo>
                    <a:lnTo>
                      <a:pt x="416" y="56"/>
                    </a:lnTo>
                    <a:lnTo>
                      <a:pt x="384" y="88"/>
                    </a:lnTo>
                    <a:lnTo>
                      <a:pt x="352" y="64"/>
                    </a:lnTo>
                    <a:lnTo>
                      <a:pt x="344" y="96"/>
                    </a:lnTo>
                    <a:lnTo>
                      <a:pt x="320" y="96"/>
                    </a:lnTo>
                    <a:lnTo>
                      <a:pt x="304" y="136"/>
                    </a:lnTo>
                    <a:lnTo>
                      <a:pt x="256" y="152"/>
                    </a:lnTo>
                    <a:lnTo>
                      <a:pt x="280" y="184"/>
                    </a:lnTo>
                    <a:lnTo>
                      <a:pt x="240" y="184"/>
                    </a:lnTo>
                    <a:lnTo>
                      <a:pt x="216" y="216"/>
                    </a:lnTo>
                    <a:lnTo>
                      <a:pt x="168" y="224"/>
                    </a:lnTo>
                    <a:lnTo>
                      <a:pt x="136" y="200"/>
                    </a:lnTo>
                    <a:lnTo>
                      <a:pt x="112" y="200"/>
                    </a:lnTo>
                    <a:lnTo>
                      <a:pt x="104" y="232"/>
                    </a:lnTo>
                    <a:lnTo>
                      <a:pt x="80" y="248"/>
                    </a:lnTo>
                    <a:lnTo>
                      <a:pt x="56" y="232"/>
                    </a:lnTo>
                    <a:lnTo>
                      <a:pt x="24" y="264"/>
                    </a:lnTo>
                    <a:lnTo>
                      <a:pt x="0" y="320"/>
                    </a:lnTo>
                    <a:close/>
                  </a:path>
                </a:pathLst>
              </a:custGeom>
              <a:solidFill>
                <a:srgbClr val="C6CFEB"/>
              </a:solidFill>
              <a:ln w="9525">
                <a:solidFill>
                  <a:schemeClr val="bg1"/>
                </a:solidFill>
                <a:round/>
                <a:headEnd/>
                <a:tailEnd/>
              </a:ln>
            </p:spPr>
            <p:txBody>
              <a:bodyPr/>
              <a:lstStyle/>
              <a:p>
                <a:endParaRPr lang="en-US" sz="1050"/>
              </a:p>
            </p:txBody>
          </p:sp>
          <p:sp>
            <p:nvSpPr>
              <p:cNvPr id="144" name="Freeform 143"/>
              <p:cNvSpPr>
                <a:spLocks/>
              </p:cNvSpPr>
              <p:nvPr/>
            </p:nvSpPr>
            <p:spPr bwMode="auto">
              <a:xfrm>
                <a:off x="5155642" y="4526249"/>
                <a:ext cx="641128" cy="589905"/>
              </a:xfrm>
              <a:custGeom>
                <a:avLst/>
                <a:gdLst>
                  <a:gd name="T0" fmla="*/ 2147483646 w 544"/>
                  <a:gd name="T1" fmla="*/ 2147483646 h 544"/>
                  <a:gd name="T2" fmla="*/ 2147483646 w 544"/>
                  <a:gd name="T3" fmla="*/ 2147483646 h 544"/>
                  <a:gd name="T4" fmla="*/ 2147483646 w 544"/>
                  <a:gd name="T5" fmla="*/ 2147483646 h 544"/>
                  <a:gd name="T6" fmla="*/ 2147483646 w 544"/>
                  <a:gd name="T7" fmla="*/ 2147483646 h 544"/>
                  <a:gd name="T8" fmla="*/ 2147483646 w 544"/>
                  <a:gd name="T9" fmla="*/ 2147483646 h 544"/>
                  <a:gd name="T10" fmla="*/ 2147483646 w 544"/>
                  <a:gd name="T11" fmla="*/ 2147483646 h 544"/>
                  <a:gd name="T12" fmla="*/ 2147483646 w 544"/>
                  <a:gd name="T13" fmla="*/ 2147483646 h 544"/>
                  <a:gd name="T14" fmla="*/ 2147483646 w 544"/>
                  <a:gd name="T15" fmla="*/ 2147483646 h 544"/>
                  <a:gd name="T16" fmla="*/ 2147483646 w 544"/>
                  <a:gd name="T17" fmla="*/ 2147483646 h 544"/>
                  <a:gd name="T18" fmla="*/ 2147483646 w 544"/>
                  <a:gd name="T19" fmla="*/ 2147483646 h 544"/>
                  <a:gd name="T20" fmla="*/ 2147483646 w 544"/>
                  <a:gd name="T21" fmla="*/ 2147483646 h 544"/>
                  <a:gd name="T22" fmla="*/ 2147483646 w 544"/>
                  <a:gd name="T23" fmla="*/ 2147483646 h 544"/>
                  <a:gd name="T24" fmla="*/ 2147483646 w 544"/>
                  <a:gd name="T25" fmla="*/ 2147483646 h 544"/>
                  <a:gd name="T26" fmla="*/ 2147483646 w 544"/>
                  <a:gd name="T27" fmla="*/ 2147483646 h 544"/>
                  <a:gd name="T28" fmla="*/ 2147483646 w 544"/>
                  <a:gd name="T29" fmla="*/ 2147483646 h 544"/>
                  <a:gd name="T30" fmla="*/ 2147483646 w 544"/>
                  <a:gd name="T31" fmla="*/ 2147483646 h 544"/>
                  <a:gd name="T32" fmla="*/ 2147483646 w 544"/>
                  <a:gd name="T33" fmla="*/ 2147483646 h 544"/>
                  <a:gd name="T34" fmla="*/ 2147483646 w 544"/>
                  <a:gd name="T35" fmla="*/ 0 h 544"/>
                  <a:gd name="T36" fmla="*/ 2147483646 w 544"/>
                  <a:gd name="T37" fmla="*/ 2147483646 h 544"/>
                  <a:gd name="T38" fmla="*/ 2147483646 w 544"/>
                  <a:gd name="T39" fmla="*/ 2147483646 h 544"/>
                  <a:gd name="T40" fmla="*/ 2147483646 w 544"/>
                  <a:gd name="T41" fmla="*/ 2147483646 h 544"/>
                  <a:gd name="T42" fmla="*/ 2147483646 w 544"/>
                  <a:gd name="T43" fmla="*/ 2147483646 h 544"/>
                  <a:gd name="T44" fmla="*/ 2147483646 w 544"/>
                  <a:gd name="T45" fmla="*/ 2147483646 h 544"/>
                  <a:gd name="T46" fmla="*/ 2147483646 w 544"/>
                  <a:gd name="T47" fmla="*/ 2147483646 h 544"/>
                  <a:gd name="T48" fmla="*/ 0 w 544"/>
                  <a:gd name="T49" fmla="*/ 2147483646 h 544"/>
                  <a:gd name="T50" fmla="*/ 2147483646 w 544"/>
                  <a:gd name="T51" fmla="*/ 2147483646 h 544"/>
                  <a:gd name="T52" fmla="*/ 2147483646 w 544"/>
                  <a:gd name="T53" fmla="*/ 2147483646 h 544"/>
                  <a:gd name="T54" fmla="*/ 2147483646 w 544"/>
                  <a:gd name="T55" fmla="*/ 2147483646 h 544"/>
                  <a:gd name="T56" fmla="*/ 2147483646 w 544"/>
                  <a:gd name="T57" fmla="*/ 2147483646 h 544"/>
                  <a:gd name="T58" fmla="*/ 2147483646 w 544"/>
                  <a:gd name="T59" fmla="*/ 2147483646 h 544"/>
                  <a:gd name="T60" fmla="*/ 2147483646 w 544"/>
                  <a:gd name="T61" fmla="*/ 2147483646 h 544"/>
                  <a:gd name="T62" fmla="*/ 2147483646 w 544"/>
                  <a:gd name="T63" fmla="*/ 2147483646 h 544"/>
                  <a:gd name="T64" fmla="*/ 2147483646 w 544"/>
                  <a:gd name="T65" fmla="*/ 2147483646 h 544"/>
                  <a:gd name="T66" fmla="*/ 2147483646 w 544"/>
                  <a:gd name="T67" fmla="*/ 2147483646 h 544"/>
                  <a:gd name="T68" fmla="*/ 2147483646 w 544"/>
                  <a:gd name="T69" fmla="*/ 2147483646 h 544"/>
                  <a:gd name="T70" fmla="*/ 2147483646 w 544"/>
                  <a:gd name="T71" fmla="*/ 2147483646 h 544"/>
                  <a:gd name="T72" fmla="*/ 2147483646 w 544"/>
                  <a:gd name="T73" fmla="*/ 2147483646 h 5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4"/>
                  <a:gd name="T112" fmla="*/ 0 h 544"/>
                  <a:gd name="T113" fmla="*/ 544 w 544"/>
                  <a:gd name="T114" fmla="*/ 544 h 5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4" h="544">
                    <a:moveTo>
                      <a:pt x="368" y="544"/>
                    </a:moveTo>
                    <a:lnTo>
                      <a:pt x="400" y="504"/>
                    </a:lnTo>
                    <a:lnTo>
                      <a:pt x="488" y="496"/>
                    </a:lnTo>
                    <a:lnTo>
                      <a:pt x="504" y="464"/>
                    </a:lnTo>
                    <a:lnTo>
                      <a:pt x="544" y="456"/>
                    </a:lnTo>
                    <a:lnTo>
                      <a:pt x="496" y="392"/>
                    </a:lnTo>
                    <a:lnTo>
                      <a:pt x="528" y="384"/>
                    </a:lnTo>
                    <a:lnTo>
                      <a:pt x="520" y="344"/>
                    </a:lnTo>
                    <a:lnTo>
                      <a:pt x="464" y="328"/>
                    </a:lnTo>
                    <a:lnTo>
                      <a:pt x="448" y="248"/>
                    </a:lnTo>
                    <a:lnTo>
                      <a:pt x="400" y="264"/>
                    </a:lnTo>
                    <a:lnTo>
                      <a:pt x="392" y="232"/>
                    </a:lnTo>
                    <a:lnTo>
                      <a:pt x="352" y="224"/>
                    </a:lnTo>
                    <a:lnTo>
                      <a:pt x="360" y="160"/>
                    </a:lnTo>
                    <a:lnTo>
                      <a:pt x="320" y="136"/>
                    </a:lnTo>
                    <a:lnTo>
                      <a:pt x="320" y="72"/>
                    </a:lnTo>
                    <a:lnTo>
                      <a:pt x="288" y="40"/>
                    </a:lnTo>
                    <a:lnTo>
                      <a:pt x="224" y="0"/>
                    </a:lnTo>
                    <a:lnTo>
                      <a:pt x="184" y="72"/>
                    </a:lnTo>
                    <a:lnTo>
                      <a:pt x="104" y="32"/>
                    </a:lnTo>
                    <a:lnTo>
                      <a:pt x="64" y="32"/>
                    </a:lnTo>
                    <a:lnTo>
                      <a:pt x="48" y="48"/>
                    </a:lnTo>
                    <a:lnTo>
                      <a:pt x="16" y="32"/>
                    </a:lnTo>
                    <a:lnTo>
                      <a:pt x="8" y="64"/>
                    </a:lnTo>
                    <a:lnTo>
                      <a:pt x="0" y="120"/>
                    </a:lnTo>
                    <a:lnTo>
                      <a:pt x="64" y="176"/>
                    </a:lnTo>
                    <a:lnTo>
                      <a:pt x="32" y="224"/>
                    </a:lnTo>
                    <a:lnTo>
                      <a:pt x="112" y="304"/>
                    </a:lnTo>
                    <a:lnTo>
                      <a:pt x="104" y="368"/>
                    </a:lnTo>
                    <a:lnTo>
                      <a:pt x="160" y="384"/>
                    </a:lnTo>
                    <a:lnTo>
                      <a:pt x="160" y="480"/>
                    </a:lnTo>
                    <a:lnTo>
                      <a:pt x="192" y="480"/>
                    </a:lnTo>
                    <a:lnTo>
                      <a:pt x="224" y="520"/>
                    </a:lnTo>
                    <a:lnTo>
                      <a:pt x="224" y="544"/>
                    </a:lnTo>
                    <a:lnTo>
                      <a:pt x="304" y="544"/>
                    </a:lnTo>
                    <a:lnTo>
                      <a:pt x="328" y="528"/>
                    </a:lnTo>
                    <a:lnTo>
                      <a:pt x="368" y="544"/>
                    </a:lnTo>
                    <a:close/>
                  </a:path>
                </a:pathLst>
              </a:custGeom>
              <a:solidFill>
                <a:srgbClr val="002060"/>
              </a:solidFill>
              <a:ln w="9525">
                <a:solidFill>
                  <a:schemeClr val="bg1"/>
                </a:solidFill>
                <a:round/>
                <a:headEnd/>
                <a:tailEnd/>
              </a:ln>
            </p:spPr>
            <p:txBody>
              <a:bodyPr/>
              <a:lstStyle/>
              <a:p>
                <a:endParaRPr lang="en-US" sz="1050"/>
              </a:p>
            </p:txBody>
          </p:sp>
          <p:sp>
            <p:nvSpPr>
              <p:cNvPr id="145" name="Freeform 6"/>
              <p:cNvSpPr>
                <a:spLocks/>
              </p:cNvSpPr>
              <p:nvPr/>
            </p:nvSpPr>
            <p:spPr bwMode="auto">
              <a:xfrm>
                <a:off x="4882219" y="2756534"/>
                <a:ext cx="933408" cy="641956"/>
              </a:xfrm>
              <a:custGeom>
                <a:avLst/>
                <a:gdLst>
                  <a:gd name="T0" fmla="*/ 2147483646 w 792"/>
                  <a:gd name="T1" fmla="*/ 2147483646 h 592"/>
                  <a:gd name="T2" fmla="*/ 2147483646 w 792"/>
                  <a:gd name="T3" fmla="*/ 2147483646 h 592"/>
                  <a:gd name="T4" fmla="*/ 2147483646 w 792"/>
                  <a:gd name="T5" fmla="*/ 2147483646 h 592"/>
                  <a:gd name="T6" fmla="*/ 2147483646 w 792"/>
                  <a:gd name="T7" fmla="*/ 2147483646 h 592"/>
                  <a:gd name="T8" fmla="*/ 2147483646 w 792"/>
                  <a:gd name="T9" fmla="*/ 2147483646 h 592"/>
                  <a:gd name="T10" fmla="*/ 2147483646 w 792"/>
                  <a:gd name="T11" fmla="*/ 2147483646 h 592"/>
                  <a:gd name="T12" fmla="*/ 2147483646 w 792"/>
                  <a:gd name="T13" fmla="*/ 2147483646 h 592"/>
                  <a:gd name="T14" fmla="*/ 2147483646 w 792"/>
                  <a:gd name="T15" fmla="*/ 2147483646 h 592"/>
                  <a:gd name="T16" fmla="*/ 2147483646 w 792"/>
                  <a:gd name="T17" fmla="*/ 2147483646 h 592"/>
                  <a:gd name="T18" fmla="*/ 2147483646 w 792"/>
                  <a:gd name="T19" fmla="*/ 2147483646 h 592"/>
                  <a:gd name="T20" fmla="*/ 2147483646 w 792"/>
                  <a:gd name="T21" fmla="*/ 2147483646 h 592"/>
                  <a:gd name="T22" fmla="*/ 2147483646 w 792"/>
                  <a:gd name="T23" fmla="*/ 2147483646 h 592"/>
                  <a:gd name="T24" fmla="*/ 2147483646 w 792"/>
                  <a:gd name="T25" fmla="*/ 2147483646 h 592"/>
                  <a:gd name="T26" fmla="*/ 2147483646 w 792"/>
                  <a:gd name="T27" fmla="*/ 2147483646 h 592"/>
                  <a:gd name="T28" fmla="*/ 2147483646 w 792"/>
                  <a:gd name="T29" fmla="*/ 2147483646 h 592"/>
                  <a:gd name="T30" fmla="*/ 2147483646 w 792"/>
                  <a:gd name="T31" fmla="*/ 2147483646 h 592"/>
                  <a:gd name="T32" fmla="*/ 2147483646 w 792"/>
                  <a:gd name="T33" fmla="*/ 2147483646 h 592"/>
                  <a:gd name="T34" fmla="*/ 2147483646 w 792"/>
                  <a:gd name="T35" fmla="*/ 2147483646 h 592"/>
                  <a:gd name="T36" fmla="*/ 2147483646 w 792"/>
                  <a:gd name="T37" fmla="*/ 2147483646 h 592"/>
                  <a:gd name="T38" fmla="*/ 2147483646 w 792"/>
                  <a:gd name="T39" fmla="*/ 2147483646 h 592"/>
                  <a:gd name="T40" fmla="*/ 2147483646 w 792"/>
                  <a:gd name="T41" fmla="*/ 2147483646 h 592"/>
                  <a:gd name="T42" fmla="*/ 2147483646 w 792"/>
                  <a:gd name="T43" fmla="*/ 2147483646 h 592"/>
                  <a:gd name="T44" fmla="*/ 2147483646 w 792"/>
                  <a:gd name="T45" fmla="*/ 2147483646 h 592"/>
                  <a:gd name="T46" fmla="*/ 2147483646 w 792"/>
                  <a:gd name="T47" fmla="*/ 2147483646 h 592"/>
                  <a:gd name="T48" fmla="*/ 2147483646 w 792"/>
                  <a:gd name="T49" fmla="*/ 2147483646 h 592"/>
                  <a:gd name="T50" fmla="*/ 2147483646 w 792"/>
                  <a:gd name="T51" fmla="*/ 2147483646 h 592"/>
                  <a:gd name="T52" fmla="*/ 2147483646 w 792"/>
                  <a:gd name="T53" fmla="*/ 2147483646 h 592"/>
                  <a:gd name="T54" fmla="*/ 2147483646 w 792"/>
                  <a:gd name="T55" fmla="*/ 2147483646 h 592"/>
                  <a:gd name="T56" fmla="*/ 2147483646 w 792"/>
                  <a:gd name="T57" fmla="*/ 2147483646 h 592"/>
                  <a:gd name="T58" fmla="*/ 2147483646 w 792"/>
                  <a:gd name="T59" fmla="*/ 2147483646 h 592"/>
                  <a:gd name="T60" fmla="*/ 2147483646 w 792"/>
                  <a:gd name="T61" fmla="*/ 2147483646 h 592"/>
                  <a:gd name="T62" fmla="*/ 2147483646 w 792"/>
                  <a:gd name="T63" fmla="*/ 2147483646 h 592"/>
                  <a:gd name="T64" fmla="*/ 2147483646 w 792"/>
                  <a:gd name="T65" fmla="*/ 2147483646 h 592"/>
                  <a:gd name="T66" fmla="*/ 2147483646 w 792"/>
                  <a:gd name="T67" fmla="*/ 2147483646 h 592"/>
                  <a:gd name="T68" fmla="*/ 2147483646 w 792"/>
                  <a:gd name="T69" fmla="*/ 2147483646 h 592"/>
                  <a:gd name="T70" fmla="*/ 2147483646 w 792"/>
                  <a:gd name="T71" fmla="*/ 2147483646 h 592"/>
                  <a:gd name="T72" fmla="*/ 2147483646 w 792"/>
                  <a:gd name="T73" fmla="*/ 2147483646 h 592"/>
                  <a:gd name="T74" fmla="*/ 2147483646 w 792"/>
                  <a:gd name="T75" fmla="*/ 2147483646 h 592"/>
                  <a:gd name="T76" fmla="*/ 2147483646 w 792"/>
                  <a:gd name="T77" fmla="*/ 2147483646 h 592"/>
                  <a:gd name="T78" fmla="*/ 0 w 792"/>
                  <a:gd name="T79" fmla="*/ 2147483646 h 592"/>
                  <a:gd name="T80" fmla="*/ 2147483646 w 792"/>
                  <a:gd name="T81" fmla="*/ 2147483646 h 592"/>
                  <a:gd name="T82" fmla="*/ 2147483646 w 792"/>
                  <a:gd name="T83" fmla="*/ 2147483646 h 592"/>
                  <a:gd name="T84" fmla="*/ 2147483646 w 792"/>
                  <a:gd name="T85" fmla="*/ 2147483646 h 592"/>
                  <a:gd name="T86" fmla="*/ 2147483646 w 792"/>
                  <a:gd name="T87" fmla="*/ 2147483646 h 592"/>
                  <a:gd name="T88" fmla="*/ 2147483646 w 792"/>
                  <a:gd name="T89" fmla="*/ 2147483646 h 592"/>
                  <a:gd name="T90" fmla="*/ 2147483646 w 792"/>
                  <a:gd name="T91" fmla="*/ 2147483646 h 592"/>
                  <a:gd name="T92" fmla="*/ 2147483646 w 792"/>
                  <a:gd name="T93" fmla="*/ 2147483646 h 592"/>
                  <a:gd name="T94" fmla="*/ 2147483646 w 792"/>
                  <a:gd name="T95" fmla="*/ 2147483646 h 592"/>
                  <a:gd name="T96" fmla="*/ 2147483646 w 792"/>
                  <a:gd name="T97" fmla="*/ 2147483646 h 592"/>
                  <a:gd name="T98" fmla="*/ 2147483646 w 792"/>
                  <a:gd name="T99" fmla="*/ 2147483646 h 592"/>
                  <a:gd name="T100" fmla="*/ 2147483646 w 792"/>
                  <a:gd name="T101" fmla="*/ 0 h 592"/>
                  <a:gd name="T102" fmla="*/ 2147483646 w 792"/>
                  <a:gd name="T103" fmla="*/ 2147483646 h 5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2"/>
                  <a:gd name="T157" fmla="*/ 0 h 592"/>
                  <a:gd name="T158" fmla="*/ 792 w 792"/>
                  <a:gd name="T159" fmla="*/ 592 h 5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2" h="592">
                    <a:moveTo>
                      <a:pt x="504" y="8"/>
                    </a:moveTo>
                    <a:lnTo>
                      <a:pt x="512" y="32"/>
                    </a:lnTo>
                    <a:lnTo>
                      <a:pt x="544" y="64"/>
                    </a:lnTo>
                    <a:lnTo>
                      <a:pt x="568" y="56"/>
                    </a:lnTo>
                    <a:lnTo>
                      <a:pt x="624" y="128"/>
                    </a:lnTo>
                    <a:lnTo>
                      <a:pt x="640" y="104"/>
                    </a:lnTo>
                    <a:lnTo>
                      <a:pt x="688" y="144"/>
                    </a:lnTo>
                    <a:lnTo>
                      <a:pt x="688" y="192"/>
                    </a:lnTo>
                    <a:lnTo>
                      <a:pt x="744" y="288"/>
                    </a:lnTo>
                    <a:lnTo>
                      <a:pt x="712" y="320"/>
                    </a:lnTo>
                    <a:lnTo>
                      <a:pt x="728" y="352"/>
                    </a:lnTo>
                    <a:lnTo>
                      <a:pt x="784" y="328"/>
                    </a:lnTo>
                    <a:lnTo>
                      <a:pt x="792" y="392"/>
                    </a:lnTo>
                    <a:lnTo>
                      <a:pt x="760" y="384"/>
                    </a:lnTo>
                    <a:lnTo>
                      <a:pt x="760" y="416"/>
                    </a:lnTo>
                    <a:lnTo>
                      <a:pt x="712" y="400"/>
                    </a:lnTo>
                    <a:lnTo>
                      <a:pt x="728" y="480"/>
                    </a:lnTo>
                    <a:lnTo>
                      <a:pt x="664" y="424"/>
                    </a:lnTo>
                    <a:lnTo>
                      <a:pt x="544" y="424"/>
                    </a:lnTo>
                    <a:lnTo>
                      <a:pt x="480" y="432"/>
                    </a:lnTo>
                    <a:lnTo>
                      <a:pt x="432" y="456"/>
                    </a:lnTo>
                    <a:lnTo>
                      <a:pt x="376" y="416"/>
                    </a:lnTo>
                    <a:lnTo>
                      <a:pt x="392" y="480"/>
                    </a:lnTo>
                    <a:lnTo>
                      <a:pt x="336" y="528"/>
                    </a:lnTo>
                    <a:lnTo>
                      <a:pt x="328" y="584"/>
                    </a:lnTo>
                    <a:lnTo>
                      <a:pt x="240" y="592"/>
                    </a:lnTo>
                    <a:lnTo>
                      <a:pt x="256" y="536"/>
                    </a:lnTo>
                    <a:lnTo>
                      <a:pt x="176" y="528"/>
                    </a:lnTo>
                    <a:lnTo>
                      <a:pt x="136" y="584"/>
                    </a:lnTo>
                    <a:lnTo>
                      <a:pt x="96" y="552"/>
                    </a:lnTo>
                    <a:lnTo>
                      <a:pt x="56" y="576"/>
                    </a:lnTo>
                    <a:lnTo>
                      <a:pt x="16" y="560"/>
                    </a:lnTo>
                    <a:lnTo>
                      <a:pt x="32" y="496"/>
                    </a:lnTo>
                    <a:lnTo>
                      <a:pt x="8" y="456"/>
                    </a:lnTo>
                    <a:lnTo>
                      <a:pt x="32" y="408"/>
                    </a:lnTo>
                    <a:lnTo>
                      <a:pt x="8" y="360"/>
                    </a:lnTo>
                    <a:lnTo>
                      <a:pt x="48" y="360"/>
                    </a:lnTo>
                    <a:lnTo>
                      <a:pt x="56" y="328"/>
                    </a:lnTo>
                    <a:lnTo>
                      <a:pt x="40" y="288"/>
                    </a:lnTo>
                    <a:lnTo>
                      <a:pt x="0" y="264"/>
                    </a:lnTo>
                    <a:lnTo>
                      <a:pt x="32" y="232"/>
                    </a:lnTo>
                    <a:lnTo>
                      <a:pt x="8" y="176"/>
                    </a:lnTo>
                    <a:lnTo>
                      <a:pt x="72" y="152"/>
                    </a:lnTo>
                    <a:lnTo>
                      <a:pt x="96" y="104"/>
                    </a:lnTo>
                    <a:lnTo>
                      <a:pt x="136" y="56"/>
                    </a:lnTo>
                    <a:lnTo>
                      <a:pt x="184" y="48"/>
                    </a:lnTo>
                    <a:lnTo>
                      <a:pt x="248" y="32"/>
                    </a:lnTo>
                    <a:lnTo>
                      <a:pt x="360" y="40"/>
                    </a:lnTo>
                    <a:lnTo>
                      <a:pt x="392" y="16"/>
                    </a:lnTo>
                    <a:lnTo>
                      <a:pt x="448" y="16"/>
                    </a:lnTo>
                    <a:lnTo>
                      <a:pt x="472" y="0"/>
                    </a:lnTo>
                    <a:lnTo>
                      <a:pt x="504" y="8"/>
                    </a:lnTo>
                    <a:close/>
                  </a:path>
                </a:pathLst>
              </a:custGeom>
              <a:solidFill>
                <a:srgbClr val="9950A8"/>
              </a:solidFill>
              <a:ln w="9525">
                <a:solidFill>
                  <a:schemeClr val="bg1"/>
                </a:solidFill>
                <a:round/>
                <a:headEnd/>
                <a:tailEnd/>
              </a:ln>
            </p:spPr>
            <p:txBody>
              <a:bodyPr/>
              <a:lstStyle/>
              <a:p>
                <a:endParaRPr lang="en-US" sz="1050"/>
              </a:p>
            </p:txBody>
          </p:sp>
          <p:sp>
            <p:nvSpPr>
              <p:cNvPr id="146" name="Rectangle 145"/>
              <p:cNvSpPr/>
              <p:nvPr/>
            </p:nvSpPr>
            <p:spPr>
              <a:xfrm>
                <a:off x="5201121" y="2982085"/>
                <a:ext cx="207759" cy="163567"/>
              </a:xfrm>
              <a:prstGeom prst="rect">
                <a:avLst/>
              </a:prstGeom>
              <a:ln>
                <a:noFill/>
              </a:ln>
            </p:spPr>
            <p:txBody>
              <a:bodyPr wrap="square" lIns="0" tIns="0" rIns="0" bIns="0">
                <a:spAutoFit/>
              </a:bodyPr>
              <a:lstStyle/>
              <a:p>
                <a:pPr>
                  <a:lnSpc>
                    <a:spcPct val="93000"/>
                  </a:lnSpc>
                </a:pPr>
                <a:r>
                  <a:rPr lang="ro-RO" sz="1200" b="1" dirty="0">
                    <a:solidFill>
                      <a:schemeClr val="bg1"/>
                    </a:solidFill>
                    <a:latin typeface="Trebuchet MS" panose="020B0603020202020204" pitchFamily="34" charset="0"/>
                    <a:cs typeface="Arial" pitchFamily="34" charset="0"/>
                  </a:rPr>
                  <a:t>SV</a:t>
                </a:r>
                <a:endParaRPr lang="en-US" sz="1200" b="1" dirty="0">
                  <a:solidFill>
                    <a:schemeClr val="bg1"/>
                  </a:solidFill>
                  <a:latin typeface="Trebuchet MS" panose="020B0603020202020204" pitchFamily="34" charset="0"/>
                  <a:cs typeface="Arial" pitchFamily="34" charset="0"/>
                </a:endParaRPr>
              </a:p>
            </p:txBody>
          </p:sp>
        </p:grpSp>
        <p:sp>
          <p:nvSpPr>
            <p:cNvPr id="161" name="TextBox 160"/>
            <p:cNvSpPr txBox="1"/>
            <p:nvPr/>
          </p:nvSpPr>
          <p:spPr>
            <a:xfrm>
              <a:off x="3676958" y="1569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T</a:t>
              </a:r>
            </a:p>
          </p:txBody>
        </p:sp>
        <p:sp>
          <p:nvSpPr>
            <p:cNvPr id="162" name="Rectangle 161"/>
            <p:cNvSpPr/>
            <p:nvPr/>
          </p:nvSpPr>
          <p:spPr>
            <a:xfrm>
              <a:off x="4250112" y="2541919"/>
              <a:ext cx="359394"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VS</a:t>
              </a:r>
            </a:p>
          </p:txBody>
        </p:sp>
        <p:sp>
          <p:nvSpPr>
            <p:cNvPr id="163" name="Rectangle 162"/>
            <p:cNvSpPr/>
            <p:nvPr/>
          </p:nvSpPr>
          <p:spPr>
            <a:xfrm>
              <a:off x="3988142" y="1971843"/>
              <a:ext cx="306495" cy="276999"/>
            </a:xfrm>
            <a:prstGeom prst="rect">
              <a:avLst/>
            </a:prstGeom>
          </p:spPr>
          <p:txBody>
            <a:bodyPr wrap="none">
              <a:spAutoFit/>
            </a:bodyPr>
            <a:lstStyle/>
            <a:p>
              <a:pPr algn="ctr"/>
              <a:r>
                <a:rPr lang="en-US" sz="1200" b="1" dirty="0">
                  <a:solidFill>
                    <a:srgbClr val="002368"/>
                  </a:solidFill>
                  <a:latin typeface="Trebuchet MS" panose="020B0603020202020204" pitchFamily="34" charset="0"/>
                  <a:cs typeface="Arial" panose="020B0604020202020204" pitchFamily="34" charset="0"/>
                </a:rPr>
                <a:t>IS</a:t>
              </a:r>
            </a:p>
          </p:txBody>
        </p:sp>
        <p:sp>
          <p:nvSpPr>
            <p:cNvPr id="164" name="TextBox 163"/>
            <p:cNvSpPr txBox="1"/>
            <p:nvPr/>
          </p:nvSpPr>
          <p:spPr>
            <a:xfrm>
              <a:off x="4263886" y="31081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L</a:t>
              </a:r>
            </a:p>
          </p:txBody>
        </p:sp>
        <p:sp>
          <p:nvSpPr>
            <p:cNvPr id="165" name="TextBox 164"/>
            <p:cNvSpPr txBox="1"/>
            <p:nvPr/>
          </p:nvSpPr>
          <p:spPr>
            <a:xfrm>
              <a:off x="4733214" y="3745133"/>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L</a:t>
              </a:r>
            </a:p>
          </p:txBody>
        </p:sp>
        <p:sp>
          <p:nvSpPr>
            <p:cNvPr id="166" name="TextBox 165"/>
            <p:cNvSpPr txBox="1"/>
            <p:nvPr/>
          </p:nvSpPr>
          <p:spPr>
            <a:xfrm>
              <a:off x="4638389" y="429948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CT</a:t>
              </a:r>
            </a:p>
          </p:txBody>
        </p:sp>
        <p:sp>
          <p:nvSpPr>
            <p:cNvPr id="167" name="TextBox 166"/>
            <p:cNvSpPr txBox="1"/>
            <p:nvPr/>
          </p:nvSpPr>
          <p:spPr>
            <a:xfrm>
              <a:off x="4243322" y="368602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R</a:t>
              </a:r>
            </a:p>
          </p:txBody>
        </p:sp>
        <p:sp>
          <p:nvSpPr>
            <p:cNvPr id="168" name="TextBox 167"/>
            <p:cNvSpPr txBox="1"/>
            <p:nvPr/>
          </p:nvSpPr>
          <p:spPr>
            <a:xfrm>
              <a:off x="3880173" y="429165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L</a:t>
              </a:r>
            </a:p>
          </p:txBody>
        </p:sp>
        <p:sp>
          <p:nvSpPr>
            <p:cNvPr id="169" name="TextBox 168"/>
            <p:cNvSpPr txBox="1"/>
            <p:nvPr/>
          </p:nvSpPr>
          <p:spPr>
            <a:xfrm>
              <a:off x="4041365" y="404630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IL</a:t>
              </a:r>
            </a:p>
          </p:txBody>
        </p:sp>
        <p:sp>
          <p:nvSpPr>
            <p:cNvPr id="171" name="TextBox 170"/>
            <p:cNvSpPr txBox="1"/>
            <p:nvPr/>
          </p:nvSpPr>
          <p:spPr>
            <a:xfrm>
              <a:off x="3370944" y="4241221"/>
              <a:ext cx="754380" cy="138499"/>
            </a:xfrm>
            <a:prstGeom prst="rect">
              <a:avLst/>
            </a:prstGeom>
            <a:noFill/>
            <a:ln w="9525">
              <a:noFill/>
            </a:ln>
          </p:spPr>
          <p:txBody>
            <a:bodyPr wrap="square" lIns="0" tIns="0" rIns="0" bIns="0" rtlCol="0" anchor="ctr">
              <a:spAutoFit/>
            </a:bodyPr>
            <a:lstStyle/>
            <a:p>
              <a:r>
                <a:rPr lang="en-US" sz="900" b="1" dirty="0">
                  <a:solidFill>
                    <a:srgbClr val="FF0000"/>
                  </a:solidFill>
                  <a:latin typeface="Trebuchet MS" panose="020B0603020202020204" pitchFamily="34" charset="0"/>
                  <a:cs typeface="Arial" panose="020B0604020202020204" pitchFamily="34" charset="0"/>
                </a:rPr>
                <a:t>Bucharest</a:t>
              </a:r>
            </a:p>
          </p:txBody>
        </p:sp>
        <p:sp>
          <p:nvSpPr>
            <p:cNvPr id="172" name="Rectangle 171"/>
            <p:cNvSpPr/>
            <p:nvPr/>
          </p:nvSpPr>
          <p:spPr>
            <a:xfrm>
              <a:off x="3422224" y="2209171"/>
              <a:ext cx="381836" cy="276999"/>
            </a:xfrm>
            <a:prstGeom prst="rect">
              <a:avLst/>
            </a:prstGeom>
          </p:spPr>
          <p:txBody>
            <a:bodyPr wrap="none">
              <a:spAutoFit/>
            </a:bodyPr>
            <a:lstStyle/>
            <a:p>
              <a:pPr algn="ctr"/>
              <a:r>
                <a:rPr lang="en-US" sz="1200" b="1" dirty="0">
                  <a:solidFill>
                    <a:schemeClr val="bg1"/>
                  </a:solidFill>
                  <a:latin typeface="Trebuchet MS" panose="020B0603020202020204" pitchFamily="34" charset="0"/>
                  <a:cs typeface="Arial" panose="020B0604020202020204" pitchFamily="34" charset="0"/>
                </a:rPr>
                <a:t>NT</a:t>
              </a:r>
            </a:p>
          </p:txBody>
        </p:sp>
        <p:sp>
          <p:nvSpPr>
            <p:cNvPr id="173" name="TextBox 172"/>
            <p:cNvSpPr txBox="1"/>
            <p:nvPr/>
          </p:nvSpPr>
          <p:spPr>
            <a:xfrm>
              <a:off x="3710781" y="268155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C</a:t>
              </a:r>
            </a:p>
          </p:txBody>
        </p:sp>
        <p:sp>
          <p:nvSpPr>
            <p:cNvPr id="174" name="TextBox 173"/>
            <p:cNvSpPr txBox="1"/>
            <p:nvPr/>
          </p:nvSpPr>
          <p:spPr>
            <a:xfrm>
              <a:off x="3798490" y="314519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N</a:t>
              </a:r>
            </a:p>
          </p:txBody>
        </p:sp>
        <p:sp>
          <p:nvSpPr>
            <p:cNvPr id="175" name="TextBox 174"/>
            <p:cNvSpPr txBox="1"/>
            <p:nvPr/>
          </p:nvSpPr>
          <p:spPr>
            <a:xfrm>
              <a:off x="3718369" y="3545288"/>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Z</a:t>
              </a:r>
            </a:p>
          </p:txBody>
        </p:sp>
        <p:sp>
          <p:nvSpPr>
            <p:cNvPr id="176" name="TextBox 175"/>
            <p:cNvSpPr txBox="1"/>
            <p:nvPr/>
          </p:nvSpPr>
          <p:spPr>
            <a:xfrm>
              <a:off x="3288566" y="364959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PH</a:t>
              </a:r>
            </a:p>
          </p:txBody>
        </p:sp>
        <p:sp>
          <p:nvSpPr>
            <p:cNvPr id="177" name="TextBox 176"/>
            <p:cNvSpPr txBox="1"/>
            <p:nvPr/>
          </p:nvSpPr>
          <p:spPr>
            <a:xfrm>
              <a:off x="3298226" y="441070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GR</a:t>
              </a:r>
            </a:p>
          </p:txBody>
        </p:sp>
        <p:sp>
          <p:nvSpPr>
            <p:cNvPr id="178" name="TextBox 177"/>
            <p:cNvSpPr txBox="1"/>
            <p:nvPr/>
          </p:nvSpPr>
          <p:spPr>
            <a:xfrm>
              <a:off x="3010532" y="381557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DB</a:t>
              </a:r>
            </a:p>
          </p:txBody>
        </p:sp>
        <p:sp>
          <p:nvSpPr>
            <p:cNvPr id="179" name="TextBox 178"/>
            <p:cNvSpPr txBox="1"/>
            <p:nvPr/>
          </p:nvSpPr>
          <p:spPr>
            <a:xfrm>
              <a:off x="2662816" y="3646323"/>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G</a:t>
              </a:r>
            </a:p>
          </p:txBody>
        </p:sp>
        <p:sp>
          <p:nvSpPr>
            <p:cNvPr id="180" name="TextBox 179"/>
            <p:cNvSpPr txBox="1"/>
            <p:nvPr/>
          </p:nvSpPr>
          <p:spPr>
            <a:xfrm>
              <a:off x="2846150" y="3122374"/>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V</a:t>
              </a:r>
            </a:p>
          </p:txBody>
        </p:sp>
        <p:sp>
          <p:nvSpPr>
            <p:cNvPr id="181" name="TextBox 180"/>
            <p:cNvSpPr txBox="1"/>
            <p:nvPr/>
          </p:nvSpPr>
          <p:spPr>
            <a:xfrm>
              <a:off x="3309773" y="3045321"/>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V</a:t>
              </a:r>
            </a:p>
          </p:txBody>
        </p:sp>
        <p:sp>
          <p:nvSpPr>
            <p:cNvPr id="182" name="TextBox 181"/>
            <p:cNvSpPr txBox="1"/>
            <p:nvPr/>
          </p:nvSpPr>
          <p:spPr>
            <a:xfrm>
              <a:off x="3035030" y="260412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HR</a:t>
              </a:r>
            </a:p>
          </p:txBody>
        </p:sp>
        <p:sp>
          <p:nvSpPr>
            <p:cNvPr id="183" name="TextBox 182"/>
            <p:cNvSpPr txBox="1"/>
            <p:nvPr/>
          </p:nvSpPr>
          <p:spPr>
            <a:xfrm>
              <a:off x="2556905" y="2518028"/>
              <a:ext cx="342900" cy="177584"/>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S</a:t>
              </a:r>
            </a:p>
          </p:txBody>
        </p:sp>
        <p:sp>
          <p:nvSpPr>
            <p:cNvPr id="184" name="TextBox 183"/>
            <p:cNvSpPr txBox="1"/>
            <p:nvPr/>
          </p:nvSpPr>
          <p:spPr>
            <a:xfrm>
              <a:off x="2325094" y="309326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SB</a:t>
              </a:r>
            </a:p>
          </p:txBody>
        </p:sp>
        <p:sp>
          <p:nvSpPr>
            <p:cNvPr id="185" name="TextBox 184"/>
            <p:cNvSpPr txBox="1"/>
            <p:nvPr/>
          </p:nvSpPr>
          <p:spPr>
            <a:xfrm>
              <a:off x="1591026" y="3144128"/>
              <a:ext cx="342900" cy="177584"/>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HD</a:t>
              </a:r>
            </a:p>
          </p:txBody>
        </p:sp>
        <p:sp>
          <p:nvSpPr>
            <p:cNvPr id="186" name="TextBox 185"/>
            <p:cNvSpPr txBox="1"/>
            <p:nvPr/>
          </p:nvSpPr>
          <p:spPr>
            <a:xfrm>
              <a:off x="1064621" y="359629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S</a:t>
              </a:r>
            </a:p>
          </p:txBody>
        </p:sp>
        <p:sp>
          <p:nvSpPr>
            <p:cNvPr id="187" name="TextBox 186"/>
            <p:cNvSpPr txBox="1"/>
            <p:nvPr/>
          </p:nvSpPr>
          <p:spPr>
            <a:xfrm>
              <a:off x="2295346" y="363495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VL</a:t>
              </a:r>
            </a:p>
          </p:txBody>
        </p:sp>
        <p:sp>
          <p:nvSpPr>
            <p:cNvPr id="188" name="TextBox 187"/>
            <p:cNvSpPr txBox="1"/>
            <p:nvPr/>
          </p:nvSpPr>
          <p:spPr>
            <a:xfrm>
              <a:off x="1823048" y="371512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GJ</a:t>
              </a:r>
            </a:p>
          </p:txBody>
        </p:sp>
        <p:sp>
          <p:nvSpPr>
            <p:cNvPr id="189" name="TextBox 188"/>
            <p:cNvSpPr txBox="1"/>
            <p:nvPr/>
          </p:nvSpPr>
          <p:spPr>
            <a:xfrm>
              <a:off x="1522379" y="4167417"/>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MH</a:t>
              </a:r>
            </a:p>
          </p:txBody>
        </p:sp>
        <p:sp>
          <p:nvSpPr>
            <p:cNvPr id="190" name="TextBox 189"/>
            <p:cNvSpPr txBox="1"/>
            <p:nvPr/>
          </p:nvSpPr>
          <p:spPr>
            <a:xfrm>
              <a:off x="1957935" y="4405526"/>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DJ</a:t>
              </a:r>
            </a:p>
          </p:txBody>
        </p:sp>
        <p:sp>
          <p:nvSpPr>
            <p:cNvPr id="191" name="TextBox 190"/>
            <p:cNvSpPr txBox="1"/>
            <p:nvPr/>
          </p:nvSpPr>
          <p:spPr>
            <a:xfrm>
              <a:off x="2421570" y="4285845"/>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OT</a:t>
              </a:r>
            </a:p>
          </p:txBody>
        </p:sp>
        <p:sp>
          <p:nvSpPr>
            <p:cNvPr id="192" name="TextBox 191"/>
            <p:cNvSpPr txBox="1"/>
            <p:nvPr/>
          </p:nvSpPr>
          <p:spPr>
            <a:xfrm>
              <a:off x="2844848" y="4462180"/>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TR</a:t>
              </a:r>
            </a:p>
          </p:txBody>
        </p:sp>
        <p:sp>
          <p:nvSpPr>
            <p:cNvPr id="193" name="TextBox 192"/>
            <p:cNvSpPr txBox="1"/>
            <p:nvPr/>
          </p:nvSpPr>
          <p:spPr>
            <a:xfrm>
              <a:off x="1190198" y="2224842"/>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BH</a:t>
              </a:r>
            </a:p>
          </p:txBody>
        </p:sp>
        <p:sp>
          <p:nvSpPr>
            <p:cNvPr id="194" name="TextBox 193"/>
            <p:cNvSpPr txBox="1"/>
            <p:nvPr/>
          </p:nvSpPr>
          <p:spPr>
            <a:xfrm>
              <a:off x="1930937" y="2831749"/>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B</a:t>
              </a:r>
            </a:p>
          </p:txBody>
        </p:sp>
        <p:sp>
          <p:nvSpPr>
            <p:cNvPr id="195" name="TextBox 194"/>
            <p:cNvSpPr txBox="1"/>
            <p:nvPr/>
          </p:nvSpPr>
          <p:spPr>
            <a:xfrm>
              <a:off x="919393" y="271731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AR</a:t>
              </a:r>
            </a:p>
          </p:txBody>
        </p:sp>
        <p:sp>
          <p:nvSpPr>
            <p:cNvPr id="196" name="TextBox 195"/>
            <p:cNvSpPr txBox="1"/>
            <p:nvPr/>
          </p:nvSpPr>
          <p:spPr>
            <a:xfrm>
              <a:off x="642056" y="314774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TM</a:t>
              </a:r>
            </a:p>
          </p:txBody>
        </p:sp>
        <p:sp>
          <p:nvSpPr>
            <p:cNvPr id="197" name="TextBox 196"/>
            <p:cNvSpPr txBox="1"/>
            <p:nvPr/>
          </p:nvSpPr>
          <p:spPr>
            <a:xfrm>
              <a:off x="2450659" y="2017405"/>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BN</a:t>
              </a:r>
            </a:p>
          </p:txBody>
        </p:sp>
        <p:sp>
          <p:nvSpPr>
            <p:cNvPr id="198" name="TextBox 197"/>
            <p:cNvSpPr txBox="1"/>
            <p:nvPr/>
          </p:nvSpPr>
          <p:spPr>
            <a:xfrm>
              <a:off x="2100349" y="1727247"/>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MM</a:t>
              </a:r>
            </a:p>
          </p:txBody>
        </p:sp>
        <p:sp>
          <p:nvSpPr>
            <p:cNvPr id="199" name="TextBox 198"/>
            <p:cNvSpPr txBox="1"/>
            <p:nvPr/>
          </p:nvSpPr>
          <p:spPr>
            <a:xfrm>
              <a:off x="1548682" y="1718598"/>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M</a:t>
              </a:r>
            </a:p>
          </p:txBody>
        </p:sp>
        <p:sp>
          <p:nvSpPr>
            <p:cNvPr id="200" name="TextBox 199"/>
            <p:cNvSpPr txBox="1"/>
            <p:nvPr/>
          </p:nvSpPr>
          <p:spPr>
            <a:xfrm>
              <a:off x="1743876" y="2083894"/>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SJ</a:t>
              </a:r>
            </a:p>
          </p:txBody>
        </p:sp>
        <p:sp>
          <p:nvSpPr>
            <p:cNvPr id="201" name="TextBox 200"/>
            <p:cNvSpPr txBox="1"/>
            <p:nvPr/>
          </p:nvSpPr>
          <p:spPr>
            <a:xfrm>
              <a:off x="1960468" y="2401159"/>
              <a:ext cx="342900" cy="184666"/>
            </a:xfrm>
            <a:prstGeom prst="rect">
              <a:avLst/>
            </a:prstGeom>
            <a:noFill/>
            <a:ln w="9525">
              <a:noFill/>
            </a:ln>
          </p:spPr>
          <p:txBody>
            <a:bodyPr wrap="square" lIns="0" tIns="0" rIns="0" bIns="0" rtlCol="0" anchor="ctr">
              <a:spAutoFit/>
            </a:bodyPr>
            <a:lstStyle/>
            <a:p>
              <a:pPr algn="ctr"/>
              <a:r>
                <a:rPr lang="en-US" sz="1200" b="1" dirty="0">
                  <a:solidFill>
                    <a:schemeClr val="bg1"/>
                  </a:solidFill>
                  <a:latin typeface="Trebuchet MS" panose="020B0603020202020204" pitchFamily="34" charset="0"/>
                  <a:cs typeface="Arial" panose="020B0604020202020204" pitchFamily="34" charset="0"/>
                </a:rPr>
                <a:t>CJ</a:t>
              </a:r>
            </a:p>
          </p:txBody>
        </p:sp>
        <p:sp>
          <p:nvSpPr>
            <p:cNvPr id="203" name="TextBox 202"/>
            <p:cNvSpPr txBox="1"/>
            <p:nvPr/>
          </p:nvSpPr>
          <p:spPr>
            <a:xfrm>
              <a:off x="3370666" y="4082053"/>
              <a:ext cx="342900" cy="184666"/>
            </a:xfrm>
            <a:prstGeom prst="rect">
              <a:avLst/>
            </a:prstGeom>
            <a:noFill/>
            <a:ln w="9525">
              <a:noFill/>
            </a:ln>
          </p:spPr>
          <p:txBody>
            <a:bodyPr wrap="square" lIns="0" tIns="0" rIns="0" bIns="0" rtlCol="0" anchor="ctr">
              <a:spAutoFit/>
            </a:bodyPr>
            <a:lstStyle/>
            <a:p>
              <a:pPr algn="ctr"/>
              <a:r>
                <a:rPr lang="en-US" sz="1200" b="1" dirty="0">
                  <a:solidFill>
                    <a:srgbClr val="002368"/>
                  </a:solidFill>
                  <a:latin typeface="Trebuchet MS" panose="020B0603020202020204" pitchFamily="34" charset="0"/>
                  <a:cs typeface="Arial" panose="020B0604020202020204" pitchFamily="34" charset="0"/>
                </a:rPr>
                <a:t>I</a:t>
              </a:r>
              <a:r>
                <a:rPr lang="ro-RO" sz="1200" b="1" dirty="0">
                  <a:solidFill>
                    <a:srgbClr val="002368"/>
                  </a:solidFill>
                  <a:latin typeface="Trebuchet MS" panose="020B0603020202020204" pitchFamily="34" charset="0"/>
                  <a:cs typeface="Arial" panose="020B0604020202020204" pitchFamily="34" charset="0"/>
                </a:rPr>
                <a:t>F</a:t>
              </a:r>
              <a:endParaRPr lang="en-US" sz="1200" b="1" dirty="0">
                <a:solidFill>
                  <a:srgbClr val="002368"/>
                </a:solidFill>
                <a:latin typeface="Trebuchet MS" panose="020B0603020202020204" pitchFamily="34" charset="0"/>
                <a:cs typeface="Arial" panose="020B0604020202020204" pitchFamily="34" charset="0"/>
              </a:endParaRPr>
            </a:p>
          </p:txBody>
        </p:sp>
      </p:grpSp>
      <p:grpSp>
        <p:nvGrpSpPr>
          <p:cNvPr id="2" name="Group 1"/>
          <p:cNvGrpSpPr/>
          <p:nvPr/>
        </p:nvGrpSpPr>
        <p:grpSpPr>
          <a:xfrm>
            <a:off x="7626026" y="1770288"/>
            <a:ext cx="1150562" cy="2405168"/>
            <a:chOff x="8369179" y="2625244"/>
            <a:chExt cx="1534083" cy="3206890"/>
          </a:xfrm>
        </p:grpSpPr>
        <p:sp>
          <p:nvSpPr>
            <p:cNvPr id="148" name="TextBox 147"/>
            <p:cNvSpPr txBox="1"/>
            <p:nvPr/>
          </p:nvSpPr>
          <p:spPr>
            <a:xfrm>
              <a:off x="8921326" y="2636612"/>
              <a:ext cx="457200" cy="246221"/>
            </a:xfrm>
            <a:prstGeom prst="rect">
              <a:avLst/>
            </a:prstGeom>
            <a:noFill/>
            <a:ln w="9525">
              <a:noFill/>
            </a:ln>
          </p:spPr>
          <p:txBody>
            <a:bodyPr wrap="square" lIns="0" tIns="0" rIns="0" bIns="0" rtlCol="0" anchor="ctr">
              <a:spAutoFit/>
            </a:bodyPr>
            <a:lstStyle/>
            <a:p>
              <a:pPr algn="ctr"/>
              <a:r>
                <a:rPr lang="en-US" sz="1200" b="1" dirty="0">
                  <a:solidFill>
                    <a:srgbClr val="545558"/>
                  </a:solidFill>
                  <a:latin typeface="Trebuchet MS" panose="020B0603020202020204" pitchFamily="34" charset="0"/>
                  <a:cs typeface="Arial" panose="020B0604020202020204" pitchFamily="34" charset="0"/>
                </a:rPr>
                <a:t>30%</a:t>
              </a:r>
            </a:p>
          </p:txBody>
        </p:sp>
        <p:sp>
          <p:nvSpPr>
            <p:cNvPr id="149" name="TextBox 148"/>
            <p:cNvSpPr txBox="1"/>
            <p:nvPr/>
          </p:nvSpPr>
          <p:spPr>
            <a:xfrm>
              <a:off x="8921326" y="3153263"/>
              <a:ext cx="4572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40%</a:t>
              </a:r>
            </a:p>
          </p:txBody>
        </p:sp>
        <p:sp>
          <p:nvSpPr>
            <p:cNvPr id="150" name="TextBox 149"/>
            <p:cNvSpPr txBox="1"/>
            <p:nvPr/>
          </p:nvSpPr>
          <p:spPr>
            <a:xfrm>
              <a:off x="8921326" y="3688893"/>
              <a:ext cx="4572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50%</a:t>
              </a:r>
            </a:p>
          </p:txBody>
        </p:sp>
        <p:sp>
          <p:nvSpPr>
            <p:cNvPr id="151" name="TextBox 150"/>
            <p:cNvSpPr txBox="1"/>
            <p:nvPr/>
          </p:nvSpPr>
          <p:spPr>
            <a:xfrm>
              <a:off x="8921324" y="4178898"/>
              <a:ext cx="5486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60%</a:t>
              </a:r>
            </a:p>
          </p:txBody>
        </p:sp>
        <p:sp>
          <p:nvSpPr>
            <p:cNvPr id="152" name="TextBox 151"/>
            <p:cNvSpPr txBox="1"/>
            <p:nvPr/>
          </p:nvSpPr>
          <p:spPr>
            <a:xfrm>
              <a:off x="8897422" y="5105003"/>
              <a:ext cx="100584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Ineligible</a:t>
              </a:r>
            </a:p>
          </p:txBody>
        </p:sp>
        <p:sp>
          <p:nvSpPr>
            <p:cNvPr id="153" name="TextBox 152"/>
            <p:cNvSpPr txBox="1"/>
            <p:nvPr/>
          </p:nvSpPr>
          <p:spPr>
            <a:xfrm>
              <a:off x="8897422" y="5569182"/>
              <a:ext cx="914400" cy="246221"/>
            </a:xfrm>
            <a:prstGeom prst="rect">
              <a:avLst/>
            </a:prstGeom>
            <a:noFill/>
            <a:ln w="9525">
              <a:noFill/>
            </a:ln>
          </p:spPr>
          <p:txBody>
            <a:bodyPr wrap="square" lIns="0" tIns="0" rIns="0" bIns="0" rtlCol="0" anchor="ctr">
              <a:spAutoFit/>
            </a:bodyPr>
            <a:lstStyle/>
            <a:p>
              <a:r>
                <a:rPr lang="en-US" sz="1200" b="1" dirty="0">
                  <a:solidFill>
                    <a:srgbClr val="545558"/>
                  </a:solidFill>
                  <a:latin typeface="Trebuchet MS" panose="020B0603020202020204" pitchFamily="34" charset="0"/>
                  <a:cs typeface="Arial" panose="020B0604020202020204" pitchFamily="34" charset="0"/>
                </a:rPr>
                <a:t>35%-45%</a:t>
              </a:r>
            </a:p>
          </p:txBody>
        </p:sp>
        <p:sp>
          <p:nvSpPr>
            <p:cNvPr id="154" name="Rectangle 153"/>
            <p:cNvSpPr/>
            <p:nvPr/>
          </p:nvSpPr>
          <p:spPr>
            <a:xfrm>
              <a:off x="8369179" y="5557814"/>
              <a:ext cx="274320" cy="2743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Rectangle 154"/>
            <p:cNvSpPr/>
            <p:nvPr/>
          </p:nvSpPr>
          <p:spPr>
            <a:xfrm>
              <a:off x="8369179" y="5092296"/>
              <a:ext cx="274320" cy="274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6" name="Rectangle 155"/>
            <p:cNvSpPr/>
            <p:nvPr/>
          </p:nvSpPr>
          <p:spPr>
            <a:xfrm>
              <a:off x="8369179" y="4169578"/>
              <a:ext cx="274320" cy="274320"/>
            </a:xfrm>
            <a:prstGeom prst="rect">
              <a:avLst/>
            </a:prstGeom>
            <a:solidFill>
              <a:srgbClr val="995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7" name="Rectangle 156"/>
            <p:cNvSpPr/>
            <p:nvPr/>
          </p:nvSpPr>
          <p:spPr>
            <a:xfrm>
              <a:off x="8369179" y="3676186"/>
              <a:ext cx="274320" cy="274320"/>
            </a:xfrm>
            <a:prstGeom prst="rect">
              <a:avLst/>
            </a:prstGeom>
            <a:solidFill>
              <a:srgbClr val="C6CF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8" name="Rectangle 157"/>
            <p:cNvSpPr/>
            <p:nvPr/>
          </p:nvSpPr>
          <p:spPr>
            <a:xfrm>
              <a:off x="8369179" y="3140555"/>
              <a:ext cx="274320" cy="274320"/>
            </a:xfrm>
            <a:prstGeom prst="rect">
              <a:avLst/>
            </a:prstGeom>
            <a:solidFill>
              <a:srgbClr val="4670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9" name="Rectangle 158"/>
            <p:cNvSpPr/>
            <p:nvPr/>
          </p:nvSpPr>
          <p:spPr>
            <a:xfrm>
              <a:off x="8369179" y="2625244"/>
              <a:ext cx="274320" cy="274320"/>
            </a:xfrm>
            <a:prstGeom prst="rect">
              <a:avLst/>
            </a:prstGeom>
            <a:solidFill>
              <a:srgbClr val="C6B8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2" name="TextBox 101"/>
            <p:cNvSpPr txBox="1"/>
            <p:nvPr/>
          </p:nvSpPr>
          <p:spPr>
            <a:xfrm>
              <a:off x="8921324" y="4636098"/>
              <a:ext cx="548640" cy="246221"/>
            </a:xfrm>
            <a:prstGeom prst="rect">
              <a:avLst/>
            </a:prstGeom>
            <a:noFill/>
            <a:ln w="9525">
              <a:noFill/>
            </a:ln>
          </p:spPr>
          <p:txBody>
            <a:bodyPr wrap="square" lIns="0" tIns="0" rIns="0" bIns="0" rtlCol="0" anchor="ctr">
              <a:spAutoFit/>
            </a:bodyPr>
            <a:lstStyle/>
            <a:p>
              <a:r>
                <a:rPr lang="en-US" sz="1200" dirty="0">
                  <a:solidFill>
                    <a:srgbClr val="545558"/>
                  </a:solidFill>
                  <a:latin typeface="Trebuchet MS" panose="020B0603020202020204" pitchFamily="34" charset="0"/>
                  <a:cs typeface="Arial" panose="020B0604020202020204" pitchFamily="34" charset="0"/>
                </a:rPr>
                <a:t>7</a:t>
              </a:r>
              <a:r>
                <a:rPr lang="en-US" sz="1200" b="1" dirty="0">
                  <a:solidFill>
                    <a:srgbClr val="545558"/>
                  </a:solidFill>
                  <a:latin typeface="Trebuchet MS" panose="020B0603020202020204" pitchFamily="34" charset="0"/>
                  <a:cs typeface="Arial" panose="020B0604020202020204" pitchFamily="34" charset="0"/>
                </a:rPr>
                <a:t>0%</a:t>
              </a:r>
            </a:p>
          </p:txBody>
        </p:sp>
        <p:sp>
          <p:nvSpPr>
            <p:cNvPr id="103" name="Rectangle 102"/>
            <p:cNvSpPr/>
            <p:nvPr/>
          </p:nvSpPr>
          <p:spPr>
            <a:xfrm>
              <a:off x="8369179" y="4626778"/>
              <a:ext cx="274320" cy="27432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0" name="Rectangle 169"/>
          <p:cNvSpPr/>
          <p:nvPr/>
        </p:nvSpPr>
        <p:spPr>
          <a:xfrm>
            <a:off x="5390784" y="4037143"/>
            <a:ext cx="68580" cy="6858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60" name="Picture 1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202" name="Google Shape;387;p31"/>
          <p:cNvSpPr txBox="1">
            <a:spLocks/>
          </p:cNvSpPr>
          <p:nvPr/>
        </p:nvSpPr>
        <p:spPr>
          <a:xfrm>
            <a:off x="126834" y="2218018"/>
            <a:ext cx="2085017" cy="9144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tensity </a:t>
            </a:r>
          </a:p>
          <a:p>
            <a:pPr algn="ctr"/>
            <a:r>
              <a:rPr lang="en-US" sz="2400" b="1" dirty="0">
                <a:solidFill>
                  <a:srgbClr val="2846A8"/>
                </a:solidFill>
                <a:latin typeface="Cambria" panose="02040503050406030204" pitchFamily="18" charset="0"/>
                <a:ea typeface="Cambria" panose="02040503050406030204" pitchFamily="18" charset="0"/>
              </a:rPr>
              <a:t>Map</a:t>
            </a:r>
          </a:p>
          <a:p>
            <a:pPr algn="ctr"/>
            <a:r>
              <a:rPr lang="en-US" sz="1200" b="1" dirty="0">
                <a:solidFill>
                  <a:srgbClr val="2846A8"/>
                </a:solidFill>
                <a:latin typeface="Cambria" panose="02040503050406030204" pitchFamily="18" charset="0"/>
                <a:ea typeface="Cambria" panose="02040503050406030204" pitchFamily="18" charset="0"/>
              </a:rPr>
              <a:t>STATE AID - GD </a:t>
            </a:r>
            <a:r>
              <a:rPr lang="ro-RO" sz="1200" b="1" dirty="0">
                <a:solidFill>
                  <a:srgbClr val="2846A8"/>
                </a:solidFill>
                <a:latin typeface="Cambria" panose="02040503050406030204" pitchFamily="18" charset="0"/>
                <a:ea typeface="Cambria" panose="02040503050406030204" pitchFamily="18" charset="0"/>
              </a:rPr>
              <a:t>702</a:t>
            </a:r>
            <a:r>
              <a:rPr lang="en-US" sz="1200" b="1" dirty="0">
                <a:solidFill>
                  <a:srgbClr val="2846A8"/>
                </a:solidFill>
                <a:latin typeface="Cambria" panose="02040503050406030204" pitchFamily="18" charset="0"/>
                <a:ea typeface="Cambria" panose="02040503050406030204" pitchFamily="18" charset="0"/>
              </a:rPr>
              <a:t> / 202</a:t>
            </a:r>
            <a:r>
              <a:rPr lang="ro-RO" sz="1200" b="1" dirty="0">
                <a:solidFill>
                  <a:srgbClr val="2846A8"/>
                </a:solidFill>
                <a:latin typeface="Cambria" panose="02040503050406030204" pitchFamily="18" charset="0"/>
                <a:ea typeface="Cambria" panose="02040503050406030204" pitchFamily="18" charset="0"/>
              </a:rPr>
              <a:t>4</a:t>
            </a:r>
            <a:endParaRPr lang="en-US" sz="2400" b="1" dirty="0">
              <a:solidFill>
                <a:srgbClr val="2846A8"/>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991988204"/>
      </p:ext>
    </p:extLst>
  </p:cSld>
  <p:clrMapOvr>
    <a:masterClrMapping/>
  </p:clrMapOvr>
  <p:transition>
    <p:fade thruBlk="1"/>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grpSp>
        <p:nvGrpSpPr>
          <p:cNvPr id="7" name="Group 6"/>
          <p:cNvGrpSpPr>
            <a:grpSpLocks noChangeAspect="1"/>
          </p:cNvGrpSpPr>
          <p:nvPr/>
        </p:nvGrpSpPr>
        <p:grpSpPr>
          <a:xfrm>
            <a:off x="1082289" y="1204121"/>
            <a:ext cx="5544933" cy="3749040"/>
            <a:chOff x="475973" y="1464985"/>
            <a:chExt cx="7966135" cy="5245101"/>
          </a:xfrm>
          <a:solidFill>
            <a:schemeClr val="tx2">
              <a:lumMod val="20000"/>
              <a:lumOff val="80000"/>
            </a:schemeClr>
          </a:solidFill>
        </p:grpSpPr>
        <p:sp>
          <p:nvSpPr>
            <p:cNvPr id="8" name="Isosceles Triangle 7"/>
            <p:cNvSpPr/>
            <p:nvPr/>
          </p:nvSpPr>
          <p:spPr>
            <a:xfrm>
              <a:off x="3988448" y="3835359"/>
              <a:ext cx="612648" cy="612648"/>
            </a:xfrm>
            <a:prstGeom prst="triangle">
              <a:avLst/>
            </a:prstGeom>
            <a:grpFill/>
            <a:ln w="9525" cap="flat" cmpd="sng" algn="ctr">
              <a:solidFill>
                <a:srgbClr val="003F56"/>
              </a:solidFill>
              <a:prstDash val="solid"/>
            </a:ln>
            <a:effectLst/>
          </p:spPr>
          <p:txBody>
            <a:bodyPr lIns="0" tIns="0" rIns="0" b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Arial Narrow"/>
                <a:ea typeface="+mn-ea"/>
                <a:cs typeface="Arial" pitchFamily="34" charset="0"/>
              </a:endParaRPr>
            </a:p>
          </p:txBody>
        </p:sp>
        <p:grpSp>
          <p:nvGrpSpPr>
            <p:cNvPr id="9" name="Group 8"/>
            <p:cNvGrpSpPr/>
            <p:nvPr/>
          </p:nvGrpSpPr>
          <p:grpSpPr>
            <a:xfrm>
              <a:off x="475973" y="1464985"/>
              <a:ext cx="7966135" cy="5245101"/>
              <a:chOff x="823121" y="1752619"/>
              <a:chExt cx="6994924" cy="4630530"/>
            </a:xfrm>
            <a:grpFill/>
          </p:grpSpPr>
          <p:sp>
            <p:nvSpPr>
              <p:cNvPr id="12" name="Freeform 11"/>
              <p:cNvSpPr>
                <a:spLocks/>
              </p:cNvSpPr>
              <p:nvPr/>
            </p:nvSpPr>
            <p:spPr bwMode="auto">
              <a:xfrm rot="250628">
                <a:off x="823121" y="1752619"/>
                <a:ext cx="6297652" cy="4630530"/>
              </a:xfrm>
              <a:custGeom>
                <a:avLst/>
                <a:gdLst/>
                <a:ahLst/>
                <a:cxnLst>
                  <a:cxn ang="0">
                    <a:pos x="24" y="2160"/>
                  </a:cxn>
                  <a:cxn ang="0">
                    <a:pos x="222" y="2346"/>
                  </a:cxn>
                  <a:cxn ang="0">
                    <a:pos x="342" y="2538"/>
                  </a:cxn>
                  <a:cxn ang="0">
                    <a:pos x="540" y="2652"/>
                  </a:cxn>
                  <a:cxn ang="0">
                    <a:pos x="726" y="2808"/>
                  </a:cxn>
                  <a:cxn ang="0">
                    <a:pos x="720" y="2964"/>
                  </a:cxn>
                  <a:cxn ang="0">
                    <a:pos x="918" y="3090"/>
                  </a:cxn>
                  <a:cxn ang="0">
                    <a:pos x="1176" y="3156"/>
                  </a:cxn>
                  <a:cxn ang="0">
                    <a:pos x="1386" y="3042"/>
                  </a:cxn>
                  <a:cxn ang="0">
                    <a:pos x="1314" y="3174"/>
                  </a:cxn>
                  <a:cxn ang="0">
                    <a:pos x="1560" y="3366"/>
                  </a:cxn>
                  <a:cxn ang="0">
                    <a:pos x="1590" y="3570"/>
                  </a:cxn>
                  <a:cxn ang="0">
                    <a:pos x="1938" y="3522"/>
                  </a:cxn>
                  <a:cxn ang="0">
                    <a:pos x="2232" y="3546"/>
                  </a:cxn>
                  <a:cxn ang="0">
                    <a:pos x="2496" y="3474"/>
                  </a:cxn>
                  <a:cxn ang="0">
                    <a:pos x="2802" y="3450"/>
                  </a:cxn>
                  <a:cxn ang="0">
                    <a:pos x="3084" y="3390"/>
                  </a:cxn>
                  <a:cxn ang="0">
                    <a:pos x="3270" y="3144"/>
                  </a:cxn>
                  <a:cxn ang="0">
                    <a:pos x="3606" y="2970"/>
                  </a:cxn>
                  <a:cxn ang="0">
                    <a:pos x="3912" y="2940"/>
                  </a:cxn>
                  <a:cxn ang="0">
                    <a:pos x="4212" y="2898"/>
                  </a:cxn>
                  <a:cxn ang="0">
                    <a:pos x="4524" y="3018"/>
                  </a:cxn>
                  <a:cxn ang="0">
                    <a:pos x="4578" y="2790"/>
                  </a:cxn>
                  <a:cxn ang="0">
                    <a:pos x="4506" y="2598"/>
                  </a:cxn>
                  <a:cxn ang="0">
                    <a:pos x="4632" y="2244"/>
                  </a:cxn>
                  <a:cxn ang="0">
                    <a:pos x="4890" y="1974"/>
                  </a:cxn>
                  <a:cxn ang="0">
                    <a:pos x="4806" y="1698"/>
                  </a:cxn>
                  <a:cxn ang="0">
                    <a:pos x="4488" y="1800"/>
                  </a:cxn>
                  <a:cxn ang="0">
                    <a:pos x="4374" y="1914"/>
                  </a:cxn>
                  <a:cxn ang="0">
                    <a:pos x="4044" y="1788"/>
                  </a:cxn>
                  <a:cxn ang="0">
                    <a:pos x="4002" y="1626"/>
                  </a:cxn>
                  <a:cxn ang="0">
                    <a:pos x="3930" y="1464"/>
                  </a:cxn>
                  <a:cxn ang="0">
                    <a:pos x="3900" y="1302"/>
                  </a:cxn>
                  <a:cxn ang="0">
                    <a:pos x="3912" y="1194"/>
                  </a:cxn>
                  <a:cxn ang="0">
                    <a:pos x="3894" y="1080"/>
                  </a:cxn>
                  <a:cxn ang="0">
                    <a:pos x="3840" y="924"/>
                  </a:cxn>
                  <a:cxn ang="0">
                    <a:pos x="3756" y="810"/>
                  </a:cxn>
                  <a:cxn ang="0">
                    <a:pos x="3702" y="732"/>
                  </a:cxn>
                  <a:cxn ang="0">
                    <a:pos x="3582" y="684"/>
                  </a:cxn>
                  <a:cxn ang="0">
                    <a:pos x="3510" y="582"/>
                  </a:cxn>
                  <a:cxn ang="0">
                    <a:pos x="3420" y="522"/>
                  </a:cxn>
                  <a:cxn ang="0">
                    <a:pos x="3330" y="432"/>
                  </a:cxn>
                  <a:cxn ang="0">
                    <a:pos x="3228" y="324"/>
                  </a:cxn>
                  <a:cxn ang="0">
                    <a:pos x="3156" y="198"/>
                  </a:cxn>
                  <a:cxn ang="0">
                    <a:pos x="3030" y="66"/>
                  </a:cxn>
                  <a:cxn ang="0">
                    <a:pos x="2898" y="0"/>
                  </a:cxn>
                  <a:cxn ang="0">
                    <a:pos x="2742" y="78"/>
                  </a:cxn>
                  <a:cxn ang="0">
                    <a:pos x="2592" y="276"/>
                  </a:cxn>
                  <a:cxn ang="0">
                    <a:pos x="2250" y="408"/>
                  </a:cxn>
                  <a:cxn ang="0">
                    <a:pos x="2028" y="522"/>
                  </a:cxn>
                  <a:cxn ang="0">
                    <a:pos x="1764" y="504"/>
                  </a:cxn>
                  <a:cxn ang="0">
                    <a:pos x="1494" y="498"/>
                  </a:cxn>
                  <a:cxn ang="0">
                    <a:pos x="1284" y="510"/>
                  </a:cxn>
                  <a:cxn ang="0">
                    <a:pos x="1104" y="558"/>
                  </a:cxn>
                  <a:cxn ang="0">
                    <a:pos x="966" y="762"/>
                  </a:cxn>
                  <a:cxn ang="0">
                    <a:pos x="786" y="894"/>
                  </a:cxn>
                  <a:cxn ang="0">
                    <a:pos x="702" y="1098"/>
                  </a:cxn>
                  <a:cxn ang="0">
                    <a:pos x="612" y="1344"/>
                  </a:cxn>
                  <a:cxn ang="0">
                    <a:pos x="546" y="1536"/>
                  </a:cxn>
                  <a:cxn ang="0">
                    <a:pos x="474" y="1692"/>
                  </a:cxn>
                  <a:cxn ang="0">
                    <a:pos x="438" y="1944"/>
                  </a:cxn>
                  <a:cxn ang="0">
                    <a:pos x="228" y="2046"/>
                  </a:cxn>
                </a:cxnLst>
                <a:rect l="0" t="0" r="r" b="b"/>
                <a:pathLst>
                  <a:path w="4896" h="3600">
                    <a:moveTo>
                      <a:pt x="222" y="2076"/>
                    </a:moveTo>
                    <a:lnTo>
                      <a:pt x="210" y="2082"/>
                    </a:lnTo>
                    <a:lnTo>
                      <a:pt x="210" y="2088"/>
                    </a:lnTo>
                    <a:lnTo>
                      <a:pt x="204" y="2088"/>
                    </a:lnTo>
                    <a:lnTo>
                      <a:pt x="198" y="2088"/>
                    </a:lnTo>
                    <a:lnTo>
                      <a:pt x="192" y="2094"/>
                    </a:lnTo>
                    <a:lnTo>
                      <a:pt x="192" y="2106"/>
                    </a:lnTo>
                    <a:lnTo>
                      <a:pt x="180" y="2106"/>
                    </a:lnTo>
                    <a:lnTo>
                      <a:pt x="174" y="2100"/>
                    </a:lnTo>
                    <a:lnTo>
                      <a:pt x="162" y="2094"/>
                    </a:lnTo>
                    <a:lnTo>
                      <a:pt x="150" y="2082"/>
                    </a:lnTo>
                    <a:lnTo>
                      <a:pt x="138" y="2076"/>
                    </a:lnTo>
                    <a:lnTo>
                      <a:pt x="114" y="2076"/>
                    </a:lnTo>
                    <a:lnTo>
                      <a:pt x="114" y="2088"/>
                    </a:lnTo>
                    <a:lnTo>
                      <a:pt x="108" y="2100"/>
                    </a:lnTo>
                    <a:lnTo>
                      <a:pt x="102" y="2106"/>
                    </a:lnTo>
                    <a:lnTo>
                      <a:pt x="96" y="2112"/>
                    </a:lnTo>
                    <a:lnTo>
                      <a:pt x="84" y="2112"/>
                    </a:lnTo>
                    <a:lnTo>
                      <a:pt x="78" y="2106"/>
                    </a:lnTo>
                    <a:lnTo>
                      <a:pt x="66" y="2106"/>
                    </a:lnTo>
                    <a:lnTo>
                      <a:pt x="48" y="2106"/>
                    </a:lnTo>
                    <a:lnTo>
                      <a:pt x="42" y="2100"/>
                    </a:lnTo>
                    <a:lnTo>
                      <a:pt x="30" y="2112"/>
                    </a:lnTo>
                    <a:lnTo>
                      <a:pt x="18" y="2118"/>
                    </a:lnTo>
                    <a:lnTo>
                      <a:pt x="6" y="2130"/>
                    </a:lnTo>
                    <a:lnTo>
                      <a:pt x="6" y="2136"/>
                    </a:lnTo>
                    <a:lnTo>
                      <a:pt x="0" y="2142"/>
                    </a:lnTo>
                    <a:lnTo>
                      <a:pt x="12" y="2142"/>
                    </a:lnTo>
                    <a:lnTo>
                      <a:pt x="6" y="2148"/>
                    </a:lnTo>
                    <a:lnTo>
                      <a:pt x="12" y="2154"/>
                    </a:lnTo>
                    <a:lnTo>
                      <a:pt x="24" y="2160"/>
                    </a:lnTo>
                    <a:lnTo>
                      <a:pt x="30" y="2172"/>
                    </a:lnTo>
                    <a:lnTo>
                      <a:pt x="36" y="2178"/>
                    </a:lnTo>
                    <a:lnTo>
                      <a:pt x="48" y="2190"/>
                    </a:lnTo>
                    <a:lnTo>
                      <a:pt x="48" y="2196"/>
                    </a:lnTo>
                    <a:lnTo>
                      <a:pt x="54" y="2202"/>
                    </a:lnTo>
                    <a:lnTo>
                      <a:pt x="60" y="2214"/>
                    </a:lnTo>
                    <a:lnTo>
                      <a:pt x="60" y="2226"/>
                    </a:lnTo>
                    <a:lnTo>
                      <a:pt x="60" y="2232"/>
                    </a:lnTo>
                    <a:lnTo>
                      <a:pt x="84" y="2244"/>
                    </a:lnTo>
                    <a:lnTo>
                      <a:pt x="102" y="2238"/>
                    </a:lnTo>
                    <a:lnTo>
                      <a:pt x="108" y="2244"/>
                    </a:lnTo>
                    <a:lnTo>
                      <a:pt x="108" y="2238"/>
                    </a:lnTo>
                    <a:lnTo>
                      <a:pt x="114" y="2244"/>
                    </a:lnTo>
                    <a:lnTo>
                      <a:pt x="120" y="2250"/>
                    </a:lnTo>
                    <a:lnTo>
                      <a:pt x="126" y="2256"/>
                    </a:lnTo>
                    <a:lnTo>
                      <a:pt x="132" y="2262"/>
                    </a:lnTo>
                    <a:lnTo>
                      <a:pt x="132" y="2268"/>
                    </a:lnTo>
                    <a:lnTo>
                      <a:pt x="138" y="2280"/>
                    </a:lnTo>
                    <a:lnTo>
                      <a:pt x="150" y="2292"/>
                    </a:lnTo>
                    <a:lnTo>
                      <a:pt x="156" y="2286"/>
                    </a:lnTo>
                    <a:lnTo>
                      <a:pt x="162" y="2280"/>
                    </a:lnTo>
                    <a:lnTo>
                      <a:pt x="174" y="2274"/>
                    </a:lnTo>
                    <a:lnTo>
                      <a:pt x="180" y="2286"/>
                    </a:lnTo>
                    <a:lnTo>
                      <a:pt x="180" y="2298"/>
                    </a:lnTo>
                    <a:lnTo>
                      <a:pt x="186" y="2304"/>
                    </a:lnTo>
                    <a:lnTo>
                      <a:pt x="192" y="2304"/>
                    </a:lnTo>
                    <a:lnTo>
                      <a:pt x="204" y="2304"/>
                    </a:lnTo>
                    <a:lnTo>
                      <a:pt x="210" y="2316"/>
                    </a:lnTo>
                    <a:lnTo>
                      <a:pt x="216" y="2316"/>
                    </a:lnTo>
                    <a:lnTo>
                      <a:pt x="228" y="2322"/>
                    </a:lnTo>
                    <a:lnTo>
                      <a:pt x="222" y="2346"/>
                    </a:lnTo>
                    <a:lnTo>
                      <a:pt x="228" y="2352"/>
                    </a:lnTo>
                    <a:lnTo>
                      <a:pt x="240" y="2352"/>
                    </a:lnTo>
                    <a:lnTo>
                      <a:pt x="246" y="2358"/>
                    </a:lnTo>
                    <a:lnTo>
                      <a:pt x="252" y="2364"/>
                    </a:lnTo>
                    <a:lnTo>
                      <a:pt x="258" y="2376"/>
                    </a:lnTo>
                    <a:lnTo>
                      <a:pt x="264" y="2376"/>
                    </a:lnTo>
                    <a:lnTo>
                      <a:pt x="270" y="2376"/>
                    </a:lnTo>
                    <a:lnTo>
                      <a:pt x="282" y="2370"/>
                    </a:lnTo>
                    <a:lnTo>
                      <a:pt x="294" y="2370"/>
                    </a:lnTo>
                    <a:lnTo>
                      <a:pt x="294" y="2364"/>
                    </a:lnTo>
                    <a:lnTo>
                      <a:pt x="294" y="2352"/>
                    </a:lnTo>
                    <a:lnTo>
                      <a:pt x="306" y="2352"/>
                    </a:lnTo>
                    <a:lnTo>
                      <a:pt x="318" y="2358"/>
                    </a:lnTo>
                    <a:lnTo>
                      <a:pt x="318" y="2364"/>
                    </a:lnTo>
                    <a:lnTo>
                      <a:pt x="312" y="2370"/>
                    </a:lnTo>
                    <a:lnTo>
                      <a:pt x="312" y="2382"/>
                    </a:lnTo>
                    <a:lnTo>
                      <a:pt x="312" y="2400"/>
                    </a:lnTo>
                    <a:lnTo>
                      <a:pt x="312" y="2412"/>
                    </a:lnTo>
                    <a:lnTo>
                      <a:pt x="318" y="2430"/>
                    </a:lnTo>
                    <a:lnTo>
                      <a:pt x="318" y="2442"/>
                    </a:lnTo>
                    <a:lnTo>
                      <a:pt x="318" y="2454"/>
                    </a:lnTo>
                    <a:lnTo>
                      <a:pt x="312" y="2460"/>
                    </a:lnTo>
                    <a:lnTo>
                      <a:pt x="312" y="2472"/>
                    </a:lnTo>
                    <a:lnTo>
                      <a:pt x="306" y="2478"/>
                    </a:lnTo>
                    <a:lnTo>
                      <a:pt x="312" y="2484"/>
                    </a:lnTo>
                    <a:lnTo>
                      <a:pt x="312" y="2496"/>
                    </a:lnTo>
                    <a:lnTo>
                      <a:pt x="318" y="2496"/>
                    </a:lnTo>
                    <a:lnTo>
                      <a:pt x="330" y="2496"/>
                    </a:lnTo>
                    <a:lnTo>
                      <a:pt x="336" y="2508"/>
                    </a:lnTo>
                    <a:lnTo>
                      <a:pt x="348" y="2526"/>
                    </a:lnTo>
                    <a:lnTo>
                      <a:pt x="342" y="2538"/>
                    </a:lnTo>
                    <a:lnTo>
                      <a:pt x="336" y="2544"/>
                    </a:lnTo>
                    <a:lnTo>
                      <a:pt x="330" y="2550"/>
                    </a:lnTo>
                    <a:lnTo>
                      <a:pt x="324" y="2556"/>
                    </a:lnTo>
                    <a:lnTo>
                      <a:pt x="324" y="2568"/>
                    </a:lnTo>
                    <a:lnTo>
                      <a:pt x="324" y="2574"/>
                    </a:lnTo>
                    <a:lnTo>
                      <a:pt x="336" y="2568"/>
                    </a:lnTo>
                    <a:lnTo>
                      <a:pt x="354" y="2568"/>
                    </a:lnTo>
                    <a:lnTo>
                      <a:pt x="360" y="2568"/>
                    </a:lnTo>
                    <a:lnTo>
                      <a:pt x="372" y="2574"/>
                    </a:lnTo>
                    <a:lnTo>
                      <a:pt x="372" y="2580"/>
                    </a:lnTo>
                    <a:lnTo>
                      <a:pt x="378" y="2586"/>
                    </a:lnTo>
                    <a:lnTo>
                      <a:pt x="378" y="2598"/>
                    </a:lnTo>
                    <a:lnTo>
                      <a:pt x="378" y="2604"/>
                    </a:lnTo>
                    <a:lnTo>
                      <a:pt x="390" y="2604"/>
                    </a:lnTo>
                    <a:lnTo>
                      <a:pt x="408" y="2604"/>
                    </a:lnTo>
                    <a:lnTo>
                      <a:pt x="414" y="2616"/>
                    </a:lnTo>
                    <a:lnTo>
                      <a:pt x="414" y="2622"/>
                    </a:lnTo>
                    <a:lnTo>
                      <a:pt x="426" y="2628"/>
                    </a:lnTo>
                    <a:lnTo>
                      <a:pt x="426" y="2634"/>
                    </a:lnTo>
                    <a:lnTo>
                      <a:pt x="432" y="2640"/>
                    </a:lnTo>
                    <a:lnTo>
                      <a:pt x="444" y="2646"/>
                    </a:lnTo>
                    <a:lnTo>
                      <a:pt x="462" y="2652"/>
                    </a:lnTo>
                    <a:lnTo>
                      <a:pt x="468" y="2658"/>
                    </a:lnTo>
                    <a:lnTo>
                      <a:pt x="474" y="2658"/>
                    </a:lnTo>
                    <a:lnTo>
                      <a:pt x="486" y="2652"/>
                    </a:lnTo>
                    <a:lnTo>
                      <a:pt x="492" y="2664"/>
                    </a:lnTo>
                    <a:lnTo>
                      <a:pt x="504" y="2664"/>
                    </a:lnTo>
                    <a:lnTo>
                      <a:pt x="516" y="2676"/>
                    </a:lnTo>
                    <a:lnTo>
                      <a:pt x="528" y="2670"/>
                    </a:lnTo>
                    <a:lnTo>
                      <a:pt x="534" y="2658"/>
                    </a:lnTo>
                    <a:lnTo>
                      <a:pt x="540" y="2652"/>
                    </a:lnTo>
                    <a:lnTo>
                      <a:pt x="546" y="2652"/>
                    </a:lnTo>
                    <a:lnTo>
                      <a:pt x="552" y="2658"/>
                    </a:lnTo>
                    <a:lnTo>
                      <a:pt x="558" y="2670"/>
                    </a:lnTo>
                    <a:lnTo>
                      <a:pt x="564" y="2676"/>
                    </a:lnTo>
                    <a:lnTo>
                      <a:pt x="564" y="2682"/>
                    </a:lnTo>
                    <a:lnTo>
                      <a:pt x="570" y="2694"/>
                    </a:lnTo>
                    <a:lnTo>
                      <a:pt x="588" y="2700"/>
                    </a:lnTo>
                    <a:lnTo>
                      <a:pt x="600" y="2706"/>
                    </a:lnTo>
                    <a:lnTo>
                      <a:pt x="612" y="2706"/>
                    </a:lnTo>
                    <a:lnTo>
                      <a:pt x="618" y="2700"/>
                    </a:lnTo>
                    <a:lnTo>
                      <a:pt x="630" y="2700"/>
                    </a:lnTo>
                    <a:lnTo>
                      <a:pt x="642" y="2700"/>
                    </a:lnTo>
                    <a:lnTo>
                      <a:pt x="654" y="2706"/>
                    </a:lnTo>
                    <a:lnTo>
                      <a:pt x="660" y="2706"/>
                    </a:lnTo>
                    <a:lnTo>
                      <a:pt x="666" y="2706"/>
                    </a:lnTo>
                    <a:lnTo>
                      <a:pt x="678" y="2706"/>
                    </a:lnTo>
                    <a:lnTo>
                      <a:pt x="690" y="2712"/>
                    </a:lnTo>
                    <a:lnTo>
                      <a:pt x="702" y="2718"/>
                    </a:lnTo>
                    <a:lnTo>
                      <a:pt x="708" y="2718"/>
                    </a:lnTo>
                    <a:lnTo>
                      <a:pt x="720" y="2718"/>
                    </a:lnTo>
                    <a:lnTo>
                      <a:pt x="726" y="2730"/>
                    </a:lnTo>
                    <a:lnTo>
                      <a:pt x="732" y="2730"/>
                    </a:lnTo>
                    <a:lnTo>
                      <a:pt x="738" y="2736"/>
                    </a:lnTo>
                    <a:lnTo>
                      <a:pt x="744" y="2748"/>
                    </a:lnTo>
                    <a:lnTo>
                      <a:pt x="750" y="2754"/>
                    </a:lnTo>
                    <a:lnTo>
                      <a:pt x="744" y="2760"/>
                    </a:lnTo>
                    <a:lnTo>
                      <a:pt x="732" y="2766"/>
                    </a:lnTo>
                    <a:lnTo>
                      <a:pt x="726" y="2772"/>
                    </a:lnTo>
                    <a:lnTo>
                      <a:pt x="726" y="2778"/>
                    </a:lnTo>
                    <a:lnTo>
                      <a:pt x="732" y="2796"/>
                    </a:lnTo>
                    <a:lnTo>
                      <a:pt x="726" y="2808"/>
                    </a:lnTo>
                    <a:lnTo>
                      <a:pt x="720" y="2820"/>
                    </a:lnTo>
                    <a:lnTo>
                      <a:pt x="720" y="2826"/>
                    </a:lnTo>
                    <a:lnTo>
                      <a:pt x="720" y="2832"/>
                    </a:lnTo>
                    <a:lnTo>
                      <a:pt x="714" y="2838"/>
                    </a:lnTo>
                    <a:lnTo>
                      <a:pt x="708" y="2838"/>
                    </a:lnTo>
                    <a:lnTo>
                      <a:pt x="696" y="2844"/>
                    </a:lnTo>
                    <a:lnTo>
                      <a:pt x="684" y="2850"/>
                    </a:lnTo>
                    <a:lnTo>
                      <a:pt x="678" y="2856"/>
                    </a:lnTo>
                    <a:lnTo>
                      <a:pt x="690" y="2862"/>
                    </a:lnTo>
                    <a:lnTo>
                      <a:pt x="696" y="2874"/>
                    </a:lnTo>
                    <a:lnTo>
                      <a:pt x="702" y="2880"/>
                    </a:lnTo>
                    <a:lnTo>
                      <a:pt x="708" y="2886"/>
                    </a:lnTo>
                    <a:lnTo>
                      <a:pt x="714" y="2898"/>
                    </a:lnTo>
                    <a:lnTo>
                      <a:pt x="726" y="2898"/>
                    </a:lnTo>
                    <a:lnTo>
                      <a:pt x="738" y="2892"/>
                    </a:lnTo>
                    <a:lnTo>
                      <a:pt x="750" y="2898"/>
                    </a:lnTo>
                    <a:lnTo>
                      <a:pt x="762" y="2904"/>
                    </a:lnTo>
                    <a:lnTo>
                      <a:pt x="774" y="2904"/>
                    </a:lnTo>
                    <a:lnTo>
                      <a:pt x="780" y="2904"/>
                    </a:lnTo>
                    <a:lnTo>
                      <a:pt x="786" y="2910"/>
                    </a:lnTo>
                    <a:lnTo>
                      <a:pt x="786" y="2916"/>
                    </a:lnTo>
                    <a:lnTo>
                      <a:pt x="792" y="2928"/>
                    </a:lnTo>
                    <a:lnTo>
                      <a:pt x="792" y="2934"/>
                    </a:lnTo>
                    <a:lnTo>
                      <a:pt x="786" y="2940"/>
                    </a:lnTo>
                    <a:lnTo>
                      <a:pt x="780" y="2946"/>
                    </a:lnTo>
                    <a:lnTo>
                      <a:pt x="774" y="2946"/>
                    </a:lnTo>
                    <a:lnTo>
                      <a:pt x="768" y="2952"/>
                    </a:lnTo>
                    <a:lnTo>
                      <a:pt x="756" y="2958"/>
                    </a:lnTo>
                    <a:lnTo>
                      <a:pt x="744" y="2964"/>
                    </a:lnTo>
                    <a:lnTo>
                      <a:pt x="738" y="2964"/>
                    </a:lnTo>
                    <a:lnTo>
                      <a:pt x="720" y="2964"/>
                    </a:lnTo>
                    <a:lnTo>
                      <a:pt x="714" y="2964"/>
                    </a:lnTo>
                    <a:lnTo>
                      <a:pt x="702" y="2970"/>
                    </a:lnTo>
                    <a:lnTo>
                      <a:pt x="696" y="2982"/>
                    </a:lnTo>
                    <a:lnTo>
                      <a:pt x="696" y="2994"/>
                    </a:lnTo>
                    <a:lnTo>
                      <a:pt x="702" y="3000"/>
                    </a:lnTo>
                    <a:lnTo>
                      <a:pt x="714" y="3012"/>
                    </a:lnTo>
                    <a:lnTo>
                      <a:pt x="720" y="3018"/>
                    </a:lnTo>
                    <a:lnTo>
                      <a:pt x="726" y="3030"/>
                    </a:lnTo>
                    <a:lnTo>
                      <a:pt x="732" y="3030"/>
                    </a:lnTo>
                    <a:lnTo>
                      <a:pt x="744" y="3030"/>
                    </a:lnTo>
                    <a:lnTo>
                      <a:pt x="756" y="3030"/>
                    </a:lnTo>
                    <a:lnTo>
                      <a:pt x="768" y="3030"/>
                    </a:lnTo>
                    <a:lnTo>
                      <a:pt x="780" y="3024"/>
                    </a:lnTo>
                    <a:lnTo>
                      <a:pt x="792" y="3024"/>
                    </a:lnTo>
                    <a:lnTo>
                      <a:pt x="804" y="3018"/>
                    </a:lnTo>
                    <a:lnTo>
                      <a:pt x="816" y="3024"/>
                    </a:lnTo>
                    <a:lnTo>
                      <a:pt x="828" y="3024"/>
                    </a:lnTo>
                    <a:lnTo>
                      <a:pt x="828" y="3030"/>
                    </a:lnTo>
                    <a:lnTo>
                      <a:pt x="834" y="3042"/>
                    </a:lnTo>
                    <a:lnTo>
                      <a:pt x="840" y="3048"/>
                    </a:lnTo>
                    <a:lnTo>
                      <a:pt x="840" y="3054"/>
                    </a:lnTo>
                    <a:lnTo>
                      <a:pt x="846" y="3066"/>
                    </a:lnTo>
                    <a:lnTo>
                      <a:pt x="846" y="3078"/>
                    </a:lnTo>
                    <a:lnTo>
                      <a:pt x="852" y="3090"/>
                    </a:lnTo>
                    <a:lnTo>
                      <a:pt x="852" y="3096"/>
                    </a:lnTo>
                    <a:lnTo>
                      <a:pt x="864" y="3096"/>
                    </a:lnTo>
                    <a:lnTo>
                      <a:pt x="876" y="3090"/>
                    </a:lnTo>
                    <a:lnTo>
                      <a:pt x="888" y="3090"/>
                    </a:lnTo>
                    <a:lnTo>
                      <a:pt x="900" y="3090"/>
                    </a:lnTo>
                    <a:lnTo>
                      <a:pt x="906" y="3096"/>
                    </a:lnTo>
                    <a:lnTo>
                      <a:pt x="918" y="3090"/>
                    </a:lnTo>
                    <a:lnTo>
                      <a:pt x="930" y="3084"/>
                    </a:lnTo>
                    <a:lnTo>
                      <a:pt x="942" y="3078"/>
                    </a:lnTo>
                    <a:lnTo>
                      <a:pt x="954" y="3084"/>
                    </a:lnTo>
                    <a:lnTo>
                      <a:pt x="960" y="3084"/>
                    </a:lnTo>
                    <a:lnTo>
                      <a:pt x="978" y="3084"/>
                    </a:lnTo>
                    <a:lnTo>
                      <a:pt x="984" y="3084"/>
                    </a:lnTo>
                    <a:lnTo>
                      <a:pt x="990" y="3084"/>
                    </a:lnTo>
                    <a:lnTo>
                      <a:pt x="996" y="3090"/>
                    </a:lnTo>
                    <a:lnTo>
                      <a:pt x="1002" y="3084"/>
                    </a:lnTo>
                    <a:lnTo>
                      <a:pt x="1014" y="3084"/>
                    </a:lnTo>
                    <a:lnTo>
                      <a:pt x="1026" y="3084"/>
                    </a:lnTo>
                    <a:lnTo>
                      <a:pt x="1038" y="3084"/>
                    </a:lnTo>
                    <a:lnTo>
                      <a:pt x="1050" y="3084"/>
                    </a:lnTo>
                    <a:lnTo>
                      <a:pt x="1056" y="3096"/>
                    </a:lnTo>
                    <a:lnTo>
                      <a:pt x="1062" y="3102"/>
                    </a:lnTo>
                    <a:lnTo>
                      <a:pt x="1074" y="3114"/>
                    </a:lnTo>
                    <a:lnTo>
                      <a:pt x="1074" y="3120"/>
                    </a:lnTo>
                    <a:lnTo>
                      <a:pt x="1080" y="3132"/>
                    </a:lnTo>
                    <a:lnTo>
                      <a:pt x="1080" y="3144"/>
                    </a:lnTo>
                    <a:lnTo>
                      <a:pt x="1092" y="3150"/>
                    </a:lnTo>
                    <a:lnTo>
                      <a:pt x="1104" y="3156"/>
                    </a:lnTo>
                    <a:lnTo>
                      <a:pt x="1104" y="3162"/>
                    </a:lnTo>
                    <a:lnTo>
                      <a:pt x="1110" y="3168"/>
                    </a:lnTo>
                    <a:lnTo>
                      <a:pt x="1116" y="3180"/>
                    </a:lnTo>
                    <a:lnTo>
                      <a:pt x="1128" y="3186"/>
                    </a:lnTo>
                    <a:lnTo>
                      <a:pt x="1134" y="3186"/>
                    </a:lnTo>
                    <a:lnTo>
                      <a:pt x="1146" y="3192"/>
                    </a:lnTo>
                    <a:lnTo>
                      <a:pt x="1158" y="3186"/>
                    </a:lnTo>
                    <a:lnTo>
                      <a:pt x="1170" y="3180"/>
                    </a:lnTo>
                    <a:lnTo>
                      <a:pt x="1170" y="3168"/>
                    </a:lnTo>
                    <a:lnTo>
                      <a:pt x="1176" y="3156"/>
                    </a:lnTo>
                    <a:lnTo>
                      <a:pt x="1176" y="3144"/>
                    </a:lnTo>
                    <a:lnTo>
                      <a:pt x="1176" y="3126"/>
                    </a:lnTo>
                    <a:lnTo>
                      <a:pt x="1182" y="3120"/>
                    </a:lnTo>
                    <a:lnTo>
                      <a:pt x="1188" y="3108"/>
                    </a:lnTo>
                    <a:lnTo>
                      <a:pt x="1194" y="3096"/>
                    </a:lnTo>
                    <a:lnTo>
                      <a:pt x="1194" y="3078"/>
                    </a:lnTo>
                    <a:lnTo>
                      <a:pt x="1200" y="3066"/>
                    </a:lnTo>
                    <a:lnTo>
                      <a:pt x="1206" y="3054"/>
                    </a:lnTo>
                    <a:lnTo>
                      <a:pt x="1206" y="3042"/>
                    </a:lnTo>
                    <a:lnTo>
                      <a:pt x="1206" y="3036"/>
                    </a:lnTo>
                    <a:lnTo>
                      <a:pt x="1212" y="3030"/>
                    </a:lnTo>
                    <a:lnTo>
                      <a:pt x="1224" y="3024"/>
                    </a:lnTo>
                    <a:lnTo>
                      <a:pt x="1236" y="3018"/>
                    </a:lnTo>
                    <a:lnTo>
                      <a:pt x="1248" y="3012"/>
                    </a:lnTo>
                    <a:lnTo>
                      <a:pt x="1254" y="3006"/>
                    </a:lnTo>
                    <a:lnTo>
                      <a:pt x="1254" y="3000"/>
                    </a:lnTo>
                    <a:lnTo>
                      <a:pt x="1260" y="2994"/>
                    </a:lnTo>
                    <a:lnTo>
                      <a:pt x="1272" y="2988"/>
                    </a:lnTo>
                    <a:lnTo>
                      <a:pt x="1278" y="2982"/>
                    </a:lnTo>
                    <a:lnTo>
                      <a:pt x="1284" y="2988"/>
                    </a:lnTo>
                    <a:lnTo>
                      <a:pt x="1296" y="2994"/>
                    </a:lnTo>
                    <a:lnTo>
                      <a:pt x="1308" y="3000"/>
                    </a:lnTo>
                    <a:lnTo>
                      <a:pt x="1320" y="3006"/>
                    </a:lnTo>
                    <a:lnTo>
                      <a:pt x="1326" y="3012"/>
                    </a:lnTo>
                    <a:lnTo>
                      <a:pt x="1338" y="3018"/>
                    </a:lnTo>
                    <a:lnTo>
                      <a:pt x="1344" y="3024"/>
                    </a:lnTo>
                    <a:lnTo>
                      <a:pt x="1356" y="3036"/>
                    </a:lnTo>
                    <a:lnTo>
                      <a:pt x="1362" y="3036"/>
                    </a:lnTo>
                    <a:lnTo>
                      <a:pt x="1368" y="3036"/>
                    </a:lnTo>
                    <a:lnTo>
                      <a:pt x="1374" y="3042"/>
                    </a:lnTo>
                    <a:lnTo>
                      <a:pt x="1386" y="3042"/>
                    </a:lnTo>
                    <a:lnTo>
                      <a:pt x="1392" y="3036"/>
                    </a:lnTo>
                    <a:lnTo>
                      <a:pt x="1404" y="3036"/>
                    </a:lnTo>
                    <a:lnTo>
                      <a:pt x="1416" y="3036"/>
                    </a:lnTo>
                    <a:lnTo>
                      <a:pt x="1422" y="3042"/>
                    </a:lnTo>
                    <a:lnTo>
                      <a:pt x="1428" y="3048"/>
                    </a:lnTo>
                    <a:lnTo>
                      <a:pt x="1440" y="3054"/>
                    </a:lnTo>
                    <a:lnTo>
                      <a:pt x="1446" y="3060"/>
                    </a:lnTo>
                    <a:lnTo>
                      <a:pt x="1452" y="3072"/>
                    </a:lnTo>
                    <a:lnTo>
                      <a:pt x="1458" y="3078"/>
                    </a:lnTo>
                    <a:lnTo>
                      <a:pt x="1458" y="3084"/>
                    </a:lnTo>
                    <a:lnTo>
                      <a:pt x="1452" y="3096"/>
                    </a:lnTo>
                    <a:lnTo>
                      <a:pt x="1446" y="3102"/>
                    </a:lnTo>
                    <a:lnTo>
                      <a:pt x="1434" y="3108"/>
                    </a:lnTo>
                    <a:lnTo>
                      <a:pt x="1428" y="3108"/>
                    </a:lnTo>
                    <a:lnTo>
                      <a:pt x="1416" y="3102"/>
                    </a:lnTo>
                    <a:lnTo>
                      <a:pt x="1410" y="3102"/>
                    </a:lnTo>
                    <a:lnTo>
                      <a:pt x="1398" y="3096"/>
                    </a:lnTo>
                    <a:lnTo>
                      <a:pt x="1392" y="3090"/>
                    </a:lnTo>
                    <a:lnTo>
                      <a:pt x="1386" y="3084"/>
                    </a:lnTo>
                    <a:lnTo>
                      <a:pt x="1374" y="3090"/>
                    </a:lnTo>
                    <a:lnTo>
                      <a:pt x="1362" y="3096"/>
                    </a:lnTo>
                    <a:lnTo>
                      <a:pt x="1356" y="3108"/>
                    </a:lnTo>
                    <a:lnTo>
                      <a:pt x="1356" y="3120"/>
                    </a:lnTo>
                    <a:lnTo>
                      <a:pt x="1362" y="3132"/>
                    </a:lnTo>
                    <a:lnTo>
                      <a:pt x="1362" y="3144"/>
                    </a:lnTo>
                    <a:lnTo>
                      <a:pt x="1350" y="3150"/>
                    </a:lnTo>
                    <a:lnTo>
                      <a:pt x="1338" y="3156"/>
                    </a:lnTo>
                    <a:lnTo>
                      <a:pt x="1332" y="3156"/>
                    </a:lnTo>
                    <a:lnTo>
                      <a:pt x="1320" y="3150"/>
                    </a:lnTo>
                    <a:lnTo>
                      <a:pt x="1314" y="3156"/>
                    </a:lnTo>
                    <a:lnTo>
                      <a:pt x="1314" y="3174"/>
                    </a:lnTo>
                    <a:lnTo>
                      <a:pt x="1320" y="3180"/>
                    </a:lnTo>
                    <a:lnTo>
                      <a:pt x="1326" y="3186"/>
                    </a:lnTo>
                    <a:lnTo>
                      <a:pt x="1338" y="3192"/>
                    </a:lnTo>
                    <a:lnTo>
                      <a:pt x="1344" y="3204"/>
                    </a:lnTo>
                    <a:lnTo>
                      <a:pt x="1344" y="3216"/>
                    </a:lnTo>
                    <a:lnTo>
                      <a:pt x="1350" y="3228"/>
                    </a:lnTo>
                    <a:lnTo>
                      <a:pt x="1356" y="3234"/>
                    </a:lnTo>
                    <a:lnTo>
                      <a:pt x="1362" y="3246"/>
                    </a:lnTo>
                    <a:lnTo>
                      <a:pt x="1374" y="3264"/>
                    </a:lnTo>
                    <a:lnTo>
                      <a:pt x="1386" y="3270"/>
                    </a:lnTo>
                    <a:lnTo>
                      <a:pt x="1398" y="3276"/>
                    </a:lnTo>
                    <a:lnTo>
                      <a:pt x="1404" y="3276"/>
                    </a:lnTo>
                    <a:lnTo>
                      <a:pt x="1416" y="3276"/>
                    </a:lnTo>
                    <a:lnTo>
                      <a:pt x="1428" y="3276"/>
                    </a:lnTo>
                    <a:lnTo>
                      <a:pt x="1440" y="3270"/>
                    </a:lnTo>
                    <a:lnTo>
                      <a:pt x="1446" y="3276"/>
                    </a:lnTo>
                    <a:lnTo>
                      <a:pt x="1452" y="3282"/>
                    </a:lnTo>
                    <a:lnTo>
                      <a:pt x="1452" y="3294"/>
                    </a:lnTo>
                    <a:lnTo>
                      <a:pt x="1458" y="3306"/>
                    </a:lnTo>
                    <a:lnTo>
                      <a:pt x="1452" y="3312"/>
                    </a:lnTo>
                    <a:lnTo>
                      <a:pt x="1452" y="3318"/>
                    </a:lnTo>
                    <a:lnTo>
                      <a:pt x="1458" y="3330"/>
                    </a:lnTo>
                    <a:lnTo>
                      <a:pt x="1464" y="3330"/>
                    </a:lnTo>
                    <a:lnTo>
                      <a:pt x="1476" y="3330"/>
                    </a:lnTo>
                    <a:lnTo>
                      <a:pt x="1488" y="3330"/>
                    </a:lnTo>
                    <a:lnTo>
                      <a:pt x="1500" y="3336"/>
                    </a:lnTo>
                    <a:lnTo>
                      <a:pt x="1506" y="3342"/>
                    </a:lnTo>
                    <a:lnTo>
                      <a:pt x="1518" y="3354"/>
                    </a:lnTo>
                    <a:lnTo>
                      <a:pt x="1530" y="3354"/>
                    </a:lnTo>
                    <a:lnTo>
                      <a:pt x="1542" y="3360"/>
                    </a:lnTo>
                    <a:lnTo>
                      <a:pt x="1560" y="3366"/>
                    </a:lnTo>
                    <a:lnTo>
                      <a:pt x="1572" y="3366"/>
                    </a:lnTo>
                    <a:lnTo>
                      <a:pt x="1578" y="3372"/>
                    </a:lnTo>
                    <a:lnTo>
                      <a:pt x="1584" y="3378"/>
                    </a:lnTo>
                    <a:lnTo>
                      <a:pt x="1596" y="3384"/>
                    </a:lnTo>
                    <a:lnTo>
                      <a:pt x="1602" y="3384"/>
                    </a:lnTo>
                    <a:lnTo>
                      <a:pt x="1608" y="3384"/>
                    </a:lnTo>
                    <a:lnTo>
                      <a:pt x="1620" y="3384"/>
                    </a:lnTo>
                    <a:lnTo>
                      <a:pt x="1632" y="3384"/>
                    </a:lnTo>
                    <a:lnTo>
                      <a:pt x="1638" y="3384"/>
                    </a:lnTo>
                    <a:lnTo>
                      <a:pt x="1650" y="3378"/>
                    </a:lnTo>
                    <a:lnTo>
                      <a:pt x="1656" y="3384"/>
                    </a:lnTo>
                    <a:lnTo>
                      <a:pt x="1662" y="3390"/>
                    </a:lnTo>
                    <a:lnTo>
                      <a:pt x="1662" y="3402"/>
                    </a:lnTo>
                    <a:lnTo>
                      <a:pt x="1668" y="3408"/>
                    </a:lnTo>
                    <a:lnTo>
                      <a:pt x="1668" y="3414"/>
                    </a:lnTo>
                    <a:lnTo>
                      <a:pt x="1662" y="3420"/>
                    </a:lnTo>
                    <a:lnTo>
                      <a:pt x="1668" y="3420"/>
                    </a:lnTo>
                    <a:lnTo>
                      <a:pt x="1662" y="3432"/>
                    </a:lnTo>
                    <a:lnTo>
                      <a:pt x="1650" y="3444"/>
                    </a:lnTo>
                    <a:lnTo>
                      <a:pt x="1644" y="3450"/>
                    </a:lnTo>
                    <a:lnTo>
                      <a:pt x="1632" y="3456"/>
                    </a:lnTo>
                    <a:lnTo>
                      <a:pt x="1614" y="3462"/>
                    </a:lnTo>
                    <a:lnTo>
                      <a:pt x="1608" y="3468"/>
                    </a:lnTo>
                    <a:lnTo>
                      <a:pt x="1596" y="3480"/>
                    </a:lnTo>
                    <a:lnTo>
                      <a:pt x="1596" y="3486"/>
                    </a:lnTo>
                    <a:lnTo>
                      <a:pt x="1596" y="3498"/>
                    </a:lnTo>
                    <a:lnTo>
                      <a:pt x="1590" y="3516"/>
                    </a:lnTo>
                    <a:lnTo>
                      <a:pt x="1590" y="3528"/>
                    </a:lnTo>
                    <a:lnTo>
                      <a:pt x="1590" y="3540"/>
                    </a:lnTo>
                    <a:lnTo>
                      <a:pt x="1584" y="3552"/>
                    </a:lnTo>
                    <a:lnTo>
                      <a:pt x="1590" y="3570"/>
                    </a:lnTo>
                    <a:lnTo>
                      <a:pt x="1596" y="3576"/>
                    </a:lnTo>
                    <a:lnTo>
                      <a:pt x="1602" y="3582"/>
                    </a:lnTo>
                    <a:lnTo>
                      <a:pt x="1614" y="3588"/>
                    </a:lnTo>
                    <a:lnTo>
                      <a:pt x="1620" y="3588"/>
                    </a:lnTo>
                    <a:lnTo>
                      <a:pt x="1638" y="3588"/>
                    </a:lnTo>
                    <a:lnTo>
                      <a:pt x="1650" y="3588"/>
                    </a:lnTo>
                    <a:lnTo>
                      <a:pt x="1662" y="3594"/>
                    </a:lnTo>
                    <a:lnTo>
                      <a:pt x="1674" y="3600"/>
                    </a:lnTo>
                    <a:lnTo>
                      <a:pt x="1686" y="3594"/>
                    </a:lnTo>
                    <a:lnTo>
                      <a:pt x="1698" y="3600"/>
                    </a:lnTo>
                    <a:lnTo>
                      <a:pt x="1716" y="3594"/>
                    </a:lnTo>
                    <a:lnTo>
                      <a:pt x="1728" y="3594"/>
                    </a:lnTo>
                    <a:lnTo>
                      <a:pt x="1740" y="3588"/>
                    </a:lnTo>
                    <a:lnTo>
                      <a:pt x="1746" y="3582"/>
                    </a:lnTo>
                    <a:lnTo>
                      <a:pt x="1758" y="3576"/>
                    </a:lnTo>
                    <a:lnTo>
                      <a:pt x="1770" y="3564"/>
                    </a:lnTo>
                    <a:lnTo>
                      <a:pt x="1788" y="3558"/>
                    </a:lnTo>
                    <a:lnTo>
                      <a:pt x="1800" y="3546"/>
                    </a:lnTo>
                    <a:lnTo>
                      <a:pt x="1806" y="3546"/>
                    </a:lnTo>
                    <a:lnTo>
                      <a:pt x="1818" y="3540"/>
                    </a:lnTo>
                    <a:lnTo>
                      <a:pt x="1830" y="3540"/>
                    </a:lnTo>
                    <a:lnTo>
                      <a:pt x="1842" y="3534"/>
                    </a:lnTo>
                    <a:lnTo>
                      <a:pt x="1854" y="3534"/>
                    </a:lnTo>
                    <a:lnTo>
                      <a:pt x="1866" y="3528"/>
                    </a:lnTo>
                    <a:lnTo>
                      <a:pt x="1872" y="3528"/>
                    </a:lnTo>
                    <a:lnTo>
                      <a:pt x="1884" y="3522"/>
                    </a:lnTo>
                    <a:lnTo>
                      <a:pt x="1890" y="3516"/>
                    </a:lnTo>
                    <a:lnTo>
                      <a:pt x="1902" y="3522"/>
                    </a:lnTo>
                    <a:lnTo>
                      <a:pt x="1914" y="3528"/>
                    </a:lnTo>
                    <a:lnTo>
                      <a:pt x="1926" y="3522"/>
                    </a:lnTo>
                    <a:lnTo>
                      <a:pt x="1938" y="3522"/>
                    </a:lnTo>
                    <a:lnTo>
                      <a:pt x="1944" y="3528"/>
                    </a:lnTo>
                    <a:lnTo>
                      <a:pt x="1956" y="3534"/>
                    </a:lnTo>
                    <a:lnTo>
                      <a:pt x="1962" y="3540"/>
                    </a:lnTo>
                    <a:lnTo>
                      <a:pt x="1974" y="3540"/>
                    </a:lnTo>
                    <a:lnTo>
                      <a:pt x="1980" y="3540"/>
                    </a:lnTo>
                    <a:lnTo>
                      <a:pt x="1986" y="3540"/>
                    </a:lnTo>
                    <a:lnTo>
                      <a:pt x="1998" y="3546"/>
                    </a:lnTo>
                    <a:lnTo>
                      <a:pt x="2010" y="3546"/>
                    </a:lnTo>
                    <a:lnTo>
                      <a:pt x="2016" y="3540"/>
                    </a:lnTo>
                    <a:lnTo>
                      <a:pt x="2022" y="3534"/>
                    </a:lnTo>
                    <a:lnTo>
                      <a:pt x="2028" y="3534"/>
                    </a:lnTo>
                    <a:lnTo>
                      <a:pt x="2040" y="3534"/>
                    </a:lnTo>
                    <a:lnTo>
                      <a:pt x="2052" y="3528"/>
                    </a:lnTo>
                    <a:lnTo>
                      <a:pt x="2064" y="3522"/>
                    </a:lnTo>
                    <a:lnTo>
                      <a:pt x="2070" y="3528"/>
                    </a:lnTo>
                    <a:lnTo>
                      <a:pt x="2082" y="3534"/>
                    </a:lnTo>
                    <a:lnTo>
                      <a:pt x="2088" y="3534"/>
                    </a:lnTo>
                    <a:lnTo>
                      <a:pt x="2100" y="3540"/>
                    </a:lnTo>
                    <a:lnTo>
                      <a:pt x="2106" y="3540"/>
                    </a:lnTo>
                    <a:lnTo>
                      <a:pt x="2118" y="3540"/>
                    </a:lnTo>
                    <a:lnTo>
                      <a:pt x="2124" y="3540"/>
                    </a:lnTo>
                    <a:lnTo>
                      <a:pt x="2136" y="3540"/>
                    </a:lnTo>
                    <a:lnTo>
                      <a:pt x="2142" y="3540"/>
                    </a:lnTo>
                    <a:lnTo>
                      <a:pt x="2148" y="3540"/>
                    </a:lnTo>
                    <a:lnTo>
                      <a:pt x="2160" y="3546"/>
                    </a:lnTo>
                    <a:lnTo>
                      <a:pt x="2172" y="3546"/>
                    </a:lnTo>
                    <a:lnTo>
                      <a:pt x="2178" y="3546"/>
                    </a:lnTo>
                    <a:lnTo>
                      <a:pt x="2190" y="3546"/>
                    </a:lnTo>
                    <a:lnTo>
                      <a:pt x="2202" y="3540"/>
                    </a:lnTo>
                    <a:lnTo>
                      <a:pt x="2214" y="3546"/>
                    </a:lnTo>
                    <a:lnTo>
                      <a:pt x="2232" y="3546"/>
                    </a:lnTo>
                    <a:lnTo>
                      <a:pt x="2244" y="3552"/>
                    </a:lnTo>
                    <a:lnTo>
                      <a:pt x="2250" y="3552"/>
                    </a:lnTo>
                    <a:lnTo>
                      <a:pt x="2256" y="3558"/>
                    </a:lnTo>
                    <a:lnTo>
                      <a:pt x="2268" y="3558"/>
                    </a:lnTo>
                    <a:lnTo>
                      <a:pt x="2280" y="3558"/>
                    </a:lnTo>
                    <a:lnTo>
                      <a:pt x="2292" y="3558"/>
                    </a:lnTo>
                    <a:lnTo>
                      <a:pt x="2298" y="3564"/>
                    </a:lnTo>
                    <a:lnTo>
                      <a:pt x="2304" y="3564"/>
                    </a:lnTo>
                    <a:lnTo>
                      <a:pt x="2316" y="3564"/>
                    </a:lnTo>
                    <a:lnTo>
                      <a:pt x="2328" y="3558"/>
                    </a:lnTo>
                    <a:lnTo>
                      <a:pt x="2334" y="3558"/>
                    </a:lnTo>
                    <a:lnTo>
                      <a:pt x="2346" y="3552"/>
                    </a:lnTo>
                    <a:lnTo>
                      <a:pt x="2358" y="3546"/>
                    </a:lnTo>
                    <a:lnTo>
                      <a:pt x="2370" y="3540"/>
                    </a:lnTo>
                    <a:lnTo>
                      <a:pt x="2376" y="3540"/>
                    </a:lnTo>
                    <a:lnTo>
                      <a:pt x="2388" y="3540"/>
                    </a:lnTo>
                    <a:lnTo>
                      <a:pt x="2394" y="3534"/>
                    </a:lnTo>
                    <a:lnTo>
                      <a:pt x="2406" y="3534"/>
                    </a:lnTo>
                    <a:lnTo>
                      <a:pt x="2406" y="3528"/>
                    </a:lnTo>
                    <a:lnTo>
                      <a:pt x="2412" y="3522"/>
                    </a:lnTo>
                    <a:lnTo>
                      <a:pt x="2418" y="3516"/>
                    </a:lnTo>
                    <a:lnTo>
                      <a:pt x="2424" y="3510"/>
                    </a:lnTo>
                    <a:lnTo>
                      <a:pt x="2424" y="3504"/>
                    </a:lnTo>
                    <a:lnTo>
                      <a:pt x="2436" y="3498"/>
                    </a:lnTo>
                    <a:lnTo>
                      <a:pt x="2442" y="3492"/>
                    </a:lnTo>
                    <a:lnTo>
                      <a:pt x="2454" y="3486"/>
                    </a:lnTo>
                    <a:lnTo>
                      <a:pt x="2460" y="3480"/>
                    </a:lnTo>
                    <a:lnTo>
                      <a:pt x="2466" y="3474"/>
                    </a:lnTo>
                    <a:lnTo>
                      <a:pt x="2478" y="3474"/>
                    </a:lnTo>
                    <a:lnTo>
                      <a:pt x="2490" y="3468"/>
                    </a:lnTo>
                    <a:lnTo>
                      <a:pt x="2496" y="3474"/>
                    </a:lnTo>
                    <a:lnTo>
                      <a:pt x="2508" y="3474"/>
                    </a:lnTo>
                    <a:lnTo>
                      <a:pt x="2520" y="3474"/>
                    </a:lnTo>
                    <a:lnTo>
                      <a:pt x="2532" y="3474"/>
                    </a:lnTo>
                    <a:lnTo>
                      <a:pt x="2544" y="3480"/>
                    </a:lnTo>
                    <a:lnTo>
                      <a:pt x="2550" y="3480"/>
                    </a:lnTo>
                    <a:lnTo>
                      <a:pt x="2556" y="3486"/>
                    </a:lnTo>
                    <a:lnTo>
                      <a:pt x="2568" y="3492"/>
                    </a:lnTo>
                    <a:lnTo>
                      <a:pt x="2574" y="3492"/>
                    </a:lnTo>
                    <a:lnTo>
                      <a:pt x="2586" y="3498"/>
                    </a:lnTo>
                    <a:lnTo>
                      <a:pt x="2598" y="3504"/>
                    </a:lnTo>
                    <a:lnTo>
                      <a:pt x="2610" y="3498"/>
                    </a:lnTo>
                    <a:lnTo>
                      <a:pt x="2622" y="3492"/>
                    </a:lnTo>
                    <a:lnTo>
                      <a:pt x="2628" y="3486"/>
                    </a:lnTo>
                    <a:lnTo>
                      <a:pt x="2634" y="3480"/>
                    </a:lnTo>
                    <a:lnTo>
                      <a:pt x="2640" y="3480"/>
                    </a:lnTo>
                    <a:lnTo>
                      <a:pt x="2646" y="3474"/>
                    </a:lnTo>
                    <a:lnTo>
                      <a:pt x="2658" y="3474"/>
                    </a:lnTo>
                    <a:lnTo>
                      <a:pt x="2670" y="3474"/>
                    </a:lnTo>
                    <a:lnTo>
                      <a:pt x="2682" y="3468"/>
                    </a:lnTo>
                    <a:lnTo>
                      <a:pt x="2694" y="3462"/>
                    </a:lnTo>
                    <a:lnTo>
                      <a:pt x="2706" y="3456"/>
                    </a:lnTo>
                    <a:lnTo>
                      <a:pt x="2718" y="3450"/>
                    </a:lnTo>
                    <a:lnTo>
                      <a:pt x="2724" y="3444"/>
                    </a:lnTo>
                    <a:lnTo>
                      <a:pt x="2736" y="3444"/>
                    </a:lnTo>
                    <a:lnTo>
                      <a:pt x="2748" y="3444"/>
                    </a:lnTo>
                    <a:lnTo>
                      <a:pt x="2760" y="3450"/>
                    </a:lnTo>
                    <a:lnTo>
                      <a:pt x="2766" y="3456"/>
                    </a:lnTo>
                    <a:lnTo>
                      <a:pt x="2778" y="3456"/>
                    </a:lnTo>
                    <a:lnTo>
                      <a:pt x="2790" y="3456"/>
                    </a:lnTo>
                    <a:lnTo>
                      <a:pt x="2796" y="3450"/>
                    </a:lnTo>
                    <a:lnTo>
                      <a:pt x="2802" y="3450"/>
                    </a:lnTo>
                    <a:lnTo>
                      <a:pt x="2808" y="3444"/>
                    </a:lnTo>
                    <a:lnTo>
                      <a:pt x="2814" y="3438"/>
                    </a:lnTo>
                    <a:lnTo>
                      <a:pt x="2820" y="3438"/>
                    </a:lnTo>
                    <a:lnTo>
                      <a:pt x="2832" y="3438"/>
                    </a:lnTo>
                    <a:lnTo>
                      <a:pt x="2844" y="3444"/>
                    </a:lnTo>
                    <a:lnTo>
                      <a:pt x="2850" y="3444"/>
                    </a:lnTo>
                    <a:lnTo>
                      <a:pt x="2862" y="3444"/>
                    </a:lnTo>
                    <a:lnTo>
                      <a:pt x="2874" y="3444"/>
                    </a:lnTo>
                    <a:lnTo>
                      <a:pt x="2880" y="3450"/>
                    </a:lnTo>
                    <a:lnTo>
                      <a:pt x="2892" y="3456"/>
                    </a:lnTo>
                    <a:lnTo>
                      <a:pt x="2898" y="3456"/>
                    </a:lnTo>
                    <a:lnTo>
                      <a:pt x="2904" y="3462"/>
                    </a:lnTo>
                    <a:lnTo>
                      <a:pt x="2916" y="3468"/>
                    </a:lnTo>
                    <a:lnTo>
                      <a:pt x="2922" y="3462"/>
                    </a:lnTo>
                    <a:lnTo>
                      <a:pt x="2928" y="3468"/>
                    </a:lnTo>
                    <a:lnTo>
                      <a:pt x="2934" y="3474"/>
                    </a:lnTo>
                    <a:lnTo>
                      <a:pt x="2946" y="3474"/>
                    </a:lnTo>
                    <a:lnTo>
                      <a:pt x="2952" y="3468"/>
                    </a:lnTo>
                    <a:lnTo>
                      <a:pt x="2964" y="3468"/>
                    </a:lnTo>
                    <a:lnTo>
                      <a:pt x="2976" y="3462"/>
                    </a:lnTo>
                    <a:lnTo>
                      <a:pt x="2982" y="3450"/>
                    </a:lnTo>
                    <a:lnTo>
                      <a:pt x="2994" y="3444"/>
                    </a:lnTo>
                    <a:lnTo>
                      <a:pt x="3006" y="3438"/>
                    </a:lnTo>
                    <a:lnTo>
                      <a:pt x="3024" y="3438"/>
                    </a:lnTo>
                    <a:lnTo>
                      <a:pt x="3030" y="3438"/>
                    </a:lnTo>
                    <a:lnTo>
                      <a:pt x="3042" y="3426"/>
                    </a:lnTo>
                    <a:lnTo>
                      <a:pt x="3048" y="3420"/>
                    </a:lnTo>
                    <a:lnTo>
                      <a:pt x="3060" y="3408"/>
                    </a:lnTo>
                    <a:lnTo>
                      <a:pt x="3072" y="3402"/>
                    </a:lnTo>
                    <a:lnTo>
                      <a:pt x="3078" y="3390"/>
                    </a:lnTo>
                    <a:lnTo>
                      <a:pt x="3084" y="3390"/>
                    </a:lnTo>
                    <a:lnTo>
                      <a:pt x="3096" y="3384"/>
                    </a:lnTo>
                    <a:lnTo>
                      <a:pt x="3108" y="3384"/>
                    </a:lnTo>
                    <a:lnTo>
                      <a:pt x="3120" y="3384"/>
                    </a:lnTo>
                    <a:lnTo>
                      <a:pt x="3126" y="3372"/>
                    </a:lnTo>
                    <a:lnTo>
                      <a:pt x="3138" y="3366"/>
                    </a:lnTo>
                    <a:lnTo>
                      <a:pt x="3144" y="3360"/>
                    </a:lnTo>
                    <a:lnTo>
                      <a:pt x="3144" y="3348"/>
                    </a:lnTo>
                    <a:lnTo>
                      <a:pt x="3144" y="3336"/>
                    </a:lnTo>
                    <a:lnTo>
                      <a:pt x="3150" y="3330"/>
                    </a:lnTo>
                    <a:lnTo>
                      <a:pt x="3156" y="3324"/>
                    </a:lnTo>
                    <a:lnTo>
                      <a:pt x="3168" y="3318"/>
                    </a:lnTo>
                    <a:lnTo>
                      <a:pt x="3174" y="3312"/>
                    </a:lnTo>
                    <a:lnTo>
                      <a:pt x="3180" y="3300"/>
                    </a:lnTo>
                    <a:lnTo>
                      <a:pt x="3180" y="3288"/>
                    </a:lnTo>
                    <a:lnTo>
                      <a:pt x="3186" y="3282"/>
                    </a:lnTo>
                    <a:lnTo>
                      <a:pt x="3192" y="3276"/>
                    </a:lnTo>
                    <a:lnTo>
                      <a:pt x="3192" y="3258"/>
                    </a:lnTo>
                    <a:lnTo>
                      <a:pt x="3198" y="3252"/>
                    </a:lnTo>
                    <a:lnTo>
                      <a:pt x="3204" y="3240"/>
                    </a:lnTo>
                    <a:lnTo>
                      <a:pt x="3210" y="3234"/>
                    </a:lnTo>
                    <a:lnTo>
                      <a:pt x="3210" y="3228"/>
                    </a:lnTo>
                    <a:lnTo>
                      <a:pt x="3222" y="3222"/>
                    </a:lnTo>
                    <a:lnTo>
                      <a:pt x="3228" y="3210"/>
                    </a:lnTo>
                    <a:lnTo>
                      <a:pt x="3240" y="3198"/>
                    </a:lnTo>
                    <a:lnTo>
                      <a:pt x="3246" y="3192"/>
                    </a:lnTo>
                    <a:lnTo>
                      <a:pt x="3252" y="3186"/>
                    </a:lnTo>
                    <a:lnTo>
                      <a:pt x="3252" y="3180"/>
                    </a:lnTo>
                    <a:lnTo>
                      <a:pt x="3258" y="3168"/>
                    </a:lnTo>
                    <a:lnTo>
                      <a:pt x="3264" y="3156"/>
                    </a:lnTo>
                    <a:lnTo>
                      <a:pt x="3264" y="3150"/>
                    </a:lnTo>
                    <a:lnTo>
                      <a:pt x="3270" y="3144"/>
                    </a:lnTo>
                    <a:lnTo>
                      <a:pt x="3270" y="3132"/>
                    </a:lnTo>
                    <a:lnTo>
                      <a:pt x="3282" y="3126"/>
                    </a:lnTo>
                    <a:lnTo>
                      <a:pt x="3288" y="3120"/>
                    </a:lnTo>
                    <a:lnTo>
                      <a:pt x="3300" y="3120"/>
                    </a:lnTo>
                    <a:lnTo>
                      <a:pt x="3306" y="3120"/>
                    </a:lnTo>
                    <a:lnTo>
                      <a:pt x="3318" y="3114"/>
                    </a:lnTo>
                    <a:lnTo>
                      <a:pt x="3324" y="3108"/>
                    </a:lnTo>
                    <a:lnTo>
                      <a:pt x="3330" y="3102"/>
                    </a:lnTo>
                    <a:lnTo>
                      <a:pt x="3342" y="3096"/>
                    </a:lnTo>
                    <a:lnTo>
                      <a:pt x="3354" y="3078"/>
                    </a:lnTo>
                    <a:lnTo>
                      <a:pt x="3360" y="3072"/>
                    </a:lnTo>
                    <a:lnTo>
                      <a:pt x="3378" y="3066"/>
                    </a:lnTo>
                    <a:lnTo>
                      <a:pt x="3396" y="3060"/>
                    </a:lnTo>
                    <a:lnTo>
                      <a:pt x="3402" y="3054"/>
                    </a:lnTo>
                    <a:lnTo>
                      <a:pt x="3420" y="3054"/>
                    </a:lnTo>
                    <a:lnTo>
                      <a:pt x="3438" y="3048"/>
                    </a:lnTo>
                    <a:lnTo>
                      <a:pt x="3450" y="3042"/>
                    </a:lnTo>
                    <a:lnTo>
                      <a:pt x="3462" y="3036"/>
                    </a:lnTo>
                    <a:lnTo>
                      <a:pt x="3468" y="3024"/>
                    </a:lnTo>
                    <a:lnTo>
                      <a:pt x="3486" y="3024"/>
                    </a:lnTo>
                    <a:lnTo>
                      <a:pt x="3504" y="3024"/>
                    </a:lnTo>
                    <a:lnTo>
                      <a:pt x="3522" y="3018"/>
                    </a:lnTo>
                    <a:lnTo>
                      <a:pt x="3534" y="3012"/>
                    </a:lnTo>
                    <a:lnTo>
                      <a:pt x="3540" y="3006"/>
                    </a:lnTo>
                    <a:lnTo>
                      <a:pt x="3546" y="2994"/>
                    </a:lnTo>
                    <a:lnTo>
                      <a:pt x="3552" y="2988"/>
                    </a:lnTo>
                    <a:lnTo>
                      <a:pt x="3570" y="2988"/>
                    </a:lnTo>
                    <a:lnTo>
                      <a:pt x="3576" y="2988"/>
                    </a:lnTo>
                    <a:lnTo>
                      <a:pt x="3588" y="2982"/>
                    </a:lnTo>
                    <a:lnTo>
                      <a:pt x="3594" y="2976"/>
                    </a:lnTo>
                    <a:lnTo>
                      <a:pt x="3606" y="2970"/>
                    </a:lnTo>
                    <a:lnTo>
                      <a:pt x="3612" y="2958"/>
                    </a:lnTo>
                    <a:lnTo>
                      <a:pt x="3618" y="2952"/>
                    </a:lnTo>
                    <a:lnTo>
                      <a:pt x="3630" y="2946"/>
                    </a:lnTo>
                    <a:lnTo>
                      <a:pt x="3642" y="2940"/>
                    </a:lnTo>
                    <a:lnTo>
                      <a:pt x="3648" y="2940"/>
                    </a:lnTo>
                    <a:lnTo>
                      <a:pt x="3654" y="2928"/>
                    </a:lnTo>
                    <a:lnTo>
                      <a:pt x="3666" y="2922"/>
                    </a:lnTo>
                    <a:lnTo>
                      <a:pt x="3684" y="2922"/>
                    </a:lnTo>
                    <a:lnTo>
                      <a:pt x="3690" y="2916"/>
                    </a:lnTo>
                    <a:lnTo>
                      <a:pt x="3702" y="2910"/>
                    </a:lnTo>
                    <a:lnTo>
                      <a:pt x="3714" y="2904"/>
                    </a:lnTo>
                    <a:lnTo>
                      <a:pt x="3720" y="2904"/>
                    </a:lnTo>
                    <a:lnTo>
                      <a:pt x="3732" y="2904"/>
                    </a:lnTo>
                    <a:lnTo>
                      <a:pt x="3744" y="2904"/>
                    </a:lnTo>
                    <a:lnTo>
                      <a:pt x="3756" y="2898"/>
                    </a:lnTo>
                    <a:lnTo>
                      <a:pt x="3768" y="2892"/>
                    </a:lnTo>
                    <a:lnTo>
                      <a:pt x="3780" y="2898"/>
                    </a:lnTo>
                    <a:lnTo>
                      <a:pt x="3786" y="2904"/>
                    </a:lnTo>
                    <a:lnTo>
                      <a:pt x="3804" y="2904"/>
                    </a:lnTo>
                    <a:lnTo>
                      <a:pt x="3816" y="2904"/>
                    </a:lnTo>
                    <a:lnTo>
                      <a:pt x="3828" y="2904"/>
                    </a:lnTo>
                    <a:lnTo>
                      <a:pt x="3846" y="2898"/>
                    </a:lnTo>
                    <a:lnTo>
                      <a:pt x="3852" y="2904"/>
                    </a:lnTo>
                    <a:lnTo>
                      <a:pt x="3852" y="2910"/>
                    </a:lnTo>
                    <a:lnTo>
                      <a:pt x="3858" y="2916"/>
                    </a:lnTo>
                    <a:lnTo>
                      <a:pt x="3870" y="2922"/>
                    </a:lnTo>
                    <a:lnTo>
                      <a:pt x="3876" y="2922"/>
                    </a:lnTo>
                    <a:lnTo>
                      <a:pt x="3888" y="2922"/>
                    </a:lnTo>
                    <a:lnTo>
                      <a:pt x="3900" y="2928"/>
                    </a:lnTo>
                    <a:lnTo>
                      <a:pt x="3906" y="2934"/>
                    </a:lnTo>
                    <a:lnTo>
                      <a:pt x="3912" y="2940"/>
                    </a:lnTo>
                    <a:lnTo>
                      <a:pt x="3924" y="2952"/>
                    </a:lnTo>
                    <a:lnTo>
                      <a:pt x="3930" y="2946"/>
                    </a:lnTo>
                    <a:lnTo>
                      <a:pt x="3942" y="2946"/>
                    </a:lnTo>
                    <a:lnTo>
                      <a:pt x="3948" y="2940"/>
                    </a:lnTo>
                    <a:lnTo>
                      <a:pt x="3960" y="2934"/>
                    </a:lnTo>
                    <a:lnTo>
                      <a:pt x="3978" y="2934"/>
                    </a:lnTo>
                    <a:lnTo>
                      <a:pt x="4002" y="2928"/>
                    </a:lnTo>
                    <a:lnTo>
                      <a:pt x="4020" y="2928"/>
                    </a:lnTo>
                    <a:lnTo>
                      <a:pt x="4038" y="2928"/>
                    </a:lnTo>
                    <a:lnTo>
                      <a:pt x="4044" y="2916"/>
                    </a:lnTo>
                    <a:lnTo>
                      <a:pt x="4050" y="2898"/>
                    </a:lnTo>
                    <a:lnTo>
                      <a:pt x="4056" y="2904"/>
                    </a:lnTo>
                    <a:lnTo>
                      <a:pt x="4068" y="2910"/>
                    </a:lnTo>
                    <a:lnTo>
                      <a:pt x="4074" y="2916"/>
                    </a:lnTo>
                    <a:lnTo>
                      <a:pt x="4080" y="2922"/>
                    </a:lnTo>
                    <a:lnTo>
                      <a:pt x="4080" y="2928"/>
                    </a:lnTo>
                    <a:lnTo>
                      <a:pt x="4086" y="2934"/>
                    </a:lnTo>
                    <a:lnTo>
                      <a:pt x="4092" y="2940"/>
                    </a:lnTo>
                    <a:lnTo>
                      <a:pt x="4098" y="2952"/>
                    </a:lnTo>
                    <a:lnTo>
                      <a:pt x="4104" y="2952"/>
                    </a:lnTo>
                    <a:lnTo>
                      <a:pt x="4122" y="2946"/>
                    </a:lnTo>
                    <a:lnTo>
                      <a:pt x="4134" y="2940"/>
                    </a:lnTo>
                    <a:lnTo>
                      <a:pt x="4146" y="2934"/>
                    </a:lnTo>
                    <a:lnTo>
                      <a:pt x="4164" y="2928"/>
                    </a:lnTo>
                    <a:lnTo>
                      <a:pt x="4170" y="2922"/>
                    </a:lnTo>
                    <a:lnTo>
                      <a:pt x="4182" y="2910"/>
                    </a:lnTo>
                    <a:lnTo>
                      <a:pt x="4188" y="2898"/>
                    </a:lnTo>
                    <a:lnTo>
                      <a:pt x="4194" y="2892"/>
                    </a:lnTo>
                    <a:lnTo>
                      <a:pt x="4200" y="2892"/>
                    </a:lnTo>
                    <a:lnTo>
                      <a:pt x="4206" y="2892"/>
                    </a:lnTo>
                    <a:lnTo>
                      <a:pt x="4212" y="2898"/>
                    </a:lnTo>
                    <a:lnTo>
                      <a:pt x="4218" y="2910"/>
                    </a:lnTo>
                    <a:lnTo>
                      <a:pt x="4218" y="2916"/>
                    </a:lnTo>
                    <a:lnTo>
                      <a:pt x="4218" y="2922"/>
                    </a:lnTo>
                    <a:lnTo>
                      <a:pt x="4230" y="2934"/>
                    </a:lnTo>
                    <a:lnTo>
                      <a:pt x="4236" y="2940"/>
                    </a:lnTo>
                    <a:lnTo>
                      <a:pt x="4242" y="2946"/>
                    </a:lnTo>
                    <a:lnTo>
                      <a:pt x="4248" y="2958"/>
                    </a:lnTo>
                    <a:lnTo>
                      <a:pt x="4254" y="2970"/>
                    </a:lnTo>
                    <a:lnTo>
                      <a:pt x="4260" y="2976"/>
                    </a:lnTo>
                    <a:lnTo>
                      <a:pt x="4260" y="2988"/>
                    </a:lnTo>
                    <a:lnTo>
                      <a:pt x="4266" y="2994"/>
                    </a:lnTo>
                    <a:lnTo>
                      <a:pt x="4278" y="3000"/>
                    </a:lnTo>
                    <a:lnTo>
                      <a:pt x="4290" y="3006"/>
                    </a:lnTo>
                    <a:lnTo>
                      <a:pt x="4302" y="3006"/>
                    </a:lnTo>
                    <a:lnTo>
                      <a:pt x="4314" y="3006"/>
                    </a:lnTo>
                    <a:lnTo>
                      <a:pt x="4332" y="3012"/>
                    </a:lnTo>
                    <a:lnTo>
                      <a:pt x="4350" y="3018"/>
                    </a:lnTo>
                    <a:lnTo>
                      <a:pt x="4368" y="3018"/>
                    </a:lnTo>
                    <a:lnTo>
                      <a:pt x="4380" y="3024"/>
                    </a:lnTo>
                    <a:lnTo>
                      <a:pt x="4392" y="3024"/>
                    </a:lnTo>
                    <a:lnTo>
                      <a:pt x="4410" y="3030"/>
                    </a:lnTo>
                    <a:lnTo>
                      <a:pt x="4422" y="3024"/>
                    </a:lnTo>
                    <a:lnTo>
                      <a:pt x="4440" y="3018"/>
                    </a:lnTo>
                    <a:lnTo>
                      <a:pt x="4458" y="3018"/>
                    </a:lnTo>
                    <a:lnTo>
                      <a:pt x="4470" y="3018"/>
                    </a:lnTo>
                    <a:lnTo>
                      <a:pt x="4482" y="3018"/>
                    </a:lnTo>
                    <a:lnTo>
                      <a:pt x="4488" y="3018"/>
                    </a:lnTo>
                    <a:lnTo>
                      <a:pt x="4500" y="3018"/>
                    </a:lnTo>
                    <a:lnTo>
                      <a:pt x="4506" y="3018"/>
                    </a:lnTo>
                    <a:lnTo>
                      <a:pt x="4518" y="3018"/>
                    </a:lnTo>
                    <a:lnTo>
                      <a:pt x="4524" y="3018"/>
                    </a:lnTo>
                    <a:lnTo>
                      <a:pt x="4530" y="3018"/>
                    </a:lnTo>
                    <a:lnTo>
                      <a:pt x="4542" y="3012"/>
                    </a:lnTo>
                    <a:lnTo>
                      <a:pt x="4554" y="3012"/>
                    </a:lnTo>
                    <a:lnTo>
                      <a:pt x="4566" y="3006"/>
                    </a:lnTo>
                    <a:lnTo>
                      <a:pt x="4590" y="3000"/>
                    </a:lnTo>
                    <a:lnTo>
                      <a:pt x="4590" y="2994"/>
                    </a:lnTo>
                    <a:lnTo>
                      <a:pt x="4584" y="2988"/>
                    </a:lnTo>
                    <a:lnTo>
                      <a:pt x="4584" y="2976"/>
                    </a:lnTo>
                    <a:lnTo>
                      <a:pt x="4584" y="2964"/>
                    </a:lnTo>
                    <a:lnTo>
                      <a:pt x="4578" y="2958"/>
                    </a:lnTo>
                    <a:lnTo>
                      <a:pt x="4578" y="2952"/>
                    </a:lnTo>
                    <a:lnTo>
                      <a:pt x="4584" y="2940"/>
                    </a:lnTo>
                    <a:lnTo>
                      <a:pt x="4584" y="2928"/>
                    </a:lnTo>
                    <a:lnTo>
                      <a:pt x="4578" y="2922"/>
                    </a:lnTo>
                    <a:lnTo>
                      <a:pt x="4584" y="2910"/>
                    </a:lnTo>
                    <a:lnTo>
                      <a:pt x="4578" y="2898"/>
                    </a:lnTo>
                    <a:lnTo>
                      <a:pt x="4578" y="2892"/>
                    </a:lnTo>
                    <a:lnTo>
                      <a:pt x="4578" y="2886"/>
                    </a:lnTo>
                    <a:lnTo>
                      <a:pt x="4578" y="2880"/>
                    </a:lnTo>
                    <a:lnTo>
                      <a:pt x="4578" y="2874"/>
                    </a:lnTo>
                    <a:lnTo>
                      <a:pt x="4584" y="2868"/>
                    </a:lnTo>
                    <a:lnTo>
                      <a:pt x="4584" y="2856"/>
                    </a:lnTo>
                    <a:lnTo>
                      <a:pt x="4578" y="2850"/>
                    </a:lnTo>
                    <a:lnTo>
                      <a:pt x="4584" y="2838"/>
                    </a:lnTo>
                    <a:lnTo>
                      <a:pt x="4584" y="2832"/>
                    </a:lnTo>
                    <a:lnTo>
                      <a:pt x="4584" y="2820"/>
                    </a:lnTo>
                    <a:lnTo>
                      <a:pt x="4584" y="2814"/>
                    </a:lnTo>
                    <a:lnTo>
                      <a:pt x="4584" y="2808"/>
                    </a:lnTo>
                    <a:lnTo>
                      <a:pt x="4590" y="2808"/>
                    </a:lnTo>
                    <a:lnTo>
                      <a:pt x="4584" y="2796"/>
                    </a:lnTo>
                    <a:lnTo>
                      <a:pt x="4578" y="2790"/>
                    </a:lnTo>
                    <a:lnTo>
                      <a:pt x="4572" y="2784"/>
                    </a:lnTo>
                    <a:lnTo>
                      <a:pt x="4572" y="2778"/>
                    </a:lnTo>
                    <a:lnTo>
                      <a:pt x="4572" y="2772"/>
                    </a:lnTo>
                    <a:lnTo>
                      <a:pt x="4566" y="2766"/>
                    </a:lnTo>
                    <a:lnTo>
                      <a:pt x="4560" y="2754"/>
                    </a:lnTo>
                    <a:lnTo>
                      <a:pt x="4560" y="2748"/>
                    </a:lnTo>
                    <a:lnTo>
                      <a:pt x="4554" y="2742"/>
                    </a:lnTo>
                    <a:lnTo>
                      <a:pt x="4554" y="2736"/>
                    </a:lnTo>
                    <a:lnTo>
                      <a:pt x="4554" y="2730"/>
                    </a:lnTo>
                    <a:lnTo>
                      <a:pt x="4548" y="2724"/>
                    </a:lnTo>
                    <a:lnTo>
                      <a:pt x="4548" y="2718"/>
                    </a:lnTo>
                    <a:lnTo>
                      <a:pt x="4548" y="2706"/>
                    </a:lnTo>
                    <a:lnTo>
                      <a:pt x="4548" y="2700"/>
                    </a:lnTo>
                    <a:lnTo>
                      <a:pt x="4554" y="2694"/>
                    </a:lnTo>
                    <a:lnTo>
                      <a:pt x="4548" y="2694"/>
                    </a:lnTo>
                    <a:lnTo>
                      <a:pt x="4542" y="2694"/>
                    </a:lnTo>
                    <a:lnTo>
                      <a:pt x="4542" y="2688"/>
                    </a:lnTo>
                    <a:lnTo>
                      <a:pt x="4548" y="2682"/>
                    </a:lnTo>
                    <a:lnTo>
                      <a:pt x="4554" y="2682"/>
                    </a:lnTo>
                    <a:lnTo>
                      <a:pt x="4554" y="2676"/>
                    </a:lnTo>
                    <a:lnTo>
                      <a:pt x="4548" y="2670"/>
                    </a:lnTo>
                    <a:lnTo>
                      <a:pt x="4542" y="2664"/>
                    </a:lnTo>
                    <a:lnTo>
                      <a:pt x="4548" y="2658"/>
                    </a:lnTo>
                    <a:lnTo>
                      <a:pt x="4542" y="2652"/>
                    </a:lnTo>
                    <a:lnTo>
                      <a:pt x="4536" y="2646"/>
                    </a:lnTo>
                    <a:lnTo>
                      <a:pt x="4530" y="2640"/>
                    </a:lnTo>
                    <a:lnTo>
                      <a:pt x="4524" y="2634"/>
                    </a:lnTo>
                    <a:lnTo>
                      <a:pt x="4518" y="2628"/>
                    </a:lnTo>
                    <a:lnTo>
                      <a:pt x="4512" y="2622"/>
                    </a:lnTo>
                    <a:lnTo>
                      <a:pt x="4512" y="2610"/>
                    </a:lnTo>
                    <a:lnTo>
                      <a:pt x="4506" y="2598"/>
                    </a:lnTo>
                    <a:lnTo>
                      <a:pt x="4506" y="2592"/>
                    </a:lnTo>
                    <a:lnTo>
                      <a:pt x="4506" y="2580"/>
                    </a:lnTo>
                    <a:lnTo>
                      <a:pt x="4512" y="2562"/>
                    </a:lnTo>
                    <a:lnTo>
                      <a:pt x="4512" y="2550"/>
                    </a:lnTo>
                    <a:lnTo>
                      <a:pt x="4530" y="2544"/>
                    </a:lnTo>
                    <a:lnTo>
                      <a:pt x="4530" y="2538"/>
                    </a:lnTo>
                    <a:lnTo>
                      <a:pt x="4536" y="2526"/>
                    </a:lnTo>
                    <a:lnTo>
                      <a:pt x="4536" y="2514"/>
                    </a:lnTo>
                    <a:lnTo>
                      <a:pt x="4542" y="2502"/>
                    </a:lnTo>
                    <a:lnTo>
                      <a:pt x="4548" y="2496"/>
                    </a:lnTo>
                    <a:lnTo>
                      <a:pt x="4548" y="2484"/>
                    </a:lnTo>
                    <a:lnTo>
                      <a:pt x="4554" y="2472"/>
                    </a:lnTo>
                    <a:lnTo>
                      <a:pt x="4560" y="2454"/>
                    </a:lnTo>
                    <a:lnTo>
                      <a:pt x="4566" y="2442"/>
                    </a:lnTo>
                    <a:lnTo>
                      <a:pt x="4578" y="2430"/>
                    </a:lnTo>
                    <a:lnTo>
                      <a:pt x="4578" y="2424"/>
                    </a:lnTo>
                    <a:lnTo>
                      <a:pt x="4584" y="2412"/>
                    </a:lnTo>
                    <a:lnTo>
                      <a:pt x="4590" y="2400"/>
                    </a:lnTo>
                    <a:lnTo>
                      <a:pt x="4590" y="2388"/>
                    </a:lnTo>
                    <a:lnTo>
                      <a:pt x="4596" y="2376"/>
                    </a:lnTo>
                    <a:lnTo>
                      <a:pt x="4596" y="2358"/>
                    </a:lnTo>
                    <a:lnTo>
                      <a:pt x="4602" y="2346"/>
                    </a:lnTo>
                    <a:lnTo>
                      <a:pt x="4602" y="2340"/>
                    </a:lnTo>
                    <a:lnTo>
                      <a:pt x="4602" y="2328"/>
                    </a:lnTo>
                    <a:lnTo>
                      <a:pt x="4608" y="2316"/>
                    </a:lnTo>
                    <a:lnTo>
                      <a:pt x="4608" y="2310"/>
                    </a:lnTo>
                    <a:lnTo>
                      <a:pt x="4614" y="2298"/>
                    </a:lnTo>
                    <a:lnTo>
                      <a:pt x="4614" y="2286"/>
                    </a:lnTo>
                    <a:lnTo>
                      <a:pt x="4620" y="2268"/>
                    </a:lnTo>
                    <a:lnTo>
                      <a:pt x="4626" y="2256"/>
                    </a:lnTo>
                    <a:lnTo>
                      <a:pt x="4632" y="2244"/>
                    </a:lnTo>
                    <a:lnTo>
                      <a:pt x="4638" y="2226"/>
                    </a:lnTo>
                    <a:lnTo>
                      <a:pt x="4644" y="2220"/>
                    </a:lnTo>
                    <a:lnTo>
                      <a:pt x="4650" y="2208"/>
                    </a:lnTo>
                    <a:lnTo>
                      <a:pt x="4662" y="2196"/>
                    </a:lnTo>
                    <a:lnTo>
                      <a:pt x="4674" y="2178"/>
                    </a:lnTo>
                    <a:lnTo>
                      <a:pt x="4680" y="2178"/>
                    </a:lnTo>
                    <a:lnTo>
                      <a:pt x="4692" y="2166"/>
                    </a:lnTo>
                    <a:lnTo>
                      <a:pt x="4704" y="2160"/>
                    </a:lnTo>
                    <a:lnTo>
                      <a:pt x="4716" y="2154"/>
                    </a:lnTo>
                    <a:lnTo>
                      <a:pt x="4728" y="2148"/>
                    </a:lnTo>
                    <a:lnTo>
                      <a:pt x="4746" y="2142"/>
                    </a:lnTo>
                    <a:lnTo>
                      <a:pt x="4752" y="2142"/>
                    </a:lnTo>
                    <a:lnTo>
                      <a:pt x="4764" y="2136"/>
                    </a:lnTo>
                    <a:lnTo>
                      <a:pt x="4776" y="2130"/>
                    </a:lnTo>
                    <a:lnTo>
                      <a:pt x="4788" y="2124"/>
                    </a:lnTo>
                    <a:lnTo>
                      <a:pt x="4800" y="2118"/>
                    </a:lnTo>
                    <a:lnTo>
                      <a:pt x="4818" y="2112"/>
                    </a:lnTo>
                    <a:lnTo>
                      <a:pt x="4836" y="2100"/>
                    </a:lnTo>
                    <a:lnTo>
                      <a:pt x="4848" y="2094"/>
                    </a:lnTo>
                    <a:lnTo>
                      <a:pt x="4878" y="2082"/>
                    </a:lnTo>
                    <a:lnTo>
                      <a:pt x="4878" y="2076"/>
                    </a:lnTo>
                    <a:lnTo>
                      <a:pt x="4884" y="2076"/>
                    </a:lnTo>
                    <a:lnTo>
                      <a:pt x="4896" y="2064"/>
                    </a:lnTo>
                    <a:lnTo>
                      <a:pt x="4890" y="2052"/>
                    </a:lnTo>
                    <a:lnTo>
                      <a:pt x="4890" y="2040"/>
                    </a:lnTo>
                    <a:lnTo>
                      <a:pt x="4896" y="2034"/>
                    </a:lnTo>
                    <a:lnTo>
                      <a:pt x="4896" y="2022"/>
                    </a:lnTo>
                    <a:lnTo>
                      <a:pt x="4890" y="2016"/>
                    </a:lnTo>
                    <a:lnTo>
                      <a:pt x="4890" y="2004"/>
                    </a:lnTo>
                    <a:lnTo>
                      <a:pt x="4890" y="1986"/>
                    </a:lnTo>
                    <a:lnTo>
                      <a:pt x="4890" y="1974"/>
                    </a:lnTo>
                    <a:lnTo>
                      <a:pt x="4884" y="1962"/>
                    </a:lnTo>
                    <a:lnTo>
                      <a:pt x="4884" y="1944"/>
                    </a:lnTo>
                    <a:lnTo>
                      <a:pt x="4884" y="1926"/>
                    </a:lnTo>
                    <a:lnTo>
                      <a:pt x="4878" y="1902"/>
                    </a:lnTo>
                    <a:lnTo>
                      <a:pt x="4872" y="1890"/>
                    </a:lnTo>
                    <a:lnTo>
                      <a:pt x="4872" y="1884"/>
                    </a:lnTo>
                    <a:lnTo>
                      <a:pt x="4872" y="1878"/>
                    </a:lnTo>
                    <a:lnTo>
                      <a:pt x="4872" y="1866"/>
                    </a:lnTo>
                    <a:lnTo>
                      <a:pt x="4872" y="1854"/>
                    </a:lnTo>
                    <a:lnTo>
                      <a:pt x="4872" y="1842"/>
                    </a:lnTo>
                    <a:lnTo>
                      <a:pt x="4878" y="1830"/>
                    </a:lnTo>
                    <a:lnTo>
                      <a:pt x="4866" y="1836"/>
                    </a:lnTo>
                    <a:lnTo>
                      <a:pt x="4860" y="1842"/>
                    </a:lnTo>
                    <a:lnTo>
                      <a:pt x="4854" y="1836"/>
                    </a:lnTo>
                    <a:lnTo>
                      <a:pt x="4848" y="1830"/>
                    </a:lnTo>
                    <a:lnTo>
                      <a:pt x="4842" y="1818"/>
                    </a:lnTo>
                    <a:lnTo>
                      <a:pt x="4836" y="1806"/>
                    </a:lnTo>
                    <a:lnTo>
                      <a:pt x="4836" y="1800"/>
                    </a:lnTo>
                    <a:lnTo>
                      <a:pt x="4848" y="1800"/>
                    </a:lnTo>
                    <a:lnTo>
                      <a:pt x="4860" y="1800"/>
                    </a:lnTo>
                    <a:lnTo>
                      <a:pt x="4854" y="1788"/>
                    </a:lnTo>
                    <a:lnTo>
                      <a:pt x="4848" y="1782"/>
                    </a:lnTo>
                    <a:lnTo>
                      <a:pt x="4848" y="1776"/>
                    </a:lnTo>
                    <a:lnTo>
                      <a:pt x="4842" y="1764"/>
                    </a:lnTo>
                    <a:lnTo>
                      <a:pt x="4842" y="1758"/>
                    </a:lnTo>
                    <a:lnTo>
                      <a:pt x="4848" y="1746"/>
                    </a:lnTo>
                    <a:lnTo>
                      <a:pt x="4842" y="1740"/>
                    </a:lnTo>
                    <a:lnTo>
                      <a:pt x="4836" y="1728"/>
                    </a:lnTo>
                    <a:lnTo>
                      <a:pt x="4830" y="1716"/>
                    </a:lnTo>
                    <a:lnTo>
                      <a:pt x="4818" y="1710"/>
                    </a:lnTo>
                    <a:lnTo>
                      <a:pt x="4806" y="1698"/>
                    </a:lnTo>
                    <a:lnTo>
                      <a:pt x="4794" y="1686"/>
                    </a:lnTo>
                    <a:lnTo>
                      <a:pt x="4776" y="1686"/>
                    </a:lnTo>
                    <a:lnTo>
                      <a:pt x="4758" y="1680"/>
                    </a:lnTo>
                    <a:lnTo>
                      <a:pt x="4746" y="1680"/>
                    </a:lnTo>
                    <a:lnTo>
                      <a:pt x="4728" y="1674"/>
                    </a:lnTo>
                    <a:lnTo>
                      <a:pt x="4710" y="1674"/>
                    </a:lnTo>
                    <a:lnTo>
                      <a:pt x="4698" y="1674"/>
                    </a:lnTo>
                    <a:lnTo>
                      <a:pt x="4686" y="1668"/>
                    </a:lnTo>
                    <a:lnTo>
                      <a:pt x="4680" y="1668"/>
                    </a:lnTo>
                    <a:lnTo>
                      <a:pt x="4668" y="1674"/>
                    </a:lnTo>
                    <a:lnTo>
                      <a:pt x="4656" y="1680"/>
                    </a:lnTo>
                    <a:lnTo>
                      <a:pt x="4644" y="1680"/>
                    </a:lnTo>
                    <a:lnTo>
                      <a:pt x="4638" y="1674"/>
                    </a:lnTo>
                    <a:lnTo>
                      <a:pt x="4632" y="1686"/>
                    </a:lnTo>
                    <a:lnTo>
                      <a:pt x="4626" y="1698"/>
                    </a:lnTo>
                    <a:lnTo>
                      <a:pt x="4620" y="1704"/>
                    </a:lnTo>
                    <a:lnTo>
                      <a:pt x="4608" y="1698"/>
                    </a:lnTo>
                    <a:lnTo>
                      <a:pt x="4596" y="1698"/>
                    </a:lnTo>
                    <a:lnTo>
                      <a:pt x="4590" y="1710"/>
                    </a:lnTo>
                    <a:lnTo>
                      <a:pt x="4572" y="1722"/>
                    </a:lnTo>
                    <a:lnTo>
                      <a:pt x="4572" y="1734"/>
                    </a:lnTo>
                    <a:lnTo>
                      <a:pt x="4560" y="1740"/>
                    </a:lnTo>
                    <a:lnTo>
                      <a:pt x="4554" y="1746"/>
                    </a:lnTo>
                    <a:lnTo>
                      <a:pt x="4536" y="1758"/>
                    </a:lnTo>
                    <a:lnTo>
                      <a:pt x="4530" y="1758"/>
                    </a:lnTo>
                    <a:lnTo>
                      <a:pt x="4530" y="1770"/>
                    </a:lnTo>
                    <a:lnTo>
                      <a:pt x="4524" y="1770"/>
                    </a:lnTo>
                    <a:lnTo>
                      <a:pt x="4512" y="1776"/>
                    </a:lnTo>
                    <a:lnTo>
                      <a:pt x="4506" y="1782"/>
                    </a:lnTo>
                    <a:lnTo>
                      <a:pt x="4500" y="1794"/>
                    </a:lnTo>
                    <a:lnTo>
                      <a:pt x="4488" y="1800"/>
                    </a:lnTo>
                    <a:lnTo>
                      <a:pt x="4476" y="1806"/>
                    </a:lnTo>
                    <a:lnTo>
                      <a:pt x="4476" y="1818"/>
                    </a:lnTo>
                    <a:lnTo>
                      <a:pt x="4476" y="1824"/>
                    </a:lnTo>
                    <a:lnTo>
                      <a:pt x="4476" y="1830"/>
                    </a:lnTo>
                    <a:lnTo>
                      <a:pt x="4482" y="1836"/>
                    </a:lnTo>
                    <a:lnTo>
                      <a:pt x="4482" y="1848"/>
                    </a:lnTo>
                    <a:lnTo>
                      <a:pt x="4470" y="1848"/>
                    </a:lnTo>
                    <a:lnTo>
                      <a:pt x="4464" y="1848"/>
                    </a:lnTo>
                    <a:lnTo>
                      <a:pt x="4452" y="1842"/>
                    </a:lnTo>
                    <a:lnTo>
                      <a:pt x="4446" y="1836"/>
                    </a:lnTo>
                    <a:lnTo>
                      <a:pt x="4434" y="1830"/>
                    </a:lnTo>
                    <a:lnTo>
                      <a:pt x="4428" y="1830"/>
                    </a:lnTo>
                    <a:lnTo>
                      <a:pt x="4422" y="1836"/>
                    </a:lnTo>
                    <a:lnTo>
                      <a:pt x="4410" y="1830"/>
                    </a:lnTo>
                    <a:lnTo>
                      <a:pt x="4398" y="1824"/>
                    </a:lnTo>
                    <a:lnTo>
                      <a:pt x="4392" y="1830"/>
                    </a:lnTo>
                    <a:lnTo>
                      <a:pt x="4392" y="1836"/>
                    </a:lnTo>
                    <a:lnTo>
                      <a:pt x="4392" y="1842"/>
                    </a:lnTo>
                    <a:lnTo>
                      <a:pt x="4398" y="1842"/>
                    </a:lnTo>
                    <a:lnTo>
                      <a:pt x="4404" y="1848"/>
                    </a:lnTo>
                    <a:lnTo>
                      <a:pt x="4398" y="1860"/>
                    </a:lnTo>
                    <a:lnTo>
                      <a:pt x="4386" y="1866"/>
                    </a:lnTo>
                    <a:lnTo>
                      <a:pt x="4386" y="1878"/>
                    </a:lnTo>
                    <a:lnTo>
                      <a:pt x="4392" y="1884"/>
                    </a:lnTo>
                    <a:lnTo>
                      <a:pt x="4404" y="1884"/>
                    </a:lnTo>
                    <a:lnTo>
                      <a:pt x="4410" y="1890"/>
                    </a:lnTo>
                    <a:lnTo>
                      <a:pt x="4410" y="1896"/>
                    </a:lnTo>
                    <a:lnTo>
                      <a:pt x="4404" y="1902"/>
                    </a:lnTo>
                    <a:lnTo>
                      <a:pt x="4392" y="1908"/>
                    </a:lnTo>
                    <a:lnTo>
                      <a:pt x="4380" y="1914"/>
                    </a:lnTo>
                    <a:lnTo>
                      <a:pt x="4374" y="1914"/>
                    </a:lnTo>
                    <a:lnTo>
                      <a:pt x="4362" y="1914"/>
                    </a:lnTo>
                    <a:lnTo>
                      <a:pt x="4344" y="1914"/>
                    </a:lnTo>
                    <a:lnTo>
                      <a:pt x="4332" y="1914"/>
                    </a:lnTo>
                    <a:lnTo>
                      <a:pt x="4326" y="1914"/>
                    </a:lnTo>
                    <a:lnTo>
                      <a:pt x="4314" y="1920"/>
                    </a:lnTo>
                    <a:lnTo>
                      <a:pt x="4296" y="1920"/>
                    </a:lnTo>
                    <a:lnTo>
                      <a:pt x="4278" y="1920"/>
                    </a:lnTo>
                    <a:lnTo>
                      <a:pt x="4266" y="1914"/>
                    </a:lnTo>
                    <a:lnTo>
                      <a:pt x="4248" y="1914"/>
                    </a:lnTo>
                    <a:lnTo>
                      <a:pt x="4236" y="1908"/>
                    </a:lnTo>
                    <a:lnTo>
                      <a:pt x="4218" y="1908"/>
                    </a:lnTo>
                    <a:lnTo>
                      <a:pt x="4200" y="1902"/>
                    </a:lnTo>
                    <a:lnTo>
                      <a:pt x="4188" y="1902"/>
                    </a:lnTo>
                    <a:lnTo>
                      <a:pt x="4170" y="1896"/>
                    </a:lnTo>
                    <a:lnTo>
                      <a:pt x="4164" y="1890"/>
                    </a:lnTo>
                    <a:lnTo>
                      <a:pt x="4152" y="1878"/>
                    </a:lnTo>
                    <a:lnTo>
                      <a:pt x="4146" y="1872"/>
                    </a:lnTo>
                    <a:lnTo>
                      <a:pt x="4134" y="1860"/>
                    </a:lnTo>
                    <a:lnTo>
                      <a:pt x="4128" y="1854"/>
                    </a:lnTo>
                    <a:lnTo>
                      <a:pt x="4128" y="1842"/>
                    </a:lnTo>
                    <a:lnTo>
                      <a:pt x="4122" y="1830"/>
                    </a:lnTo>
                    <a:lnTo>
                      <a:pt x="4122" y="1824"/>
                    </a:lnTo>
                    <a:lnTo>
                      <a:pt x="4110" y="1812"/>
                    </a:lnTo>
                    <a:lnTo>
                      <a:pt x="4098" y="1812"/>
                    </a:lnTo>
                    <a:lnTo>
                      <a:pt x="4080" y="1818"/>
                    </a:lnTo>
                    <a:lnTo>
                      <a:pt x="4068" y="1812"/>
                    </a:lnTo>
                    <a:lnTo>
                      <a:pt x="4068" y="1806"/>
                    </a:lnTo>
                    <a:lnTo>
                      <a:pt x="4056" y="1806"/>
                    </a:lnTo>
                    <a:lnTo>
                      <a:pt x="4056" y="1794"/>
                    </a:lnTo>
                    <a:lnTo>
                      <a:pt x="4050" y="1794"/>
                    </a:lnTo>
                    <a:lnTo>
                      <a:pt x="4044" y="1788"/>
                    </a:lnTo>
                    <a:lnTo>
                      <a:pt x="4044" y="1776"/>
                    </a:lnTo>
                    <a:lnTo>
                      <a:pt x="4038" y="1770"/>
                    </a:lnTo>
                    <a:lnTo>
                      <a:pt x="4038" y="1758"/>
                    </a:lnTo>
                    <a:lnTo>
                      <a:pt x="4032" y="1752"/>
                    </a:lnTo>
                    <a:lnTo>
                      <a:pt x="4026" y="1758"/>
                    </a:lnTo>
                    <a:lnTo>
                      <a:pt x="4032" y="1740"/>
                    </a:lnTo>
                    <a:lnTo>
                      <a:pt x="4026" y="1746"/>
                    </a:lnTo>
                    <a:lnTo>
                      <a:pt x="4020" y="1740"/>
                    </a:lnTo>
                    <a:lnTo>
                      <a:pt x="4020" y="1746"/>
                    </a:lnTo>
                    <a:lnTo>
                      <a:pt x="4014" y="1752"/>
                    </a:lnTo>
                    <a:lnTo>
                      <a:pt x="4008" y="1740"/>
                    </a:lnTo>
                    <a:lnTo>
                      <a:pt x="4002" y="1740"/>
                    </a:lnTo>
                    <a:lnTo>
                      <a:pt x="3996" y="1734"/>
                    </a:lnTo>
                    <a:lnTo>
                      <a:pt x="3990" y="1728"/>
                    </a:lnTo>
                    <a:lnTo>
                      <a:pt x="3996" y="1722"/>
                    </a:lnTo>
                    <a:lnTo>
                      <a:pt x="3996" y="1716"/>
                    </a:lnTo>
                    <a:lnTo>
                      <a:pt x="4002" y="1710"/>
                    </a:lnTo>
                    <a:lnTo>
                      <a:pt x="4008" y="1716"/>
                    </a:lnTo>
                    <a:lnTo>
                      <a:pt x="4014" y="1710"/>
                    </a:lnTo>
                    <a:lnTo>
                      <a:pt x="4020" y="1704"/>
                    </a:lnTo>
                    <a:lnTo>
                      <a:pt x="4020" y="1698"/>
                    </a:lnTo>
                    <a:lnTo>
                      <a:pt x="4026" y="1692"/>
                    </a:lnTo>
                    <a:lnTo>
                      <a:pt x="4020" y="1686"/>
                    </a:lnTo>
                    <a:lnTo>
                      <a:pt x="4020" y="1674"/>
                    </a:lnTo>
                    <a:lnTo>
                      <a:pt x="4014" y="1668"/>
                    </a:lnTo>
                    <a:lnTo>
                      <a:pt x="4014" y="1662"/>
                    </a:lnTo>
                    <a:lnTo>
                      <a:pt x="4008" y="1650"/>
                    </a:lnTo>
                    <a:lnTo>
                      <a:pt x="4008" y="1644"/>
                    </a:lnTo>
                    <a:lnTo>
                      <a:pt x="4008" y="1632"/>
                    </a:lnTo>
                    <a:lnTo>
                      <a:pt x="4002" y="1632"/>
                    </a:lnTo>
                    <a:lnTo>
                      <a:pt x="4002" y="1626"/>
                    </a:lnTo>
                    <a:lnTo>
                      <a:pt x="3996" y="1620"/>
                    </a:lnTo>
                    <a:lnTo>
                      <a:pt x="3990" y="1614"/>
                    </a:lnTo>
                    <a:lnTo>
                      <a:pt x="3990" y="1608"/>
                    </a:lnTo>
                    <a:lnTo>
                      <a:pt x="3996" y="1596"/>
                    </a:lnTo>
                    <a:lnTo>
                      <a:pt x="3990" y="1596"/>
                    </a:lnTo>
                    <a:lnTo>
                      <a:pt x="3984" y="1602"/>
                    </a:lnTo>
                    <a:lnTo>
                      <a:pt x="3978" y="1596"/>
                    </a:lnTo>
                    <a:lnTo>
                      <a:pt x="3972" y="1590"/>
                    </a:lnTo>
                    <a:lnTo>
                      <a:pt x="3972" y="1584"/>
                    </a:lnTo>
                    <a:lnTo>
                      <a:pt x="3966" y="1578"/>
                    </a:lnTo>
                    <a:lnTo>
                      <a:pt x="3966" y="1572"/>
                    </a:lnTo>
                    <a:lnTo>
                      <a:pt x="3960" y="1566"/>
                    </a:lnTo>
                    <a:lnTo>
                      <a:pt x="3960" y="1560"/>
                    </a:lnTo>
                    <a:lnTo>
                      <a:pt x="3960" y="1548"/>
                    </a:lnTo>
                    <a:lnTo>
                      <a:pt x="3954" y="1542"/>
                    </a:lnTo>
                    <a:lnTo>
                      <a:pt x="3960" y="1536"/>
                    </a:lnTo>
                    <a:lnTo>
                      <a:pt x="3960" y="1530"/>
                    </a:lnTo>
                    <a:lnTo>
                      <a:pt x="3960" y="1524"/>
                    </a:lnTo>
                    <a:lnTo>
                      <a:pt x="3954" y="1524"/>
                    </a:lnTo>
                    <a:lnTo>
                      <a:pt x="3954" y="1518"/>
                    </a:lnTo>
                    <a:lnTo>
                      <a:pt x="3948" y="1518"/>
                    </a:lnTo>
                    <a:lnTo>
                      <a:pt x="3954" y="1512"/>
                    </a:lnTo>
                    <a:lnTo>
                      <a:pt x="3948" y="1506"/>
                    </a:lnTo>
                    <a:lnTo>
                      <a:pt x="3954" y="1500"/>
                    </a:lnTo>
                    <a:lnTo>
                      <a:pt x="3954" y="1494"/>
                    </a:lnTo>
                    <a:lnTo>
                      <a:pt x="3948" y="1494"/>
                    </a:lnTo>
                    <a:lnTo>
                      <a:pt x="3942" y="1488"/>
                    </a:lnTo>
                    <a:lnTo>
                      <a:pt x="3942" y="1482"/>
                    </a:lnTo>
                    <a:lnTo>
                      <a:pt x="3936" y="1476"/>
                    </a:lnTo>
                    <a:lnTo>
                      <a:pt x="3930" y="1470"/>
                    </a:lnTo>
                    <a:lnTo>
                      <a:pt x="3930" y="1464"/>
                    </a:lnTo>
                    <a:lnTo>
                      <a:pt x="3930" y="1458"/>
                    </a:lnTo>
                    <a:lnTo>
                      <a:pt x="3924" y="1458"/>
                    </a:lnTo>
                    <a:lnTo>
                      <a:pt x="3924" y="1452"/>
                    </a:lnTo>
                    <a:lnTo>
                      <a:pt x="3924" y="1446"/>
                    </a:lnTo>
                    <a:lnTo>
                      <a:pt x="3918" y="1440"/>
                    </a:lnTo>
                    <a:lnTo>
                      <a:pt x="3918" y="1434"/>
                    </a:lnTo>
                    <a:lnTo>
                      <a:pt x="3918" y="1428"/>
                    </a:lnTo>
                    <a:lnTo>
                      <a:pt x="3912" y="1416"/>
                    </a:lnTo>
                    <a:lnTo>
                      <a:pt x="3918" y="1410"/>
                    </a:lnTo>
                    <a:lnTo>
                      <a:pt x="3918" y="1404"/>
                    </a:lnTo>
                    <a:lnTo>
                      <a:pt x="3912" y="1404"/>
                    </a:lnTo>
                    <a:lnTo>
                      <a:pt x="3912" y="1398"/>
                    </a:lnTo>
                    <a:lnTo>
                      <a:pt x="3912" y="1392"/>
                    </a:lnTo>
                    <a:lnTo>
                      <a:pt x="3912" y="1386"/>
                    </a:lnTo>
                    <a:lnTo>
                      <a:pt x="3912" y="1374"/>
                    </a:lnTo>
                    <a:lnTo>
                      <a:pt x="3918" y="1368"/>
                    </a:lnTo>
                    <a:lnTo>
                      <a:pt x="3918" y="1362"/>
                    </a:lnTo>
                    <a:lnTo>
                      <a:pt x="3912" y="1356"/>
                    </a:lnTo>
                    <a:lnTo>
                      <a:pt x="3918" y="1350"/>
                    </a:lnTo>
                    <a:lnTo>
                      <a:pt x="3912" y="1344"/>
                    </a:lnTo>
                    <a:lnTo>
                      <a:pt x="3912" y="1338"/>
                    </a:lnTo>
                    <a:lnTo>
                      <a:pt x="3912" y="1332"/>
                    </a:lnTo>
                    <a:lnTo>
                      <a:pt x="3912" y="1326"/>
                    </a:lnTo>
                    <a:lnTo>
                      <a:pt x="3918" y="1320"/>
                    </a:lnTo>
                    <a:lnTo>
                      <a:pt x="3912" y="1320"/>
                    </a:lnTo>
                    <a:lnTo>
                      <a:pt x="3918" y="1314"/>
                    </a:lnTo>
                    <a:lnTo>
                      <a:pt x="3906" y="1314"/>
                    </a:lnTo>
                    <a:lnTo>
                      <a:pt x="3912" y="1308"/>
                    </a:lnTo>
                    <a:lnTo>
                      <a:pt x="3912" y="1302"/>
                    </a:lnTo>
                    <a:lnTo>
                      <a:pt x="3906" y="1302"/>
                    </a:lnTo>
                    <a:lnTo>
                      <a:pt x="3900" y="1302"/>
                    </a:lnTo>
                    <a:lnTo>
                      <a:pt x="3906" y="1296"/>
                    </a:lnTo>
                    <a:lnTo>
                      <a:pt x="3900" y="1290"/>
                    </a:lnTo>
                    <a:lnTo>
                      <a:pt x="3894" y="1302"/>
                    </a:lnTo>
                    <a:lnTo>
                      <a:pt x="3894" y="1296"/>
                    </a:lnTo>
                    <a:lnTo>
                      <a:pt x="3888" y="1296"/>
                    </a:lnTo>
                    <a:lnTo>
                      <a:pt x="3888" y="1290"/>
                    </a:lnTo>
                    <a:lnTo>
                      <a:pt x="3888" y="1284"/>
                    </a:lnTo>
                    <a:lnTo>
                      <a:pt x="3888" y="1272"/>
                    </a:lnTo>
                    <a:lnTo>
                      <a:pt x="3894" y="1272"/>
                    </a:lnTo>
                    <a:lnTo>
                      <a:pt x="3894" y="1266"/>
                    </a:lnTo>
                    <a:lnTo>
                      <a:pt x="3900" y="1266"/>
                    </a:lnTo>
                    <a:lnTo>
                      <a:pt x="3906" y="1260"/>
                    </a:lnTo>
                    <a:lnTo>
                      <a:pt x="3900" y="1260"/>
                    </a:lnTo>
                    <a:lnTo>
                      <a:pt x="3894" y="1260"/>
                    </a:lnTo>
                    <a:lnTo>
                      <a:pt x="3894" y="1254"/>
                    </a:lnTo>
                    <a:lnTo>
                      <a:pt x="3894" y="1248"/>
                    </a:lnTo>
                    <a:lnTo>
                      <a:pt x="3894" y="1242"/>
                    </a:lnTo>
                    <a:lnTo>
                      <a:pt x="3900" y="1242"/>
                    </a:lnTo>
                    <a:lnTo>
                      <a:pt x="3900" y="1236"/>
                    </a:lnTo>
                    <a:lnTo>
                      <a:pt x="3906" y="1242"/>
                    </a:lnTo>
                    <a:lnTo>
                      <a:pt x="3912" y="1230"/>
                    </a:lnTo>
                    <a:lnTo>
                      <a:pt x="3912" y="1236"/>
                    </a:lnTo>
                    <a:lnTo>
                      <a:pt x="3918" y="1224"/>
                    </a:lnTo>
                    <a:lnTo>
                      <a:pt x="3912" y="1224"/>
                    </a:lnTo>
                    <a:lnTo>
                      <a:pt x="3918" y="1218"/>
                    </a:lnTo>
                    <a:lnTo>
                      <a:pt x="3918" y="1212"/>
                    </a:lnTo>
                    <a:lnTo>
                      <a:pt x="3918" y="1206"/>
                    </a:lnTo>
                    <a:lnTo>
                      <a:pt x="3918" y="1200"/>
                    </a:lnTo>
                    <a:lnTo>
                      <a:pt x="3912" y="1206"/>
                    </a:lnTo>
                    <a:lnTo>
                      <a:pt x="3906" y="1200"/>
                    </a:lnTo>
                    <a:lnTo>
                      <a:pt x="3912" y="1194"/>
                    </a:lnTo>
                    <a:lnTo>
                      <a:pt x="3912" y="1188"/>
                    </a:lnTo>
                    <a:lnTo>
                      <a:pt x="3900" y="1188"/>
                    </a:lnTo>
                    <a:lnTo>
                      <a:pt x="3906" y="1182"/>
                    </a:lnTo>
                    <a:lnTo>
                      <a:pt x="3906" y="1176"/>
                    </a:lnTo>
                    <a:lnTo>
                      <a:pt x="3912" y="1176"/>
                    </a:lnTo>
                    <a:lnTo>
                      <a:pt x="3906" y="1176"/>
                    </a:lnTo>
                    <a:lnTo>
                      <a:pt x="3912" y="1170"/>
                    </a:lnTo>
                    <a:lnTo>
                      <a:pt x="3906" y="1170"/>
                    </a:lnTo>
                    <a:lnTo>
                      <a:pt x="3912" y="1164"/>
                    </a:lnTo>
                    <a:lnTo>
                      <a:pt x="3912" y="1158"/>
                    </a:lnTo>
                    <a:lnTo>
                      <a:pt x="3912" y="1152"/>
                    </a:lnTo>
                    <a:lnTo>
                      <a:pt x="3918" y="1152"/>
                    </a:lnTo>
                    <a:lnTo>
                      <a:pt x="3924" y="1152"/>
                    </a:lnTo>
                    <a:lnTo>
                      <a:pt x="3918" y="1146"/>
                    </a:lnTo>
                    <a:lnTo>
                      <a:pt x="3912" y="1146"/>
                    </a:lnTo>
                    <a:lnTo>
                      <a:pt x="3918" y="1140"/>
                    </a:lnTo>
                    <a:lnTo>
                      <a:pt x="3912" y="1134"/>
                    </a:lnTo>
                    <a:lnTo>
                      <a:pt x="3924" y="1134"/>
                    </a:lnTo>
                    <a:lnTo>
                      <a:pt x="3930" y="1128"/>
                    </a:lnTo>
                    <a:lnTo>
                      <a:pt x="3924" y="1122"/>
                    </a:lnTo>
                    <a:lnTo>
                      <a:pt x="3924" y="1116"/>
                    </a:lnTo>
                    <a:lnTo>
                      <a:pt x="3924" y="1110"/>
                    </a:lnTo>
                    <a:lnTo>
                      <a:pt x="3918" y="1110"/>
                    </a:lnTo>
                    <a:lnTo>
                      <a:pt x="3912" y="1110"/>
                    </a:lnTo>
                    <a:lnTo>
                      <a:pt x="3918" y="1098"/>
                    </a:lnTo>
                    <a:lnTo>
                      <a:pt x="3912" y="1098"/>
                    </a:lnTo>
                    <a:lnTo>
                      <a:pt x="3912" y="1086"/>
                    </a:lnTo>
                    <a:lnTo>
                      <a:pt x="3906" y="1086"/>
                    </a:lnTo>
                    <a:lnTo>
                      <a:pt x="3906" y="1092"/>
                    </a:lnTo>
                    <a:lnTo>
                      <a:pt x="3900" y="1080"/>
                    </a:lnTo>
                    <a:lnTo>
                      <a:pt x="3894" y="1080"/>
                    </a:lnTo>
                    <a:lnTo>
                      <a:pt x="3894" y="1074"/>
                    </a:lnTo>
                    <a:lnTo>
                      <a:pt x="3888" y="1080"/>
                    </a:lnTo>
                    <a:lnTo>
                      <a:pt x="3888" y="1068"/>
                    </a:lnTo>
                    <a:lnTo>
                      <a:pt x="3888" y="1062"/>
                    </a:lnTo>
                    <a:lnTo>
                      <a:pt x="3894" y="1062"/>
                    </a:lnTo>
                    <a:lnTo>
                      <a:pt x="3894" y="1056"/>
                    </a:lnTo>
                    <a:lnTo>
                      <a:pt x="3888" y="1050"/>
                    </a:lnTo>
                    <a:lnTo>
                      <a:pt x="3888" y="1038"/>
                    </a:lnTo>
                    <a:lnTo>
                      <a:pt x="3888" y="1032"/>
                    </a:lnTo>
                    <a:lnTo>
                      <a:pt x="3888" y="1026"/>
                    </a:lnTo>
                    <a:lnTo>
                      <a:pt x="3882" y="1020"/>
                    </a:lnTo>
                    <a:lnTo>
                      <a:pt x="3888" y="1020"/>
                    </a:lnTo>
                    <a:lnTo>
                      <a:pt x="3888" y="1014"/>
                    </a:lnTo>
                    <a:lnTo>
                      <a:pt x="3888" y="1008"/>
                    </a:lnTo>
                    <a:lnTo>
                      <a:pt x="3888" y="1002"/>
                    </a:lnTo>
                    <a:lnTo>
                      <a:pt x="3888" y="990"/>
                    </a:lnTo>
                    <a:lnTo>
                      <a:pt x="3882" y="984"/>
                    </a:lnTo>
                    <a:lnTo>
                      <a:pt x="3882" y="978"/>
                    </a:lnTo>
                    <a:lnTo>
                      <a:pt x="3882" y="972"/>
                    </a:lnTo>
                    <a:lnTo>
                      <a:pt x="3876" y="966"/>
                    </a:lnTo>
                    <a:lnTo>
                      <a:pt x="3876" y="954"/>
                    </a:lnTo>
                    <a:lnTo>
                      <a:pt x="3870" y="948"/>
                    </a:lnTo>
                    <a:lnTo>
                      <a:pt x="3870" y="942"/>
                    </a:lnTo>
                    <a:lnTo>
                      <a:pt x="3864" y="954"/>
                    </a:lnTo>
                    <a:lnTo>
                      <a:pt x="3858" y="942"/>
                    </a:lnTo>
                    <a:lnTo>
                      <a:pt x="3858" y="948"/>
                    </a:lnTo>
                    <a:lnTo>
                      <a:pt x="3852" y="936"/>
                    </a:lnTo>
                    <a:lnTo>
                      <a:pt x="3852" y="930"/>
                    </a:lnTo>
                    <a:lnTo>
                      <a:pt x="3846" y="930"/>
                    </a:lnTo>
                    <a:lnTo>
                      <a:pt x="3846" y="918"/>
                    </a:lnTo>
                    <a:lnTo>
                      <a:pt x="3840" y="924"/>
                    </a:lnTo>
                    <a:lnTo>
                      <a:pt x="3840" y="912"/>
                    </a:lnTo>
                    <a:lnTo>
                      <a:pt x="3828" y="912"/>
                    </a:lnTo>
                    <a:lnTo>
                      <a:pt x="3834" y="906"/>
                    </a:lnTo>
                    <a:lnTo>
                      <a:pt x="3828" y="906"/>
                    </a:lnTo>
                    <a:lnTo>
                      <a:pt x="3834" y="894"/>
                    </a:lnTo>
                    <a:lnTo>
                      <a:pt x="3828" y="894"/>
                    </a:lnTo>
                    <a:lnTo>
                      <a:pt x="3822" y="894"/>
                    </a:lnTo>
                    <a:lnTo>
                      <a:pt x="3816" y="894"/>
                    </a:lnTo>
                    <a:lnTo>
                      <a:pt x="3816" y="888"/>
                    </a:lnTo>
                    <a:lnTo>
                      <a:pt x="3822" y="882"/>
                    </a:lnTo>
                    <a:lnTo>
                      <a:pt x="3816" y="882"/>
                    </a:lnTo>
                    <a:lnTo>
                      <a:pt x="3816" y="876"/>
                    </a:lnTo>
                    <a:lnTo>
                      <a:pt x="3810" y="882"/>
                    </a:lnTo>
                    <a:lnTo>
                      <a:pt x="3804" y="876"/>
                    </a:lnTo>
                    <a:lnTo>
                      <a:pt x="3804" y="870"/>
                    </a:lnTo>
                    <a:lnTo>
                      <a:pt x="3798" y="876"/>
                    </a:lnTo>
                    <a:lnTo>
                      <a:pt x="3792" y="870"/>
                    </a:lnTo>
                    <a:lnTo>
                      <a:pt x="3786" y="858"/>
                    </a:lnTo>
                    <a:lnTo>
                      <a:pt x="3786" y="864"/>
                    </a:lnTo>
                    <a:lnTo>
                      <a:pt x="3786" y="852"/>
                    </a:lnTo>
                    <a:lnTo>
                      <a:pt x="3780" y="846"/>
                    </a:lnTo>
                    <a:lnTo>
                      <a:pt x="3786" y="846"/>
                    </a:lnTo>
                    <a:lnTo>
                      <a:pt x="3786" y="834"/>
                    </a:lnTo>
                    <a:lnTo>
                      <a:pt x="3780" y="834"/>
                    </a:lnTo>
                    <a:lnTo>
                      <a:pt x="3774" y="828"/>
                    </a:lnTo>
                    <a:lnTo>
                      <a:pt x="3768" y="822"/>
                    </a:lnTo>
                    <a:lnTo>
                      <a:pt x="3774" y="816"/>
                    </a:lnTo>
                    <a:lnTo>
                      <a:pt x="3768" y="810"/>
                    </a:lnTo>
                    <a:lnTo>
                      <a:pt x="3762" y="810"/>
                    </a:lnTo>
                    <a:lnTo>
                      <a:pt x="3762" y="816"/>
                    </a:lnTo>
                    <a:lnTo>
                      <a:pt x="3756" y="810"/>
                    </a:lnTo>
                    <a:lnTo>
                      <a:pt x="3756" y="804"/>
                    </a:lnTo>
                    <a:lnTo>
                      <a:pt x="3762" y="804"/>
                    </a:lnTo>
                    <a:lnTo>
                      <a:pt x="3768" y="798"/>
                    </a:lnTo>
                    <a:lnTo>
                      <a:pt x="3768" y="792"/>
                    </a:lnTo>
                    <a:lnTo>
                      <a:pt x="3762" y="792"/>
                    </a:lnTo>
                    <a:lnTo>
                      <a:pt x="3762" y="786"/>
                    </a:lnTo>
                    <a:lnTo>
                      <a:pt x="3756" y="786"/>
                    </a:lnTo>
                    <a:lnTo>
                      <a:pt x="3750" y="786"/>
                    </a:lnTo>
                    <a:lnTo>
                      <a:pt x="3750" y="780"/>
                    </a:lnTo>
                    <a:lnTo>
                      <a:pt x="3756" y="774"/>
                    </a:lnTo>
                    <a:lnTo>
                      <a:pt x="3750" y="774"/>
                    </a:lnTo>
                    <a:lnTo>
                      <a:pt x="3750" y="768"/>
                    </a:lnTo>
                    <a:lnTo>
                      <a:pt x="3744" y="768"/>
                    </a:lnTo>
                    <a:lnTo>
                      <a:pt x="3744" y="762"/>
                    </a:lnTo>
                    <a:lnTo>
                      <a:pt x="3744" y="756"/>
                    </a:lnTo>
                    <a:lnTo>
                      <a:pt x="3750" y="756"/>
                    </a:lnTo>
                    <a:lnTo>
                      <a:pt x="3750" y="750"/>
                    </a:lnTo>
                    <a:lnTo>
                      <a:pt x="3744" y="750"/>
                    </a:lnTo>
                    <a:lnTo>
                      <a:pt x="3738" y="750"/>
                    </a:lnTo>
                    <a:lnTo>
                      <a:pt x="3738" y="744"/>
                    </a:lnTo>
                    <a:lnTo>
                      <a:pt x="3732" y="744"/>
                    </a:lnTo>
                    <a:lnTo>
                      <a:pt x="3726" y="744"/>
                    </a:lnTo>
                    <a:lnTo>
                      <a:pt x="3720" y="738"/>
                    </a:lnTo>
                    <a:lnTo>
                      <a:pt x="3720" y="744"/>
                    </a:lnTo>
                    <a:lnTo>
                      <a:pt x="3714" y="738"/>
                    </a:lnTo>
                    <a:lnTo>
                      <a:pt x="3708" y="738"/>
                    </a:lnTo>
                    <a:lnTo>
                      <a:pt x="3714" y="732"/>
                    </a:lnTo>
                    <a:lnTo>
                      <a:pt x="3720" y="732"/>
                    </a:lnTo>
                    <a:lnTo>
                      <a:pt x="3714" y="726"/>
                    </a:lnTo>
                    <a:lnTo>
                      <a:pt x="3708" y="726"/>
                    </a:lnTo>
                    <a:lnTo>
                      <a:pt x="3702" y="732"/>
                    </a:lnTo>
                    <a:lnTo>
                      <a:pt x="3690" y="732"/>
                    </a:lnTo>
                    <a:lnTo>
                      <a:pt x="3690" y="726"/>
                    </a:lnTo>
                    <a:lnTo>
                      <a:pt x="3684" y="732"/>
                    </a:lnTo>
                    <a:lnTo>
                      <a:pt x="3678" y="732"/>
                    </a:lnTo>
                    <a:lnTo>
                      <a:pt x="3672" y="726"/>
                    </a:lnTo>
                    <a:lnTo>
                      <a:pt x="3666" y="732"/>
                    </a:lnTo>
                    <a:lnTo>
                      <a:pt x="3666" y="726"/>
                    </a:lnTo>
                    <a:lnTo>
                      <a:pt x="3660" y="726"/>
                    </a:lnTo>
                    <a:lnTo>
                      <a:pt x="3666" y="720"/>
                    </a:lnTo>
                    <a:lnTo>
                      <a:pt x="3666" y="714"/>
                    </a:lnTo>
                    <a:lnTo>
                      <a:pt x="3660" y="720"/>
                    </a:lnTo>
                    <a:lnTo>
                      <a:pt x="3654" y="714"/>
                    </a:lnTo>
                    <a:lnTo>
                      <a:pt x="3654" y="720"/>
                    </a:lnTo>
                    <a:lnTo>
                      <a:pt x="3648" y="714"/>
                    </a:lnTo>
                    <a:lnTo>
                      <a:pt x="3642" y="720"/>
                    </a:lnTo>
                    <a:lnTo>
                      <a:pt x="3636" y="714"/>
                    </a:lnTo>
                    <a:lnTo>
                      <a:pt x="3630" y="708"/>
                    </a:lnTo>
                    <a:lnTo>
                      <a:pt x="3624" y="708"/>
                    </a:lnTo>
                    <a:lnTo>
                      <a:pt x="3618" y="696"/>
                    </a:lnTo>
                    <a:lnTo>
                      <a:pt x="3612" y="702"/>
                    </a:lnTo>
                    <a:lnTo>
                      <a:pt x="3618" y="690"/>
                    </a:lnTo>
                    <a:lnTo>
                      <a:pt x="3606" y="696"/>
                    </a:lnTo>
                    <a:lnTo>
                      <a:pt x="3600" y="690"/>
                    </a:lnTo>
                    <a:lnTo>
                      <a:pt x="3594" y="696"/>
                    </a:lnTo>
                    <a:lnTo>
                      <a:pt x="3588" y="690"/>
                    </a:lnTo>
                    <a:lnTo>
                      <a:pt x="3594" y="690"/>
                    </a:lnTo>
                    <a:lnTo>
                      <a:pt x="3594" y="684"/>
                    </a:lnTo>
                    <a:lnTo>
                      <a:pt x="3600" y="684"/>
                    </a:lnTo>
                    <a:lnTo>
                      <a:pt x="3594" y="678"/>
                    </a:lnTo>
                    <a:lnTo>
                      <a:pt x="3588" y="678"/>
                    </a:lnTo>
                    <a:lnTo>
                      <a:pt x="3582" y="684"/>
                    </a:lnTo>
                    <a:lnTo>
                      <a:pt x="3576" y="678"/>
                    </a:lnTo>
                    <a:lnTo>
                      <a:pt x="3564" y="684"/>
                    </a:lnTo>
                    <a:lnTo>
                      <a:pt x="3564" y="678"/>
                    </a:lnTo>
                    <a:lnTo>
                      <a:pt x="3570" y="678"/>
                    </a:lnTo>
                    <a:lnTo>
                      <a:pt x="3570" y="672"/>
                    </a:lnTo>
                    <a:lnTo>
                      <a:pt x="3564" y="672"/>
                    </a:lnTo>
                    <a:lnTo>
                      <a:pt x="3576" y="672"/>
                    </a:lnTo>
                    <a:lnTo>
                      <a:pt x="3576" y="666"/>
                    </a:lnTo>
                    <a:lnTo>
                      <a:pt x="3576" y="660"/>
                    </a:lnTo>
                    <a:lnTo>
                      <a:pt x="3570" y="660"/>
                    </a:lnTo>
                    <a:lnTo>
                      <a:pt x="3570" y="654"/>
                    </a:lnTo>
                    <a:lnTo>
                      <a:pt x="3564" y="642"/>
                    </a:lnTo>
                    <a:lnTo>
                      <a:pt x="3558" y="648"/>
                    </a:lnTo>
                    <a:lnTo>
                      <a:pt x="3558" y="642"/>
                    </a:lnTo>
                    <a:lnTo>
                      <a:pt x="3552" y="636"/>
                    </a:lnTo>
                    <a:lnTo>
                      <a:pt x="3552" y="630"/>
                    </a:lnTo>
                    <a:lnTo>
                      <a:pt x="3546" y="630"/>
                    </a:lnTo>
                    <a:lnTo>
                      <a:pt x="3546" y="624"/>
                    </a:lnTo>
                    <a:lnTo>
                      <a:pt x="3546" y="618"/>
                    </a:lnTo>
                    <a:lnTo>
                      <a:pt x="3540" y="618"/>
                    </a:lnTo>
                    <a:lnTo>
                      <a:pt x="3534" y="618"/>
                    </a:lnTo>
                    <a:lnTo>
                      <a:pt x="3528" y="618"/>
                    </a:lnTo>
                    <a:lnTo>
                      <a:pt x="3528" y="612"/>
                    </a:lnTo>
                    <a:lnTo>
                      <a:pt x="3534" y="606"/>
                    </a:lnTo>
                    <a:lnTo>
                      <a:pt x="3528" y="606"/>
                    </a:lnTo>
                    <a:lnTo>
                      <a:pt x="3534" y="600"/>
                    </a:lnTo>
                    <a:lnTo>
                      <a:pt x="3528" y="600"/>
                    </a:lnTo>
                    <a:lnTo>
                      <a:pt x="3522" y="588"/>
                    </a:lnTo>
                    <a:lnTo>
                      <a:pt x="3522" y="594"/>
                    </a:lnTo>
                    <a:lnTo>
                      <a:pt x="3516" y="582"/>
                    </a:lnTo>
                    <a:lnTo>
                      <a:pt x="3510" y="582"/>
                    </a:lnTo>
                    <a:lnTo>
                      <a:pt x="3504" y="582"/>
                    </a:lnTo>
                    <a:lnTo>
                      <a:pt x="3498" y="588"/>
                    </a:lnTo>
                    <a:lnTo>
                      <a:pt x="3492" y="588"/>
                    </a:lnTo>
                    <a:lnTo>
                      <a:pt x="3492" y="594"/>
                    </a:lnTo>
                    <a:lnTo>
                      <a:pt x="3492" y="582"/>
                    </a:lnTo>
                    <a:lnTo>
                      <a:pt x="3486" y="582"/>
                    </a:lnTo>
                    <a:lnTo>
                      <a:pt x="3486" y="576"/>
                    </a:lnTo>
                    <a:lnTo>
                      <a:pt x="3486" y="582"/>
                    </a:lnTo>
                    <a:lnTo>
                      <a:pt x="3480" y="582"/>
                    </a:lnTo>
                    <a:lnTo>
                      <a:pt x="3474" y="582"/>
                    </a:lnTo>
                    <a:lnTo>
                      <a:pt x="3468" y="588"/>
                    </a:lnTo>
                    <a:lnTo>
                      <a:pt x="3468" y="582"/>
                    </a:lnTo>
                    <a:lnTo>
                      <a:pt x="3462" y="576"/>
                    </a:lnTo>
                    <a:lnTo>
                      <a:pt x="3462" y="582"/>
                    </a:lnTo>
                    <a:lnTo>
                      <a:pt x="3456" y="570"/>
                    </a:lnTo>
                    <a:lnTo>
                      <a:pt x="3450" y="582"/>
                    </a:lnTo>
                    <a:lnTo>
                      <a:pt x="3444" y="570"/>
                    </a:lnTo>
                    <a:lnTo>
                      <a:pt x="3444" y="582"/>
                    </a:lnTo>
                    <a:lnTo>
                      <a:pt x="3438" y="576"/>
                    </a:lnTo>
                    <a:lnTo>
                      <a:pt x="3438" y="570"/>
                    </a:lnTo>
                    <a:lnTo>
                      <a:pt x="3450" y="558"/>
                    </a:lnTo>
                    <a:lnTo>
                      <a:pt x="3444" y="552"/>
                    </a:lnTo>
                    <a:lnTo>
                      <a:pt x="3438" y="552"/>
                    </a:lnTo>
                    <a:lnTo>
                      <a:pt x="3438" y="540"/>
                    </a:lnTo>
                    <a:lnTo>
                      <a:pt x="3432" y="534"/>
                    </a:lnTo>
                    <a:lnTo>
                      <a:pt x="3432" y="540"/>
                    </a:lnTo>
                    <a:lnTo>
                      <a:pt x="3426" y="540"/>
                    </a:lnTo>
                    <a:lnTo>
                      <a:pt x="3426" y="534"/>
                    </a:lnTo>
                    <a:lnTo>
                      <a:pt x="3420" y="534"/>
                    </a:lnTo>
                    <a:lnTo>
                      <a:pt x="3420" y="528"/>
                    </a:lnTo>
                    <a:lnTo>
                      <a:pt x="3420" y="522"/>
                    </a:lnTo>
                    <a:lnTo>
                      <a:pt x="3426" y="516"/>
                    </a:lnTo>
                    <a:lnTo>
                      <a:pt x="3420" y="510"/>
                    </a:lnTo>
                    <a:lnTo>
                      <a:pt x="3414" y="504"/>
                    </a:lnTo>
                    <a:lnTo>
                      <a:pt x="3414" y="498"/>
                    </a:lnTo>
                    <a:lnTo>
                      <a:pt x="3402" y="498"/>
                    </a:lnTo>
                    <a:lnTo>
                      <a:pt x="3408" y="492"/>
                    </a:lnTo>
                    <a:lnTo>
                      <a:pt x="3402" y="486"/>
                    </a:lnTo>
                    <a:lnTo>
                      <a:pt x="3408" y="480"/>
                    </a:lnTo>
                    <a:lnTo>
                      <a:pt x="3408" y="474"/>
                    </a:lnTo>
                    <a:lnTo>
                      <a:pt x="3402" y="474"/>
                    </a:lnTo>
                    <a:lnTo>
                      <a:pt x="3396" y="468"/>
                    </a:lnTo>
                    <a:lnTo>
                      <a:pt x="3390" y="468"/>
                    </a:lnTo>
                    <a:lnTo>
                      <a:pt x="3384" y="462"/>
                    </a:lnTo>
                    <a:lnTo>
                      <a:pt x="3384" y="468"/>
                    </a:lnTo>
                    <a:lnTo>
                      <a:pt x="3378" y="468"/>
                    </a:lnTo>
                    <a:lnTo>
                      <a:pt x="3378" y="474"/>
                    </a:lnTo>
                    <a:lnTo>
                      <a:pt x="3372" y="462"/>
                    </a:lnTo>
                    <a:lnTo>
                      <a:pt x="3372" y="474"/>
                    </a:lnTo>
                    <a:lnTo>
                      <a:pt x="3366" y="474"/>
                    </a:lnTo>
                    <a:lnTo>
                      <a:pt x="3366" y="468"/>
                    </a:lnTo>
                    <a:lnTo>
                      <a:pt x="3354" y="468"/>
                    </a:lnTo>
                    <a:lnTo>
                      <a:pt x="3348" y="462"/>
                    </a:lnTo>
                    <a:lnTo>
                      <a:pt x="3342" y="456"/>
                    </a:lnTo>
                    <a:lnTo>
                      <a:pt x="3342" y="450"/>
                    </a:lnTo>
                    <a:lnTo>
                      <a:pt x="3342" y="444"/>
                    </a:lnTo>
                    <a:lnTo>
                      <a:pt x="3342" y="438"/>
                    </a:lnTo>
                    <a:lnTo>
                      <a:pt x="3336" y="444"/>
                    </a:lnTo>
                    <a:lnTo>
                      <a:pt x="3336" y="438"/>
                    </a:lnTo>
                    <a:lnTo>
                      <a:pt x="3336" y="432"/>
                    </a:lnTo>
                    <a:lnTo>
                      <a:pt x="3330" y="438"/>
                    </a:lnTo>
                    <a:lnTo>
                      <a:pt x="3330" y="432"/>
                    </a:lnTo>
                    <a:lnTo>
                      <a:pt x="3324" y="432"/>
                    </a:lnTo>
                    <a:lnTo>
                      <a:pt x="3330" y="426"/>
                    </a:lnTo>
                    <a:lnTo>
                      <a:pt x="3324" y="426"/>
                    </a:lnTo>
                    <a:lnTo>
                      <a:pt x="3318" y="426"/>
                    </a:lnTo>
                    <a:lnTo>
                      <a:pt x="3318" y="420"/>
                    </a:lnTo>
                    <a:lnTo>
                      <a:pt x="3312" y="414"/>
                    </a:lnTo>
                    <a:lnTo>
                      <a:pt x="3318" y="414"/>
                    </a:lnTo>
                    <a:lnTo>
                      <a:pt x="3318" y="408"/>
                    </a:lnTo>
                    <a:lnTo>
                      <a:pt x="3318" y="402"/>
                    </a:lnTo>
                    <a:lnTo>
                      <a:pt x="3306" y="408"/>
                    </a:lnTo>
                    <a:lnTo>
                      <a:pt x="3300" y="402"/>
                    </a:lnTo>
                    <a:lnTo>
                      <a:pt x="3288" y="402"/>
                    </a:lnTo>
                    <a:lnTo>
                      <a:pt x="3288" y="396"/>
                    </a:lnTo>
                    <a:lnTo>
                      <a:pt x="3282" y="396"/>
                    </a:lnTo>
                    <a:lnTo>
                      <a:pt x="3276" y="390"/>
                    </a:lnTo>
                    <a:lnTo>
                      <a:pt x="3276" y="384"/>
                    </a:lnTo>
                    <a:lnTo>
                      <a:pt x="3264" y="384"/>
                    </a:lnTo>
                    <a:lnTo>
                      <a:pt x="3258" y="372"/>
                    </a:lnTo>
                    <a:lnTo>
                      <a:pt x="3252" y="372"/>
                    </a:lnTo>
                    <a:lnTo>
                      <a:pt x="3246" y="366"/>
                    </a:lnTo>
                    <a:lnTo>
                      <a:pt x="3240" y="366"/>
                    </a:lnTo>
                    <a:lnTo>
                      <a:pt x="3234" y="348"/>
                    </a:lnTo>
                    <a:lnTo>
                      <a:pt x="3228" y="348"/>
                    </a:lnTo>
                    <a:lnTo>
                      <a:pt x="3228" y="342"/>
                    </a:lnTo>
                    <a:lnTo>
                      <a:pt x="3228" y="336"/>
                    </a:lnTo>
                    <a:lnTo>
                      <a:pt x="3222" y="342"/>
                    </a:lnTo>
                    <a:lnTo>
                      <a:pt x="3216" y="330"/>
                    </a:lnTo>
                    <a:lnTo>
                      <a:pt x="3210" y="324"/>
                    </a:lnTo>
                    <a:lnTo>
                      <a:pt x="3216" y="318"/>
                    </a:lnTo>
                    <a:lnTo>
                      <a:pt x="3222" y="318"/>
                    </a:lnTo>
                    <a:lnTo>
                      <a:pt x="3228" y="324"/>
                    </a:lnTo>
                    <a:lnTo>
                      <a:pt x="3228" y="318"/>
                    </a:lnTo>
                    <a:lnTo>
                      <a:pt x="3222" y="312"/>
                    </a:lnTo>
                    <a:lnTo>
                      <a:pt x="3222" y="306"/>
                    </a:lnTo>
                    <a:lnTo>
                      <a:pt x="3228" y="300"/>
                    </a:lnTo>
                    <a:lnTo>
                      <a:pt x="3222" y="300"/>
                    </a:lnTo>
                    <a:lnTo>
                      <a:pt x="3216" y="306"/>
                    </a:lnTo>
                    <a:lnTo>
                      <a:pt x="3216" y="294"/>
                    </a:lnTo>
                    <a:lnTo>
                      <a:pt x="3210" y="300"/>
                    </a:lnTo>
                    <a:lnTo>
                      <a:pt x="3204" y="294"/>
                    </a:lnTo>
                    <a:lnTo>
                      <a:pt x="3204" y="288"/>
                    </a:lnTo>
                    <a:lnTo>
                      <a:pt x="3204" y="282"/>
                    </a:lnTo>
                    <a:lnTo>
                      <a:pt x="3198" y="288"/>
                    </a:lnTo>
                    <a:lnTo>
                      <a:pt x="3198" y="282"/>
                    </a:lnTo>
                    <a:lnTo>
                      <a:pt x="3192" y="276"/>
                    </a:lnTo>
                    <a:lnTo>
                      <a:pt x="3186" y="276"/>
                    </a:lnTo>
                    <a:lnTo>
                      <a:pt x="3186" y="264"/>
                    </a:lnTo>
                    <a:lnTo>
                      <a:pt x="3174" y="264"/>
                    </a:lnTo>
                    <a:lnTo>
                      <a:pt x="3174" y="258"/>
                    </a:lnTo>
                    <a:lnTo>
                      <a:pt x="3174" y="252"/>
                    </a:lnTo>
                    <a:lnTo>
                      <a:pt x="3186" y="252"/>
                    </a:lnTo>
                    <a:lnTo>
                      <a:pt x="3192" y="252"/>
                    </a:lnTo>
                    <a:lnTo>
                      <a:pt x="3186" y="246"/>
                    </a:lnTo>
                    <a:lnTo>
                      <a:pt x="3180" y="240"/>
                    </a:lnTo>
                    <a:lnTo>
                      <a:pt x="3180" y="234"/>
                    </a:lnTo>
                    <a:lnTo>
                      <a:pt x="3186" y="222"/>
                    </a:lnTo>
                    <a:lnTo>
                      <a:pt x="3180" y="222"/>
                    </a:lnTo>
                    <a:lnTo>
                      <a:pt x="3174" y="228"/>
                    </a:lnTo>
                    <a:lnTo>
                      <a:pt x="3168" y="216"/>
                    </a:lnTo>
                    <a:lnTo>
                      <a:pt x="3162" y="210"/>
                    </a:lnTo>
                    <a:lnTo>
                      <a:pt x="3162" y="204"/>
                    </a:lnTo>
                    <a:lnTo>
                      <a:pt x="3156" y="198"/>
                    </a:lnTo>
                    <a:lnTo>
                      <a:pt x="3150" y="198"/>
                    </a:lnTo>
                    <a:lnTo>
                      <a:pt x="3144" y="198"/>
                    </a:lnTo>
                    <a:lnTo>
                      <a:pt x="3138" y="192"/>
                    </a:lnTo>
                    <a:lnTo>
                      <a:pt x="3138" y="174"/>
                    </a:lnTo>
                    <a:lnTo>
                      <a:pt x="3132" y="168"/>
                    </a:lnTo>
                    <a:lnTo>
                      <a:pt x="3120" y="168"/>
                    </a:lnTo>
                    <a:lnTo>
                      <a:pt x="3120" y="162"/>
                    </a:lnTo>
                    <a:lnTo>
                      <a:pt x="3120" y="150"/>
                    </a:lnTo>
                    <a:lnTo>
                      <a:pt x="3120" y="144"/>
                    </a:lnTo>
                    <a:lnTo>
                      <a:pt x="3114" y="150"/>
                    </a:lnTo>
                    <a:lnTo>
                      <a:pt x="3102" y="150"/>
                    </a:lnTo>
                    <a:lnTo>
                      <a:pt x="3102" y="144"/>
                    </a:lnTo>
                    <a:lnTo>
                      <a:pt x="3102" y="138"/>
                    </a:lnTo>
                    <a:lnTo>
                      <a:pt x="3102" y="132"/>
                    </a:lnTo>
                    <a:lnTo>
                      <a:pt x="3090" y="132"/>
                    </a:lnTo>
                    <a:lnTo>
                      <a:pt x="3084" y="138"/>
                    </a:lnTo>
                    <a:lnTo>
                      <a:pt x="3084" y="126"/>
                    </a:lnTo>
                    <a:lnTo>
                      <a:pt x="3084" y="120"/>
                    </a:lnTo>
                    <a:lnTo>
                      <a:pt x="3078" y="120"/>
                    </a:lnTo>
                    <a:lnTo>
                      <a:pt x="3072" y="114"/>
                    </a:lnTo>
                    <a:lnTo>
                      <a:pt x="3066" y="108"/>
                    </a:lnTo>
                    <a:lnTo>
                      <a:pt x="3054" y="102"/>
                    </a:lnTo>
                    <a:lnTo>
                      <a:pt x="3048" y="96"/>
                    </a:lnTo>
                    <a:lnTo>
                      <a:pt x="3048" y="90"/>
                    </a:lnTo>
                    <a:lnTo>
                      <a:pt x="3042" y="90"/>
                    </a:lnTo>
                    <a:lnTo>
                      <a:pt x="3036" y="84"/>
                    </a:lnTo>
                    <a:lnTo>
                      <a:pt x="3042" y="84"/>
                    </a:lnTo>
                    <a:lnTo>
                      <a:pt x="3042" y="78"/>
                    </a:lnTo>
                    <a:lnTo>
                      <a:pt x="3036" y="72"/>
                    </a:lnTo>
                    <a:lnTo>
                      <a:pt x="3036" y="60"/>
                    </a:lnTo>
                    <a:lnTo>
                      <a:pt x="3030" y="66"/>
                    </a:lnTo>
                    <a:lnTo>
                      <a:pt x="3030" y="60"/>
                    </a:lnTo>
                    <a:lnTo>
                      <a:pt x="3024" y="66"/>
                    </a:lnTo>
                    <a:lnTo>
                      <a:pt x="3018" y="72"/>
                    </a:lnTo>
                    <a:lnTo>
                      <a:pt x="3012" y="66"/>
                    </a:lnTo>
                    <a:lnTo>
                      <a:pt x="3000" y="72"/>
                    </a:lnTo>
                    <a:lnTo>
                      <a:pt x="2994" y="66"/>
                    </a:lnTo>
                    <a:lnTo>
                      <a:pt x="2994" y="60"/>
                    </a:lnTo>
                    <a:lnTo>
                      <a:pt x="3000" y="60"/>
                    </a:lnTo>
                    <a:lnTo>
                      <a:pt x="3006" y="54"/>
                    </a:lnTo>
                    <a:lnTo>
                      <a:pt x="3006" y="48"/>
                    </a:lnTo>
                    <a:lnTo>
                      <a:pt x="2994" y="48"/>
                    </a:lnTo>
                    <a:lnTo>
                      <a:pt x="2982" y="48"/>
                    </a:lnTo>
                    <a:lnTo>
                      <a:pt x="2982" y="36"/>
                    </a:lnTo>
                    <a:lnTo>
                      <a:pt x="2982" y="24"/>
                    </a:lnTo>
                    <a:lnTo>
                      <a:pt x="2976" y="24"/>
                    </a:lnTo>
                    <a:lnTo>
                      <a:pt x="2964" y="24"/>
                    </a:lnTo>
                    <a:lnTo>
                      <a:pt x="2970" y="36"/>
                    </a:lnTo>
                    <a:lnTo>
                      <a:pt x="2970" y="42"/>
                    </a:lnTo>
                    <a:lnTo>
                      <a:pt x="2964" y="42"/>
                    </a:lnTo>
                    <a:lnTo>
                      <a:pt x="2958" y="36"/>
                    </a:lnTo>
                    <a:lnTo>
                      <a:pt x="2958" y="30"/>
                    </a:lnTo>
                    <a:lnTo>
                      <a:pt x="2958" y="24"/>
                    </a:lnTo>
                    <a:lnTo>
                      <a:pt x="2952" y="24"/>
                    </a:lnTo>
                    <a:lnTo>
                      <a:pt x="2946" y="30"/>
                    </a:lnTo>
                    <a:lnTo>
                      <a:pt x="2940" y="24"/>
                    </a:lnTo>
                    <a:lnTo>
                      <a:pt x="2934" y="18"/>
                    </a:lnTo>
                    <a:lnTo>
                      <a:pt x="2928" y="12"/>
                    </a:lnTo>
                    <a:lnTo>
                      <a:pt x="2922" y="18"/>
                    </a:lnTo>
                    <a:lnTo>
                      <a:pt x="2916" y="12"/>
                    </a:lnTo>
                    <a:lnTo>
                      <a:pt x="2910" y="6"/>
                    </a:lnTo>
                    <a:lnTo>
                      <a:pt x="2898" y="0"/>
                    </a:lnTo>
                    <a:lnTo>
                      <a:pt x="2898" y="6"/>
                    </a:lnTo>
                    <a:lnTo>
                      <a:pt x="2892" y="12"/>
                    </a:lnTo>
                    <a:lnTo>
                      <a:pt x="2886" y="12"/>
                    </a:lnTo>
                    <a:lnTo>
                      <a:pt x="2874" y="12"/>
                    </a:lnTo>
                    <a:lnTo>
                      <a:pt x="2868" y="6"/>
                    </a:lnTo>
                    <a:lnTo>
                      <a:pt x="2862" y="6"/>
                    </a:lnTo>
                    <a:lnTo>
                      <a:pt x="2868" y="12"/>
                    </a:lnTo>
                    <a:lnTo>
                      <a:pt x="2856" y="18"/>
                    </a:lnTo>
                    <a:lnTo>
                      <a:pt x="2850" y="12"/>
                    </a:lnTo>
                    <a:lnTo>
                      <a:pt x="2844" y="0"/>
                    </a:lnTo>
                    <a:lnTo>
                      <a:pt x="2844" y="18"/>
                    </a:lnTo>
                    <a:lnTo>
                      <a:pt x="2838" y="18"/>
                    </a:lnTo>
                    <a:lnTo>
                      <a:pt x="2832" y="18"/>
                    </a:lnTo>
                    <a:lnTo>
                      <a:pt x="2820" y="18"/>
                    </a:lnTo>
                    <a:lnTo>
                      <a:pt x="2814" y="18"/>
                    </a:lnTo>
                    <a:lnTo>
                      <a:pt x="2820" y="24"/>
                    </a:lnTo>
                    <a:lnTo>
                      <a:pt x="2814" y="24"/>
                    </a:lnTo>
                    <a:lnTo>
                      <a:pt x="2814" y="36"/>
                    </a:lnTo>
                    <a:lnTo>
                      <a:pt x="2808" y="30"/>
                    </a:lnTo>
                    <a:lnTo>
                      <a:pt x="2802" y="30"/>
                    </a:lnTo>
                    <a:lnTo>
                      <a:pt x="2796" y="30"/>
                    </a:lnTo>
                    <a:lnTo>
                      <a:pt x="2790" y="36"/>
                    </a:lnTo>
                    <a:lnTo>
                      <a:pt x="2784" y="48"/>
                    </a:lnTo>
                    <a:lnTo>
                      <a:pt x="2778" y="54"/>
                    </a:lnTo>
                    <a:lnTo>
                      <a:pt x="2772" y="54"/>
                    </a:lnTo>
                    <a:lnTo>
                      <a:pt x="2766" y="60"/>
                    </a:lnTo>
                    <a:lnTo>
                      <a:pt x="2766" y="66"/>
                    </a:lnTo>
                    <a:lnTo>
                      <a:pt x="2760" y="60"/>
                    </a:lnTo>
                    <a:lnTo>
                      <a:pt x="2754" y="66"/>
                    </a:lnTo>
                    <a:lnTo>
                      <a:pt x="2748" y="66"/>
                    </a:lnTo>
                    <a:lnTo>
                      <a:pt x="2742" y="78"/>
                    </a:lnTo>
                    <a:lnTo>
                      <a:pt x="2736" y="78"/>
                    </a:lnTo>
                    <a:lnTo>
                      <a:pt x="2736" y="84"/>
                    </a:lnTo>
                    <a:lnTo>
                      <a:pt x="2730" y="84"/>
                    </a:lnTo>
                    <a:lnTo>
                      <a:pt x="2724" y="90"/>
                    </a:lnTo>
                    <a:lnTo>
                      <a:pt x="2712" y="96"/>
                    </a:lnTo>
                    <a:lnTo>
                      <a:pt x="2712" y="90"/>
                    </a:lnTo>
                    <a:lnTo>
                      <a:pt x="2706" y="102"/>
                    </a:lnTo>
                    <a:lnTo>
                      <a:pt x="2694" y="102"/>
                    </a:lnTo>
                    <a:lnTo>
                      <a:pt x="2694" y="108"/>
                    </a:lnTo>
                    <a:lnTo>
                      <a:pt x="2694" y="120"/>
                    </a:lnTo>
                    <a:lnTo>
                      <a:pt x="2694" y="126"/>
                    </a:lnTo>
                    <a:lnTo>
                      <a:pt x="2688" y="138"/>
                    </a:lnTo>
                    <a:lnTo>
                      <a:pt x="2688" y="144"/>
                    </a:lnTo>
                    <a:lnTo>
                      <a:pt x="2682" y="150"/>
                    </a:lnTo>
                    <a:lnTo>
                      <a:pt x="2682" y="156"/>
                    </a:lnTo>
                    <a:lnTo>
                      <a:pt x="2682" y="174"/>
                    </a:lnTo>
                    <a:lnTo>
                      <a:pt x="2682" y="180"/>
                    </a:lnTo>
                    <a:lnTo>
                      <a:pt x="2676" y="192"/>
                    </a:lnTo>
                    <a:lnTo>
                      <a:pt x="2664" y="204"/>
                    </a:lnTo>
                    <a:lnTo>
                      <a:pt x="2664" y="210"/>
                    </a:lnTo>
                    <a:lnTo>
                      <a:pt x="2664" y="216"/>
                    </a:lnTo>
                    <a:lnTo>
                      <a:pt x="2658" y="228"/>
                    </a:lnTo>
                    <a:lnTo>
                      <a:pt x="2658" y="240"/>
                    </a:lnTo>
                    <a:lnTo>
                      <a:pt x="2652" y="252"/>
                    </a:lnTo>
                    <a:lnTo>
                      <a:pt x="2646" y="258"/>
                    </a:lnTo>
                    <a:lnTo>
                      <a:pt x="2640" y="264"/>
                    </a:lnTo>
                    <a:lnTo>
                      <a:pt x="2628" y="270"/>
                    </a:lnTo>
                    <a:lnTo>
                      <a:pt x="2616" y="276"/>
                    </a:lnTo>
                    <a:lnTo>
                      <a:pt x="2604" y="276"/>
                    </a:lnTo>
                    <a:lnTo>
                      <a:pt x="2598" y="276"/>
                    </a:lnTo>
                    <a:lnTo>
                      <a:pt x="2592" y="276"/>
                    </a:lnTo>
                    <a:lnTo>
                      <a:pt x="2586" y="282"/>
                    </a:lnTo>
                    <a:lnTo>
                      <a:pt x="2568" y="288"/>
                    </a:lnTo>
                    <a:lnTo>
                      <a:pt x="2562" y="294"/>
                    </a:lnTo>
                    <a:lnTo>
                      <a:pt x="2550" y="294"/>
                    </a:lnTo>
                    <a:lnTo>
                      <a:pt x="2532" y="294"/>
                    </a:lnTo>
                    <a:lnTo>
                      <a:pt x="2526" y="300"/>
                    </a:lnTo>
                    <a:lnTo>
                      <a:pt x="2514" y="312"/>
                    </a:lnTo>
                    <a:lnTo>
                      <a:pt x="2502" y="306"/>
                    </a:lnTo>
                    <a:lnTo>
                      <a:pt x="2496" y="312"/>
                    </a:lnTo>
                    <a:lnTo>
                      <a:pt x="2490" y="318"/>
                    </a:lnTo>
                    <a:lnTo>
                      <a:pt x="2484" y="324"/>
                    </a:lnTo>
                    <a:lnTo>
                      <a:pt x="2478" y="330"/>
                    </a:lnTo>
                    <a:lnTo>
                      <a:pt x="2466" y="336"/>
                    </a:lnTo>
                    <a:lnTo>
                      <a:pt x="2454" y="336"/>
                    </a:lnTo>
                    <a:lnTo>
                      <a:pt x="2442" y="342"/>
                    </a:lnTo>
                    <a:lnTo>
                      <a:pt x="2436" y="342"/>
                    </a:lnTo>
                    <a:lnTo>
                      <a:pt x="2430" y="348"/>
                    </a:lnTo>
                    <a:lnTo>
                      <a:pt x="2418" y="342"/>
                    </a:lnTo>
                    <a:lnTo>
                      <a:pt x="2412" y="342"/>
                    </a:lnTo>
                    <a:lnTo>
                      <a:pt x="2400" y="348"/>
                    </a:lnTo>
                    <a:lnTo>
                      <a:pt x="2388" y="354"/>
                    </a:lnTo>
                    <a:lnTo>
                      <a:pt x="2376" y="360"/>
                    </a:lnTo>
                    <a:lnTo>
                      <a:pt x="2364" y="366"/>
                    </a:lnTo>
                    <a:lnTo>
                      <a:pt x="2346" y="372"/>
                    </a:lnTo>
                    <a:lnTo>
                      <a:pt x="2322" y="378"/>
                    </a:lnTo>
                    <a:lnTo>
                      <a:pt x="2316" y="384"/>
                    </a:lnTo>
                    <a:lnTo>
                      <a:pt x="2304" y="384"/>
                    </a:lnTo>
                    <a:lnTo>
                      <a:pt x="2298" y="390"/>
                    </a:lnTo>
                    <a:lnTo>
                      <a:pt x="2286" y="396"/>
                    </a:lnTo>
                    <a:lnTo>
                      <a:pt x="2262" y="402"/>
                    </a:lnTo>
                    <a:lnTo>
                      <a:pt x="2250" y="408"/>
                    </a:lnTo>
                    <a:lnTo>
                      <a:pt x="2244" y="414"/>
                    </a:lnTo>
                    <a:lnTo>
                      <a:pt x="2238" y="420"/>
                    </a:lnTo>
                    <a:lnTo>
                      <a:pt x="2232" y="420"/>
                    </a:lnTo>
                    <a:lnTo>
                      <a:pt x="2220" y="420"/>
                    </a:lnTo>
                    <a:lnTo>
                      <a:pt x="2208" y="420"/>
                    </a:lnTo>
                    <a:lnTo>
                      <a:pt x="2214" y="438"/>
                    </a:lnTo>
                    <a:lnTo>
                      <a:pt x="2208" y="450"/>
                    </a:lnTo>
                    <a:lnTo>
                      <a:pt x="2208" y="468"/>
                    </a:lnTo>
                    <a:lnTo>
                      <a:pt x="2208" y="474"/>
                    </a:lnTo>
                    <a:lnTo>
                      <a:pt x="2208" y="486"/>
                    </a:lnTo>
                    <a:lnTo>
                      <a:pt x="2208" y="498"/>
                    </a:lnTo>
                    <a:lnTo>
                      <a:pt x="2202" y="510"/>
                    </a:lnTo>
                    <a:lnTo>
                      <a:pt x="2196" y="516"/>
                    </a:lnTo>
                    <a:lnTo>
                      <a:pt x="2184" y="534"/>
                    </a:lnTo>
                    <a:lnTo>
                      <a:pt x="2172" y="546"/>
                    </a:lnTo>
                    <a:lnTo>
                      <a:pt x="2154" y="558"/>
                    </a:lnTo>
                    <a:lnTo>
                      <a:pt x="2136" y="564"/>
                    </a:lnTo>
                    <a:lnTo>
                      <a:pt x="2130" y="576"/>
                    </a:lnTo>
                    <a:lnTo>
                      <a:pt x="2118" y="570"/>
                    </a:lnTo>
                    <a:lnTo>
                      <a:pt x="2106" y="570"/>
                    </a:lnTo>
                    <a:lnTo>
                      <a:pt x="2094" y="576"/>
                    </a:lnTo>
                    <a:lnTo>
                      <a:pt x="2088" y="576"/>
                    </a:lnTo>
                    <a:lnTo>
                      <a:pt x="2076" y="582"/>
                    </a:lnTo>
                    <a:lnTo>
                      <a:pt x="2070" y="576"/>
                    </a:lnTo>
                    <a:lnTo>
                      <a:pt x="2064" y="570"/>
                    </a:lnTo>
                    <a:lnTo>
                      <a:pt x="2058" y="564"/>
                    </a:lnTo>
                    <a:lnTo>
                      <a:pt x="2052" y="552"/>
                    </a:lnTo>
                    <a:lnTo>
                      <a:pt x="2040" y="546"/>
                    </a:lnTo>
                    <a:lnTo>
                      <a:pt x="2040" y="540"/>
                    </a:lnTo>
                    <a:lnTo>
                      <a:pt x="2028" y="534"/>
                    </a:lnTo>
                    <a:lnTo>
                      <a:pt x="2028" y="522"/>
                    </a:lnTo>
                    <a:lnTo>
                      <a:pt x="2010" y="522"/>
                    </a:lnTo>
                    <a:lnTo>
                      <a:pt x="1998" y="516"/>
                    </a:lnTo>
                    <a:lnTo>
                      <a:pt x="1992" y="522"/>
                    </a:lnTo>
                    <a:lnTo>
                      <a:pt x="1980" y="516"/>
                    </a:lnTo>
                    <a:lnTo>
                      <a:pt x="1974" y="516"/>
                    </a:lnTo>
                    <a:lnTo>
                      <a:pt x="1962" y="510"/>
                    </a:lnTo>
                    <a:lnTo>
                      <a:pt x="1950" y="504"/>
                    </a:lnTo>
                    <a:lnTo>
                      <a:pt x="1944" y="492"/>
                    </a:lnTo>
                    <a:lnTo>
                      <a:pt x="1944" y="486"/>
                    </a:lnTo>
                    <a:lnTo>
                      <a:pt x="1944" y="480"/>
                    </a:lnTo>
                    <a:lnTo>
                      <a:pt x="1932" y="474"/>
                    </a:lnTo>
                    <a:lnTo>
                      <a:pt x="1920" y="462"/>
                    </a:lnTo>
                    <a:lnTo>
                      <a:pt x="1920" y="450"/>
                    </a:lnTo>
                    <a:lnTo>
                      <a:pt x="1908" y="450"/>
                    </a:lnTo>
                    <a:lnTo>
                      <a:pt x="1902" y="456"/>
                    </a:lnTo>
                    <a:lnTo>
                      <a:pt x="1896" y="444"/>
                    </a:lnTo>
                    <a:lnTo>
                      <a:pt x="1884" y="444"/>
                    </a:lnTo>
                    <a:lnTo>
                      <a:pt x="1878" y="450"/>
                    </a:lnTo>
                    <a:lnTo>
                      <a:pt x="1866" y="450"/>
                    </a:lnTo>
                    <a:lnTo>
                      <a:pt x="1860" y="456"/>
                    </a:lnTo>
                    <a:lnTo>
                      <a:pt x="1848" y="462"/>
                    </a:lnTo>
                    <a:lnTo>
                      <a:pt x="1842" y="456"/>
                    </a:lnTo>
                    <a:lnTo>
                      <a:pt x="1830" y="456"/>
                    </a:lnTo>
                    <a:lnTo>
                      <a:pt x="1818" y="456"/>
                    </a:lnTo>
                    <a:lnTo>
                      <a:pt x="1812" y="462"/>
                    </a:lnTo>
                    <a:lnTo>
                      <a:pt x="1806" y="468"/>
                    </a:lnTo>
                    <a:lnTo>
                      <a:pt x="1800" y="486"/>
                    </a:lnTo>
                    <a:lnTo>
                      <a:pt x="1788" y="504"/>
                    </a:lnTo>
                    <a:lnTo>
                      <a:pt x="1776" y="498"/>
                    </a:lnTo>
                    <a:lnTo>
                      <a:pt x="1770" y="498"/>
                    </a:lnTo>
                    <a:lnTo>
                      <a:pt x="1764" y="504"/>
                    </a:lnTo>
                    <a:lnTo>
                      <a:pt x="1758" y="516"/>
                    </a:lnTo>
                    <a:lnTo>
                      <a:pt x="1740" y="516"/>
                    </a:lnTo>
                    <a:lnTo>
                      <a:pt x="1740" y="522"/>
                    </a:lnTo>
                    <a:lnTo>
                      <a:pt x="1728" y="522"/>
                    </a:lnTo>
                    <a:lnTo>
                      <a:pt x="1722" y="516"/>
                    </a:lnTo>
                    <a:lnTo>
                      <a:pt x="1710" y="516"/>
                    </a:lnTo>
                    <a:lnTo>
                      <a:pt x="1698" y="516"/>
                    </a:lnTo>
                    <a:lnTo>
                      <a:pt x="1692" y="522"/>
                    </a:lnTo>
                    <a:lnTo>
                      <a:pt x="1680" y="522"/>
                    </a:lnTo>
                    <a:lnTo>
                      <a:pt x="1674" y="516"/>
                    </a:lnTo>
                    <a:lnTo>
                      <a:pt x="1662" y="510"/>
                    </a:lnTo>
                    <a:lnTo>
                      <a:pt x="1656" y="504"/>
                    </a:lnTo>
                    <a:lnTo>
                      <a:pt x="1650" y="504"/>
                    </a:lnTo>
                    <a:lnTo>
                      <a:pt x="1644" y="504"/>
                    </a:lnTo>
                    <a:lnTo>
                      <a:pt x="1632" y="504"/>
                    </a:lnTo>
                    <a:lnTo>
                      <a:pt x="1620" y="504"/>
                    </a:lnTo>
                    <a:lnTo>
                      <a:pt x="1608" y="504"/>
                    </a:lnTo>
                    <a:lnTo>
                      <a:pt x="1602" y="498"/>
                    </a:lnTo>
                    <a:lnTo>
                      <a:pt x="1590" y="504"/>
                    </a:lnTo>
                    <a:lnTo>
                      <a:pt x="1584" y="510"/>
                    </a:lnTo>
                    <a:lnTo>
                      <a:pt x="1572" y="516"/>
                    </a:lnTo>
                    <a:lnTo>
                      <a:pt x="1566" y="522"/>
                    </a:lnTo>
                    <a:lnTo>
                      <a:pt x="1560" y="528"/>
                    </a:lnTo>
                    <a:lnTo>
                      <a:pt x="1554" y="534"/>
                    </a:lnTo>
                    <a:lnTo>
                      <a:pt x="1548" y="528"/>
                    </a:lnTo>
                    <a:lnTo>
                      <a:pt x="1536" y="516"/>
                    </a:lnTo>
                    <a:lnTo>
                      <a:pt x="1530" y="510"/>
                    </a:lnTo>
                    <a:lnTo>
                      <a:pt x="1524" y="504"/>
                    </a:lnTo>
                    <a:lnTo>
                      <a:pt x="1512" y="504"/>
                    </a:lnTo>
                    <a:lnTo>
                      <a:pt x="1506" y="498"/>
                    </a:lnTo>
                    <a:lnTo>
                      <a:pt x="1494" y="498"/>
                    </a:lnTo>
                    <a:lnTo>
                      <a:pt x="1482" y="504"/>
                    </a:lnTo>
                    <a:lnTo>
                      <a:pt x="1470" y="510"/>
                    </a:lnTo>
                    <a:lnTo>
                      <a:pt x="1464" y="504"/>
                    </a:lnTo>
                    <a:lnTo>
                      <a:pt x="1458" y="510"/>
                    </a:lnTo>
                    <a:lnTo>
                      <a:pt x="1452" y="510"/>
                    </a:lnTo>
                    <a:lnTo>
                      <a:pt x="1446" y="516"/>
                    </a:lnTo>
                    <a:lnTo>
                      <a:pt x="1440" y="516"/>
                    </a:lnTo>
                    <a:lnTo>
                      <a:pt x="1428" y="510"/>
                    </a:lnTo>
                    <a:lnTo>
                      <a:pt x="1422" y="510"/>
                    </a:lnTo>
                    <a:lnTo>
                      <a:pt x="1416" y="510"/>
                    </a:lnTo>
                    <a:lnTo>
                      <a:pt x="1410" y="516"/>
                    </a:lnTo>
                    <a:lnTo>
                      <a:pt x="1404" y="516"/>
                    </a:lnTo>
                    <a:lnTo>
                      <a:pt x="1386" y="510"/>
                    </a:lnTo>
                    <a:lnTo>
                      <a:pt x="1386" y="504"/>
                    </a:lnTo>
                    <a:lnTo>
                      <a:pt x="1380" y="504"/>
                    </a:lnTo>
                    <a:lnTo>
                      <a:pt x="1380" y="516"/>
                    </a:lnTo>
                    <a:lnTo>
                      <a:pt x="1374" y="528"/>
                    </a:lnTo>
                    <a:lnTo>
                      <a:pt x="1368" y="540"/>
                    </a:lnTo>
                    <a:lnTo>
                      <a:pt x="1362" y="540"/>
                    </a:lnTo>
                    <a:lnTo>
                      <a:pt x="1350" y="540"/>
                    </a:lnTo>
                    <a:lnTo>
                      <a:pt x="1344" y="540"/>
                    </a:lnTo>
                    <a:lnTo>
                      <a:pt x="1332" y="534"/>
                    </a:lnTo>
                    <a:lnTo>
                      <a:pt x="1326" y="534"/>
                    </a:lnTo>
                    <a:lnTo>
                      <a:pt x="1320" y="534"/>
                    </a:lnTo>
                    <a:lnTo>
                      <a:pt x="1314" y="528"/>
                    </a:lnTo>
                    <a:lnTo>
                      <a:pt x="1308" y="528"/>
                    </a:lnTo>
                    <a:lnTo>
                      <a:pt x="1296" y="522"/>
                    </a:lnTo>
                    <a:lnTo>
                      <a:pt x="1296" y="516"/>
                    </a:lnTo>
                    <a:lnTo>
                      <a:pt x="1284" y="522"/>
                    </a:lnTo>
                    <a:lnTo>
                      <a:pt x="1278" y="516"/>
                    </a:lnTo>
                    <a:lnTo>
                      <a:pt x="1284" y="510"/>
                    </a:lnTo>
                    <a:lnTo>
                      <a:pt x="1272" y="504"/>
                    </a:lnTo>
                    <a:lnTo>
                      <a:pt x="1266" y="504"/>
                    </a:lnTo>
                    <a:lnTo>
                      <a:pt x="1254" y="504"/>
                    </a:lnTo>
                    <a:lnTo>
                      <a:pt x="1254" y="498"/>
                    </a:lnTo>
                    <a:lnTo>
                      <a:pt x="1254" y="492"/>
                    </a:lnTo>
                    <a:lnTo>
                      <a:pt x="1254" y="486"/>
                    </a:lnTo>
                    <a:lnTo>
                      <a:pt x="1242" y="480"/>
                    </a:lnTo>
                    <a:lnTo>
                      <a:pt x="1242" y="468"/>
                    </a:lnTo>
                    <a:lnTo>
                      <a:pt x="1230" y="474"/>
                    </a:lnTo>
                    <a:lnTo>
                      <a:pt x="1224" y="480"/>
                    </a:lnTo>
                    <a:lnTo>
                      <a:pt x="1212" y="480"/>
                    </a:lnTo>
                    <a:lnTo>
                      <a:pt x="1200" y="480"/>
                    </a:lnTo>
                    <a:lnTo>
                      <a:pt x="1200" y="468"/>
                    </a:lnTo>
                    <a:lnTo>
                      <a:pt x="1194" y="462"/>
                    </a:lnTo>
                    <a:lnTo>
                      <a:pt x="1182" y="474"/>
                    </a:lnTo>
                    <a:lnTo>
                      <a:pt x="1182" y="480"/>
                    </a:lnTo>
                    <a:lnTo>
                      <a:pt x="1170" y="486"/>
                    </a:lnTo>
                    <a:lnTo>
                      <a:pt x="1170" y="498"/>
                    </a:lnTo>
                    <a:lnTo>
                      <a:pt x="1170" y="510"/>
                    </a:lnTo>
                    <a:lnTo>
                      <a:pt x="1170" y="516"/>
                    </a:lnTo>
                    <a:lnTo>
                      <a:pt x="1170" y="522"/>
                    </a:lnTo>
                    <a:lnTo>
                      <a:pt x="1170" y="534"/>
                    </a:lnTo>
                    <a:lnTo>
                      <a:pt x="1164" y="540"/>
                    </a:lnTo>
                    <a:lnTo>
                      <a:pt x="1164" y="552"/>
                    </a:lnTo>
                    <a:lnTo>
                      <a:pt x="1158" y="552"/>
                    </a:lnTo>
                    <a:lnTo>
                      <a:pt x="1152" y="558"/>
                    </a:lnTo>
                    <a:lnTo>
                      <a:pt x="1140" y="564"/>
                    </a:lnTo>
                    <a:lnTo>
                      <a:pt x="1140" y="570"/>
                    </a:lnTo>
                    <a:lnTo>
                      <a:pt x="1122" y="564"/>
                    </a:lnTo>
                    <a:lnTo>
                      <a:pt x="1116" y="558"/>
                    </a:lnTo>
                    <a:lnTo>
                      <a:pt x="1104" y="558"/>
                    </a:lnTo>
                    <a:lnTo>
                      <a:pt x="1092" y="558"/>
                    </a:lnTo>
                    <a:lnTo>
                      <a:pt x="1086" y="558"/>
                    </a:lnTo>
                    <a:lnTo>
                      <a:pt x="1086" y="570"/>
                    </a:lnTo>
                    <a:lnTo>
                      <a:pt x="1098" y="570"/>
                    </a:lnTo>
                    <a:lnTo>
                      <a:pt x="1098" y="576"/>
                    </a:lnTo>
                    <a:lnTo>
                      <a:pt x="1104" y="594"/>
                    </a:lnTo>
                    <a:lnTo>
                      <a:pt x="1098" y="600"/>
                    </a:lnTo>
                    <a:lnTo>
                      <a:pt x="1092" y="600"/>
                    </a:lnTo>
                    <a:lnTo>
                      <a:pt x="1086" y="600"/>
                    </a:lnTo>
                    <a:lnTo>
                      <a:pt x="1080" y="612"/>
                    </a:lnTo>
                    <a:lnTo>
                      <a:pt x="1074" y="618"/>
                    </a:lnTo>
                    <a:lnTo>
                      <a:pt x="1068" y="636"/>
                    </a:lnTo>
                    <a:lnTo>
                      <a:pt x="1062" y="642"/>
                    </a:lnTo>
                    <a:lnTo>
                      <a:pt x="1050" y="648"/>
                    </a:lnTo>
                    <a:lnTo>
                      <a:pt x="1044" y="660"/>
                    </a:lnTo>
                    <a:lnTo>
                      <a:pt x="1032" y="660"/>
                    </a:lnTo>
                    <a:lnTo>
                      <a:pt x="1026" y="660"/>
                    </a:lnTo>
                    <a:lnTo>
                      <a:pt x="1026" y="672"/>
                    </a:lnTo>
                    <a:lnTo>
                      <a:pt x="1032" y="678"/>
                    </a:lnTo>
                    <a:lnTo>
                      <a:pt x="1038" y="684"/>
                    </a:lnTo>
                    <a:lnTo>
                      <a:pt x="1038" y="696"/>
                    </a:lnTo>
                    <a:lnTo>
                      <a:pt x="1026" y="702"/>
                    </a:lnTo>
                    <a:lnTo>
                      <a:pt x="1020" y="702"/>
                    </a:lnTo>
                    <a:lnTo>
                      <a:pt x="1014" y="702"/>
                    </a:lnTo>
                    <a:lnTo>
                      <a:pt x="1008" y="714"/>
                    </a:lnTo>
                    <a:lnTo>
                      <a:pt x="1002" y="726"/>
                    </a:lnTo>
                    <a:lnTo>
                      <a:pt x="1002" y="738"/>
                    </a:lnTo>
                    <a:lnTo>
                      <a:pt x="990" y="744"/>
                    </a:lnTo>
                    <a:lnTo>
                      <a:pt x="984" y="750"/>
                    </a:lnTo>
                    <a:lnTo>
                      <a:pt x="972" y="756"/>
                    </a:lnTo>
                    <a:lnTo>
                      <a:pt x="966" y="762"/>
                    </a:lnTo>
                    <a:lnTo>
                      <a:pt x="948" y="762"/>
                    </a:lnTo>
                    <a:lnTo>
                      <a:pt x="936" y="762"/>
                    </a:lnTo>
                    <a:lnTo>
                      <a:pt x="930" y="756"/>
                    </a:lnTo>
                    <a:lnTo>
                      <a:pt x="918" y="756"/>
                    </a:lnTo>
                    <a:lnTo>
                      <a:pt x="912" y="750"/>
                    </a:lnTo>
                    <a:lnTo>
                      <a:pt x="900" y="744"/>
                    </a:lnTo>
                    <a:lnTo>
                      <a:pt x="888" y="750"/>
                    </a:lnTo>
                    <a:lnTo>
                      <a:pt x="882" y="756"/>
                    </a:lnTo>
                    <a:lnTo>
                      <a:pt x="882" y="762"/>
                    </a:lnTo>
                    <a:lnTo>
                      <a:pt x="882" y="768"/>
                    </a:lnTo>
                    <a:lnTo>
                      <a:pt x="882" y="774"/>
                    </a:lnTo>
                    <a:lnTo>
                      <a:pt x="882" y="786"/>
                    </a:lnTo>
                    <a:lnTo>
                      <a:pt x="882" y="798"/>
                    </a:lnTo>
                    <a:lnTo>
                      <a:pt x="876" y="798"/>
                    </a:lnTo>
                    <a:lnTo>
                      <a:pt x="870" y="798"/>
                    </a:lnTo>
                    <a:lnTo>
                      <a:pt x="858" y="798"/>
                    </a:lnTo>
                    <a:lnTo>
                      <a:pt x="846" y="798"/>
                    </a:lnTo>
                    <a:lnTo>
                      <a:pt x="834" y="792"/>
                    </a:lnTo>
                    <a:lnTo>
                      <a:pt x="828" y="786"/>
                    </a:lnTo>
                    <a:lnTo>
                      <a:pt x="828" y="792"/>
                    </a:lnTo>
                    <a:lnTo>
                      <a:pt x="828" y="798"/>
                    </a:lnTo>
                    <a:lnTo>
                      <a:pt x="828" y="810"/>
                    </a:lnTo>
                    <a:lnTo>
                      <a:pt x="810" y="816"/>
                    </a:lnTo>
                    <a:lnTo>
                      <a:pt x="804" y="822"/>
                    </a:lnTo>
                    <a:lnTo>
                      <a:pt x="804" y="834"/>
                    </a:lnTo>
                    <a:lnTo>
                      <a:pt x="804" y="846"/>
                    </a:lnTo>
                    <a:lnTo>
                      <a:pt x="792" y="852"/>
                    </a:lnTo>
                    <a:lnTo>
                      <a:pt x="792" y="864"/>
                    </a:lnTo>
                    <a:lnTo>
                      <a:pt x="792" y="876"/>
                    </a:lnTo>
                    <a:lnTo>
                      <a:pt x="786" y="882"/>
                    </a:lnTo>
                    <a:lnTo>
                      <a:pt x="786" y="894"/>
                    </a:lnTo>
                    <a:lnTo>
                      <a:pt x="780" y="900"/>
                    </a:lnTo>
                    <a:lnTo>
                      <a:pt x="780" y="912"/>
                    </a:lnTo>
                    <a:lnTo>
                      <a:pt x="780" y="924"/>
                    </a:lnTo>
                    <a:lnTo>
                      <a:pt x="774" y="930"/>
                    </a:lnTo>
                    <a:lnTo>
                      <a:pt x="768" y="930"/>
                    </a:lnTo>
                    <a:lnTo>
                      <a:pt x="756" y="930"/>
                    </a:lnTo>
                    <a:lnTo>
                      <a:pt x="756" y="936"/>
                    </a:lnTo>
                    <a:lnTo>
                      <a:pt x="750" y="948"/>
                    </a:lnTo>
                    <a:lnTo>
                      <a:pt x="744" y="960"/>
                    </a:lnTo>
                    <a:lnTo>
                      <a:pt x="732" y="954"/>
                    </a:lnTo>
                    <a:lnTo>
                      <a:pt x="726" y="960"/>
                    </a:lnTo>
                    <a:lnTo>
                      <a:pt x="732" y="972"/>
                    </a:lnTo>
                    <a:lnTo>
                      <a:pt x="732" y="978"/>
                    </a:lnTo>
                    <a:lnTo>
                      <a:pt x="726" y="978"/>
                    </a:lnTo>
                    <a:lnTo>
                      <a:pt x="714" y="984"/>
                    </a:lnTo>
                    <a:lnTo>
                      <a:pt x="714" y="990"/>
                    </a:lnTo>
                    <a:lnTo>
                      <a:pt x="714" y="996"/>
                    </a:lnTo>
                    <a:lnTo>
                      <a:pt x="714" y="1008"/>
                    </a:lnTo>
                    <a:lnTo>
                      <a:pt x="708" y="1014"/>
                    </a:lnTo>
                    <a:lnTo>
                      <a:pt x="714" y="1026"/>
                    </a:lnTo>
                    <a:lnTo>
                      <a:pt x="720" y="1038"/>
                    </a:lnTo>
                    <a:lnTo>
                      <a:pt x="726" y="1044"/>
                    </a:lnTo>
                    <a:lnTo>
                      <a:pt x="726" y="1050"/>
                    </a:lnTo>
                    <a:lnTo>
                      <a:pt x="732" y="1056"/>
                    </a:lnTo>
                    <a:lnTo>
                      <a:pt x="732" y="1068"/>
                    </a:lnTo>
                    <a:lnTo>
                      <a:pt x="732" y="1080"/>
                    </a:lnTo>
                    <a:lnTo>
                      <a:pt x="726" y="1086"/>
                    </a:lnTo>
                    <a:lnTo>
                      <a:pt x="726" y="1092"/>
                    </a:lnTo>
                    <a:lnTo>
                      <a:pt x="720" y="1098"/>
                    </a:lnTo>
                    <a:lnTo>
                      <a:pt x="708" y="1098"/>
                    </a:lnTo>
                    <a:lnTo>
                      <a:pt x="702" y="1098"/>
                    </a:lnTo>
                    <a:lnTo>
                      <a:pt x="696" y="1098"/>
                    </a:lnTo>
                    <a:lnTo>
                      <a:pt x="696" y="1104"/>
                    </a:lnTo>
                    <a:lnTo>
                      <a:pt x="690" y="1104"/>
                    </a:lnTo>
                    <a:lnTo>
                      <a:pt x="690" y="1110"/>
                    </a:lnTo>
                    <a:lnTo>
                      <a:pt x="684" y="1122"/>
                    </a:lnTo>
                    <a:lnTo>
                      <a:pt x="684" y="1128"/>
                    </a:lnTo>
                    <a:lnTo>
                      <a:pt x="672" y="1146"/>
                    </a:lnTo>
                    <a:lnTo>
                      <a:pt x="672" y="1158"/>
                    </a:lnTo>
                    <a:lnTo>
                      <a:pt x="672" y="1164"/>
                    </a:lnTo>
                    <a:lnTo>
                      <a:pt x="672" y="1170"/>
                    </a:lnTo>
                    <a:lnTo>
                      <a:pt x="672" y="1182"/>
                    </a:lnTo>
                    <a:lnTo>
                      <a:pt x="666" y="1188"/>
                    </a:lnTo>
                    <a:lnTo>
                      <a:pt x="666" y="1200"/>
                    </a:lnTo>
                    <a:lnTo>
                      <a:pt x="660" y="1206"/>
                    </a:lnTo>
                    <a:lnTo>
                      <a:pt x="660" y="1218"/>
                    </a:lnTo>
                    <a:lnTo>
                      <a:pt x="666" y="1224"/>
                    </a:lnTo>
                    <a:lnTo>
                      <a:pt x="672" y="1236"/>
                    </a:lnTo>
                    <a:lnTo>
                      <a:pt x="672" y="1242"/>
                    </a:lnTo>
                    <a:lnTo>
                      <a:pt x="666" y="1248"/>
                    </a:lnTo>
                    <a:lnTo>
                      <a:pt x="660" y="1254"/>
                    </a:lnTo>
                    <a:lnTo>
                      <a:pt x="654" y="1260"/>
                    </a:lnTo>
                    <a:lnTo>
                      <a:pt x="648" y="1266"/>
                    </a:lnTo>
                    <a:lnTo>
                      <a:pt x="648" y="1278"/>
                    </a:lnTo>
                    <a:lnTo>
                      <a:pt x="648" y="1290"/>
                    </a:lnTo>
                    <a:lnTo>
                      <a:pt x="648" y="1296"/>
                    </a:lnTo>
                    <a:lnTo>
                      <a:pt x="648" y="1308"/>
                    </a:lnTo>
                    <a:lnTo>
                      <a:pt x="636" y="1308"/>
                    </a:lnTo>
                    <a:lnTo>
                      <a:pt x="630" y="1308"/>
                    </a:lnTo>
                    <a:lnTo>
                      <a:pt x="618" y="1320"/>
                    </a:lnTo>
                    <a:lnTo>
                      <a:pt x="612" y="1332"/>
                    </a:lnTo>
                    <a:lnTo>
                      <a:pt x="612" y="1344"/>
                    </a:lnTo>
                    <a:lnTo>
                      <a:pt x="612" y="1350"/>
                    </a:lnTo>
                    <a:lnTo>
                      <a:pt x="606" y="1362"/>
                    </a:lnTo>
                    <a:lnTo>
                      <a:pt x="594" y="1362"/>
                    </a:lnTo>
                    <a:lnTo>
                      <a:pt x="588" y="1368"/>
                    </a:lnTo>
                    <a:lnTo>
                      <a:pt x="588" y="1380"/>
                    </a:lnTo>
                    <a:lnTo>
                      <a:pt x="594" y="1380"/>
                    </a:lnTo>
                    <a:lnTo>
                      <a:pt x="606" y="1386"/>
                    </a:lnTo>
                    <a:lnTo>
                      <a:pt x="606" y="1392"/>
                    </a:lnTo>
                    <a:lnTo>
                      <a:pt x="606" y="1404"/>
                    </a:lnTo>
                    <a:lnTo>
                      <a:pt x="600" y="1410"/>
                    </a:lnTo>
                    <a:lnTo>
                      <a:pt x="606" y="1416"/>
                    </a:lnTo>
                    <a:lnTo>
                      <a:pt x="612" y="1422"/>
                    </a:lnTo>
                    <a:lnTo>
                      <a:pt x="606" y="1428"/>
                    </a:lnTo>
                    <a:lnTo>
                      <a:pt x="600" y="1434"/>
                    </a:lnTo>
                    <a:lnTo>
                      <a:pt x="600" y="1440"/>
                    </a:lnTo>
                    <a:lnTo>
                      <a:pt x="594" y="1446"/>
                    </a:lnTo>
                    <a:lnTo>
                      <a:pt x="582" y="1452"/>
                    </a:lnTo>
                    <a:lnTo>
                      <a:pt x="576" y="1452"/>
                    </a:lnTo>
                    <a:lnTo>
                      <a:pt x="576" y="1458"/>
                    </a:lnTo>
                    <a:lnTo>
                      <a:pt x="576" y="1464"/>
                    </a:lnTo>
                    <a:lnTo>
                      <a:pt x="576" y="1470"/>
                    </a:lnTo>
                    <a:lnTo>
                      <a:pt x="582" y="1476"/>
                    </a:lnTo>
                    <a:lnTo>
                      <a:pt x="588" y="1482"/>
                    </a:lnTo>
                    <a:lnTo>
                      <a:pt x="582" y="1488"/>
                    </a:lnTo>
                    <a:lnTo>
                      <a:pt x="582" y="1500"/>
                    </a:lnTo>
                    <a:lnTo>
                      <a:pt x="576" y="1506"/>
                    </a:lnTo>
                    <a:lnTo>
                      <a:pt x="570" y="1506"/>
                    </a:lnTo>
                    <a:lnTo>
                      <a:pt x="564" y="1518"/>
                    </a:lnTo>
                    <a:lnTo>
                      <a:pt x="552" y="1518"/>
                    </a:lnTo>
                    <a:lnTo>
                      <a:pt x="546" y="1530"/>
                    </a:lnTo>
                    <a:lnTo>
                      <a:pt x="546" y="1536"/>
                    </a:lnTo>
                    <a:lnTo>
                      <a:pt x="552" y="1548"/>
                    </a:lnTo>
                    <a:lnTo>
                      <a:pt x="552" y="1560"/>
                    </a:lnTo>
                    <a:lnTo>
                      <a:pt x="546" y="1572"/>
                    </a:lnTo>
                    <a:lnTo>
                      <a:pt x="540" y="1572"/>
                    </a:lnTo>
                    <a:lnTo>
                      <a:pt x="540" y="1584"/>
                    </a:lnTo>
                    <a:lnTo>
                      <a:pt x="546" y="1590"/>
                    </a:lnTo>
                    <a:lnTo>
                      <a:pt x="552" y="1590"/>
                    </a:lnTo>
                    <a:lnTo>
                      <a:pt x="558" y="1596"/>
                    </a:lnTo>
                    <a:lnTo>
                      <a:pt x="564" y="1602"/>
                    </a:lnTo>
                    <a:lnTo>
                      <a:pt x="564" y="1614"/>
                    </a:lnTo>
                    <a:lnTo>
                      <a:pt x="558" y="1620"/>
                    </a:lnTo>
                    <a:lnTo>
                      <a:pt x="558" y="1626"/>
                    </a:lnTo>
                    <a:lnTo>
                      <a:pt x="552" y="1638"/>
                    </a:lnTo>
                    <a:lnTo>
                      <a:pt x="540" y="1632"/>
                    </a:lnTo>
                    <a:lnTo>
                      <a:pt x="528" y="1638"/>
                    </a:lnTo>
                    <a:lnTo>
                      <a:pt x="516" y="1638"/>
                    </a:lnTo>
                    <a:lnTo>
                      <a:pt x="522" y="1644"/>
                    </a:lnTo>
                    <a:lnTo>
                      <a:pt x="522" y="1650"/>
                    </a:lnTo>
                    <a:lnTo>
                      <a:pt x="528" y="1656"/>
                    </a:lnTo>
                    <a:lnTo>
                      <a:pt x="540" y="1656"/>
                    </a:lnTo>
                    <a:lnTo>
                      <a:pt x="534" y="1668"/>
                    </a:lnTo>
                    <a:lnTo>
                      <a:pt x="522" y="1668"/>
                    </a:lnTo>
                    <a:lnTo>
                      <a:pt x="522" y="1674"/>
                    </a:lnTo>
                    <a:lnTo>
                      <a:pt x="516" y="1686"/>
                    </a:lnTo>
                    <a:lnTo>
                      <a:pt x="516" y="1692"/>
                    </a:lnTo>
                    <a:lnTo>
                      <a:pt x="510" y="1692"/>
                    </a:lnTo>
                    <a:lnTo>
                      <a:pt x="504" y="1692"/>
                    </a:lnTo>
                    <a:lnTo>
                      <a:pt x="498" y="1680"/>
                    </a:lnTo>
                    <a:lnTo>
                      <a:pt x="492" y="1686"/>
                    </a:lnTo>
                    <a:lnTo>
                      <a:pt x="492" y="1692"/>
                    </a:lnTo>
                    <a:lnTo>
                      <a:pt x="474" y="1692"/>
                    </a:lnTo>
                    <a:lnTo>
                      <a:pt x="474" y="1704"/>
                    </a:lnTo>
                    <a:lnTo>
                      <a:pt x="468" y="1716"/>
                    </a:lnTo>
                    <a:lnTo>
                      <a:pt x="480" y="1728"/>
                    </a:lnTo>
                    <a:lnTo>
                      <a:pt x="474" y="1740"/>
                    </a:lnTo>
                    <a:lnTo>
                      <a:pt x="474" y="1746"/>
                    </a:lnTo>
                    <a:lnTo>
                      <a:pt x="468" y="1752"/>
                    </a:lnTo>
                    <a:lnTo>
                      <a:pt x="462" y="1764"/>
                    </a:lnTo>
                    <a:lnTo>
                      <a:pt x="462" y="1770"/>
                    </a:lnTo>
                    <a:lnTo>
                      <a:pt x="462" y="1782"/>
                    </a:lnTo>
                    <a:lnTo>
                      <a:pt x="456" y="1788"/>
                    </a:lnTo>
                    <a:lnTo>
                      <a:pt x="462" y="1800"/>
                    </a:lnTo>
                    <a:lnTo>
                      <a:pt x="468" y="1806"/>
                    </a:lnTo>
                    <a:lnTo>
                      <a:pt x="474" y="1806"/>
                    </a:lnTo>
                    <a:lnTo>
                      <a:pt x="480" y="1812"/>
                    </a:lnTo>
                    <a:lnTo>
                      <a:pt x="486" y="1812"/>
                    </a:lnTo>
                    <a:lnTo>
                      <a:pt x="486" y="1818"/>
                    </a:lnTo>
                    <a:lnTo>
                      <a:pt x="492" y="1830"/>
                    </a:lnTo>
                    <a:lnTo>
                      <a:pt x="486" y="1842"/>
                    </a:lnTo>
                    <a:lnTo>
                      <a:pt x="480" y="1848"/>
                    </a:lnTo>
                    <a:lnTo>
                      <a:pt x="486" y="1854"/>
                    </a:lnTo>
                    <a:lnTo>
                      <a:pt x="474" y="1860"/>
                    </a:lnTo>
                    <a:lnTo>
                      <a:pt x="456" y="1860"/>
                    </a:lnTo>
                    <a:lnTo>
                      <a:pt x="450" y="1854"/>
                    </a:lnTo>
                    <a:lnTo>
                      <a:pt x="450" y="1866"/>
                    </a:lnTo>
                    <a:lnTo>
                      <a:pt x="444" y="1866"/>
                    </a:lnTo>
                    <a:lnTo>
                      <a:pt x="444" y="1890"/>
                    </a:lnTo>
                    <a:lnTo>
                      <a:pt x="444" y="1902"/>
                    </a:lnTo>
                    <a:lnTo>
                      <a:pt x="444" y="1908"/>
                    </a:lnTo>
                    <a:lnTo>
                      <a:pt x="432" y="1920"/>
                    </a:lnTo>
                    <a:lnTo>
                      <a:pt x="438" y="1932"/>
                    </a:lnTo>
                    <a:lnTo>
                      <a:pt x="438" y="1944"/>
                    </a:lnTo>
                    <a:lnTo>
                      <a:pt x="432" y="1944"/>
                    </a:lnTo>
                    <a:lnTo>
                      <a:pt x="420" y="1944"/>
                    </a:lnTo>
                    <a:lnTo>
                      <a:pt x="408" y="1950"/>
                    </a:lnTo>
                    <a:lnTo>
                      <a:pt x="408" y="1956"/>
                    </a:lnTo>
                    <a:lnTo>
                      <a:pt x="408" y="1968"/>
                    </a:lnTo>
                    <a:lnTo>
                      <a:pt x="408" y="1974"/>
                    </a:lnTo>
                    <a:lnTo>
                      <a:pt x="402" y="1980"/>
                    </a:lnTo>
                    <a:lnTo>
                      <a:pt x="396" y="1986"/>
                    </a:lnTo>
                    <a:lnTo>
                      <a:pt x="390" y="1992"/>
                    </a:lnTo>
                    <a:lnTo>
                      <a:pt x="378" y="1992"/>
                    </a:lnTo>
                    <a:lnTo>
                      <a:pt x="372" y="1980"/>
                    </a:lnTo>
                    <a:lnTo>
                      <a:pt x="366" y="1980"/>
                    </a:lnTo>
                    <a:lnTo>
                      <a:pt x="360" y="1986"/>
                    </a:lnTo>
                    <a:lnTo>
                      <a:pt x="348" y="1986"/>
                    </a:lnTo>
                    <a:lnTo>
                      <a:pt x="342" y="1986"/>
                    </a:lnTo>
                    <a:lnTo>
                      <a:pt x="336" y="1986"/>
                    </a:lnTo>
                    <a:lnTo>
                      <a:pt x="330" y="1980"/>
                    </a:lnTo>
                    <a:lnTo>
                      <a:pt x="324" y="1974"/>
                    </a:lnTo>
                    <a:lnTo>
                      <a:pt x="318" y="1980"/>
                    </a:lnTo>
                    <a:lnTo>
                      <a:pt x="318" y="1986"/>
                    </a:lnTo>
                    <a:lnTo>
                      <a:pt x="306" y="1986"/>
                    </a:lnTo>
                    <a:lnTo>
                      <a:pt x="300" y="1986"/>
                    </a:lnTo>
                    <a:lnTo>
                      <a:pt x="294" y="1980"/>
                    </a:lnTo>
                    <a:lnTo>
                      <a:pt x="294" y="1974"/>
                    </a:lnTo>
                    <a:lnTo>
                      <a:pt x="276" y="1986"/>
                    </a:lnTo>
                    <a:lnTo>
                      <a:pt x="258" y="1986"/>
                    </a:lnTo>
                    <a:lnTo>
                      <a:pt x="240" y="1992"/>
                    </a:lnTo>
                    <a:lnTo>
                      <a:pt x="234" y="2010"/>
                    </a:lnTo>
                    <a:lnTo>
                      <a:pt x="240" y="2028"/>
                    </a:lnTo>
                    <a:lnTo>
                      <a:pt x="246" y="2040"/>
                    </a:lnTo>
                    <a:lnTo>
                      <a:pt x="228" y="2046"/>
                    </a:lnTo>
                    <a:lnTo>
                      <a:pt x="228" y="2058"/>
                    </a:lnTo>
                    <a:lnTo>
                      <a:pt x="222" y="2064"/>
                    </a:lnTo>
                    <a:lnTo>
                      <a:pt x="222" y="2076"/>
                    </a:lnTo>
                    <a:close/>
                  </a:path>
                </a:pathLst>
              </a:custGeom>
              <a:gradFill>
                <a:gsLst>
                  <a:gs pos="0">
                    <a:srgbClr val="DEC1C1"/>
                  </a:gs>
                  <a:gs pos="63000">
                    <a:srgbClr val="AAA9C7"/>
                  </a:gs>
                  <a:gs pos="34000">
                    <a:srgbClr val="8992D3"/>
                  </a:gs>
                  <a:gs pos="94000">
                    <a:srgbClr val="DEC1C1"/>
                  </a:gs>
                </a:gsLst>
                <a:lin ang="16200000" scaled="1"/>
              </a:gradFill>
              <a:ln w="12700" cap="flat" cmpd="sng" algn="ctr">
                <a:noFill/>
                <a:prstDash val="solid"/>
                <a:headEnd/>
                <a:tailEnd/>
              </a:ln>
              <a:effectLst>
                <a:outerShdw blurRad="40000" dist="23000" dir="5400000" rotWithShape="0">
                  <a:schemeClr val="accent2">
                    <a:lumMod val="60000"/>
                    <a:lumOff val="40000"/>
                    <a:alpha val="35000"/>
                  </a:schemeClr>
                </a:outerShdw>
              </a:effectLst>
              <a:scene3d>
                <a:camera prst="orthographicFront"/>
                <a:lightRig rig="threePt" dir="t">
                  <a:rot lat="0" lon="0" rev="0"/>
                </a:lightRig>
              </a:scene3d>
              <a:sp3d extrusionH="114300" contourW="12700">
                <a:extrusionClr>
                  <a:srgbClr val="FFFFFF"/>
                </a:extrusionClr>
                <a:contourClr>
                  <a:srgbClr val="000000"/>
                </a:contourClr>
              </a:sp3d>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Narrow" panose="020B0606020202030204" pitchFamily="34" charset="0"/>
                  <a:ea typeface="+mn-ea"/>
                  <a:cs typeface="+mn-cs"/>
                </a:endParaRPr>
              </a:p>
            </p:txBody>
          </p:sp>
          <p:pic>
            <p:nvPicPr>
              <p:cNvPr id="13"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44523" y="2372704"/>
                <a:ext cx="338443" cy="338443"/>
              </a:xfrm>
              <a:prstGeom prst="rect">
                <a:avLst/>
              </a:prstGeom>
              <a:noFill/>
              <a:ln>
                <a:noFill/>
              </a:ln>
            </p:spPr>
          </p:pic>
          <p:sp>
            <p:nvSpPr>
              <p:cNvPr id="14" name="Rectangle 202"/>
              <p:cNvSpPr>
                <a:spLocks noChangeArrowheads="1"/>
              </p:cNvSpPr>
              <p:nvPr/>
            </p:nvSpPr>
            <p:spPr bwMode="auto">
              <a:xfrm>
                <a:off x="1888652" y="2673806"/>
                <a:ext cx="911684"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Satu Mare</a:t>
                </a:r>
              </a:p>
            </p:txBody>
          </p:sp>
          <p:pic>
            <p:nvPicPr>
              <p:cNvPr id="15"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74034" y="3033579"/>
                <a:ext cx="338443" cy="338443"/>
              </a:xfrm>
              <a:prstGeom prst="rect">
                <a:avLst/>
              </a:prstGeom>
              <a:noFill/>
              <a:ln>
                <a:noFill/>
              </a:ln>
            </p:spPr>
          </p:pic>
          <p:sp>
            <p:nvSpPr>
              <p:cNvPr id="16" name="Rectangle 202"/>
              <p:cNvSpPr>
                <a:spLocks noChangeArrowheads="1"/>
              </p:cNvSpPr>
              <p:nvPr/>
            </p:nvSpPr>
            <p:spPr bwMode="auto">
              <a:xfrm>
                <a:off x="1627528" y="3277447"/>
                <a:ext cx="767233"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Oradea</a:t>
                </a:r>
              </a:p>
            </p:txBody>
          </p:sp>
          <p:pic>
            <p:nvPicPr>
              <p:cNvPr id="17"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0353" y="2145181"/>
                <a:ext cx="338443" cy="338443"/>
              </a:xfrm>
              <a:prstGeom prst="rect">
                <a:avLst/>
              </a:prstGeom>
              <a:noFill/>
              <a:ln>
                <a:noFill/>
              </a:ln>
            </p:spPr>
          </p:pic>
          <p:sp>
            <p:nvSpPr>
              <p:cNvPr id="18" name="Rectangle 202"/>
              <p:cNvSpPr>
                <a:spLocks noChangeArrowheads="1"/>
              </p:cNvSpPr>
              <p:nvPr/>
            </p:nvSpPr>
            <p:spPr bwMode="auto">
              <a:xfrm>
                <a:off x="3847104" y="2399183"/>
                <a:ext cx="967007"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Suceava</a:t>
                </a:r>
              </a:p>
            </p:txBody>
          </p:sp>
          <p:pic>
            <p:nvPicPr>
              <p:cNvPr id="19"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25465" y="2322873"/>
                <a:ext cx="338443" cy="338443"/>
              </a:xfrm>
              <a:prstGeom prst="rect">
                <a:avLst/>
              </a:prstGeom>
              <a:noFill/>
              <a:ln>
                <a:noFill/>
              </a:ln>
            </p:spPr>
          </p:pic>
          <p:pic>
            <p:nvPicPr>
              <p:cNvPr id="20" name="Picture 6" descr="https://cdn3.iconfinder.com/data/icons/map/500/airport-512.png"/>
              <p:cNvPicPr>
                <a:picLocks noChangeAspect="1" noChangeArrowheads="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4800348" y="3097424"/>
                <a:ext cx="338443" cy="338443"/>
              </a:xfrm>
              <a:prstGeom prst="rect">
                <a:avLst/>
              </a:prstGeom>
              <a:noFill/>
              <a:ln>
                <a:noFill/>
              </a:ln>
            </p:spPr>
          </p:pic>
          <p:pic>
            <p:nvPicPr>
              <p:cNvPr id="22"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63142" y="3275008"/>
                <a:ext cx="338443" cy="338443"/>
              </a:xfrm>
              <a:prstGeom prst="rect">
                <a:avLst/>
              </a:prstGeom>
              <a:noFill/>
              <a:ln>
                <a:noFill/>
              </a:ln>
            </p:spPr>
          </p:pic>
          <p:pic>
            <p:nvPicPr>
              <p:cNvPr id="27"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51414" y="3161897"/>
                <a:ext cx="338443" cy="338443"/>
              </a:xfrm>
              <a:prstGeom prst="rect">
                <a:avLst/>
              </a:prstGeom>
              <a:noFill/>
              <a:ln>
                <a:noFill/>
              </a:ln>
            </p:spPr>
          </p:pic>
          <p:pic>
            <p:nvPicPr>
              <p:cNvPr id="28"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4381" y="4034796"/>
                <a:ext cx="338443" cy="338443"/>
              </a:xfrm>
              <a:prstGeom prst="rect">
                <a:avLst/>
              </a:prstGeom>
              <a:noFill/>
              <a:ln>
                <a:noFill/>
              </a:ln>
            </p:spPr>
          </p:pic>
          <p:pic>
            <p:nvPicPr>
              <p:cNvPr id="29"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94569" y="4284451"/>
                <a:ext cx="338443" cy="338443"/>
              </a:xfrm>
              <a:prstGeom prst="rect">
                <a:avLst/>
              </a:prstGeom>
              <a:noFill/>
              <a:ln>
                <a:noFill/>
              </a:ln>
            </p:spPr>
          </p:pic>
          <p:pic>
            <p:nvPicPr>
              <p:cNvPr id="30"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46739" y="5497039"/>
                <a:ext cx="338443" cy="338443"/>
              </a:xfrm>
              <a:prstGeom prst="rect">
                <a:avLst/>
              </a:prstGeom>
              <a:noFill/>
              <a:ln>
                <a:noFill/>
              </a:ln>
            </p:spPr>
          </p:pic>
          <p:pic>
            <p:nvPicPr>
              <p:cNvPr id="31"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10439" y="5064979"/>
                <a:ext cx="338443" cy="338443"/>
              </a:xfrm>
              <a:prstGeom prst="rect">
                <a:avLst/>
              </a:prstGeom>
              <a:noFill/>
              <a:ln>
                <a:noFill/>
              </a:ln>
            </p:spPr>
          </p:pic>
          <p:pic>
            <p:nvPicPr>
              <p:cNvPr id="32"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68621" y="4848944"/>
                <a:ext cx="338443" cy="338443"/>
              </a:xfrm>
              <a:prstGeom prst="rect">
                <a:avLst/>
              </a:prstGeom>
              <a:noFill/>
              <a:ln>
                <a:noFill/>
              </a:ln>
            </p:spPr>
          </p:pic>
          <p:sp>
            <p:nvSpPr>
              <p:cNvPr id="33" name="Rectangle 202"/>
              <p:cNvSpPr>
                <a:spLocks noChangeArrowheads="1"/>
              </p:cNvSpPr>
              <p:nvPr/>
            </p:nvSpPr>
            <p:spPr bwMode="auto">
              <a:xfrm>
                <a:off x="1141567" y="4608973"/>
                <a:ext cx="1027612"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Timisoara</a:t>
                </a:r>
              </a:p>
            </p:txBody>
          </p:sp>
          <p:sp>
            <p:nvSpPr>
              <p:cNvPr id="34" name="Rectangle 202"/>
              <p:cNvSpPr>
                <a:spLocks noChangeArrowheads="1"/>
              </p:cNvSpPr>
              <p:nvPr/>
            </p:nvSpPr>
            <p:spPr bwMode="auto">
              <a:xfrm>
                <a:off x="2927231" y="5821549"/>
                <a:ext cx="823652"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Craiova</a:t>
                </a:r>
              </a:p>
            </p:txBody>
          </p:sp>
          <p:sp>
            <p:nvSpPr>
              <p:cNvPr id="35" name="Rectangle 202"/>
              <p:cNvSpPr>
                <a:spLocks noChangeArrowheads="1"/>
              </p:cNvSpPr>
              <p:nvPr/>
            </p:nvSpPr>
            <p:spPr bwMode="auto">
              <a:xfrm>
                <a:off x="2982766" y="4346901"/>
                <a:ext cx="559531"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Sibiu</a:t>
                </a:r>
              </a:p>
            </p:txBody>
          </p:sp>
          <p:sp>
            <p:nvSpPr>
              <p:cNvPr id="36" name="Rectangle 202"/>
              <p:cNvSpPr>
                <a:spLocks noChangeArrowheads="1"/>
              </p:cNvSpPr>
              <p:nvPr/>
            </p:nvSpPr>
            <p:spPr bwMode="auto">
              <a:xfrm>
                <a:off x="3109155" y="3579559"/>
                <a:ext cx="1173243"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Targu Mures</a:t>
                </a:r>
              </a:p>
            </p:txBody>
          </p:sp>
          <p:sp>
            <p:nvSpPr>
              <p:cNvPr id="37" name="Rectangle 202"/>
              <p:cNvSpPr>
                <a:spLocks noChangeArrowheads="1"/>
              </p:cNvSpPr>
              <p:nvPr/>
            </p:nvSpPr>
            <p:spPr bwMode="auto">
              <a:xfrm>
                <a:off x="2159101" y="3426223"/>
                <a:ext cx="1146464"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Cluj-Napoca</a:t>
                </a:r>
              </a:p>
            </p:txBody>
          </p:sp>
          <p:sp>
            <p:nvSpPr>
              <p:cNvPr id="38" name="Rectangle 202"/>
              <p:cNvSpPr>
                <a:spLocks noChangeArrowheads="1"/>
              </p:cNvSpPr>
              <p:nvPr/>
            </p:nvSpPr>
            <p:spPr bwMode="auto">
              <a:xfrm>
                <a:off x="4866653" y="3367393"/>
                <a:ext cx="753453"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Bacau</a:t>
                </a:r>
              </a:p>
            </p:txBody>
          </p:sp>
          <p:sp>
            <p:nvSpPr>
              <p:cNvPr id="39" name="Rectangle 202"/>
              <p:cNvSpPr>
                <a:spLocks noChangeArrowheads="1"/>
              </p:cNvSpPr>
              <p:nvPr/>
            </p:nvSpPr>
            <p:spPr bwMode="auto">
              <a:xfrm>
                <a:off x="4902355" y="2603812"/>
                <a:ext cx="540396"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Iasi</a:t>
                </a:r>
              </a:p>
            </p:txBody>
          </p:sp>
          <p:sp>
            <p:nvSpPr>
              <p:cNvPr id="40" name="Rectangle 202"/>
              <p:cNvSpPr>
                <a:spLocks noChangeArrowheads="1"/>
              </p:cNvSpPr>
              <p:nvPr/>
            </p:nvSpPr>
            <p:spPr bwMode="auto">
              <a:xfrm>
                <a:off x="3907363" y="5372288"/>
                <a:ext cx="1758297" cy="210291"/>
              </a:xfrm>
              <a:prstGeom prst="roundRect">
                <a:avLst/>
              </a:prstGeom>
              <a:noFill/>
              <a:ln w="9525">
                <a:noFill/>
                <a:miter lim="800000"/>
                <a:headEnd/>
                <a:tailEnd/>
              </a:ln>
            </p:spPr>
            <p:txBody>
              <a:bodyPr wrap="square" lIns="27432" tIns="0" rIns="18288"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1" u="none" strike="noStrike" kern="0" cap="none" spc="0" normalizeH="0" baseline="0" noProof="0" dirty="0">
                    <a:ln>
                      <a:noFill/>
                    </a:ln>
                    <a:solidFill>
                      <a:srgbClr val="17375E"/>
                    </a:solidFill>
                    <a:effectLst/>
                    <a:uLnTx/>
                    <a:uFillTx/>
                    <a:latin typeface="Cambria" panose="02040503050406030204" pitchFamily="18" charset="0"/>
                  </a:rPr>
                  <a:t>Bucharest</a:t>
                </a:r>
                <a:r>
                  <a:rPr kumimoji="0" lang="ro-RO" sz="1000" b="1" i="1" u="none" strike="noStrike" kern="0" cap="none" spc="0" normalizeH="0" baseline="0" noProof="0" dirty="0">
                    <a:ln>
                      <a:noFill/>
                    </a:ln>
                    <a:solidFill>
                      <a:srgbClr val="17375E"/>
                    </a:solidFill>
                    <a:effectLst/>
                    <a:uLnTx/>
                    <a:uFillTx/>
                    <a:latin typeface="Cambria" panose="02040503050406030204" pitchFamily="18" charset="0"/>
                  </a:rPr>
                  <a:t>,</a:t>
                </a:r>
                <a:r>
                  <a:rPr kumimoji="0" lang="de-DE" sz="1000" b="1" i="1" u="none" strike="noStrike" kern="0" cap="none" spc="0" normalizeH="0" baseline="0" noProof="0" dirty="0">
                    <a:ln>
                      <a:noFill/>
                    </a:ln>
                    <a:solidFill>
                      <a:srgbClr val="17375E"/>
                    </a:solidFill>
                    <a:effectLst/>
                    <a:uLnTx/>
                    <a:uFillTx/>
                    <a:latin typeface="Cambria" panose="02040503050406030204" pitchFamily="18" charset="0"/>
                  </a:rPr>
                  <a:t> Otopeni</a:t>
                </a:r>
              </a:p>
            </p:txBody>
          </p:sp>
          <p:pic>
            <p:nvPicPr>
              <p:cNvPr id="41"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32099" y="5749874"/>
                <a:ext cx="334556" cy="334556"/>
              </a:xfrm>
              <a:prstGeom prst="rect">
                <a:avLst/>
              </a:prstGeom>
              <a:noFill/>
              <a:ln>
                <a:noFill/>
              </a:ln>
            </p:spPr>
          </p:pic>
          <p:pic>
            <p:nvPicPr>
              <p:cNvPr id="42"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42547" y="4040892"/>
                <a:ext cx="334556" cy="334556"/>
              </a:xfrm>
              <a:prstGeom prst="rect">
                <a:avLst/>
              </a:prstGeom>
              <a:noFill/>
              <a:ln>
                <a:noFill/>
              </a:ln>
            </p:spPr>
          </p:pic>
          <p:pic>
            <p:nvPicPr>
              <p:cNvPr id="43"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84854" y="4272124"/>
                <a:ext cx="334556" cy="334556"/>
              </a:xfrm>
              <a:prstGeom prst="rect">
                <a:avLst/>
              </a:prstGeom>
              <a:noFill/>
              <a:ln>
                <a:noFill/>
              </a:ln>
            </p:spPr>
          </p:pic>
          <p:pic>
            <p:nvPicPr>
              <p:cNvPr id="44"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94557" y="4255473"/>
                <a:ext cx="334556" cy="334556"/>
              </a:xfrm>
              <a:prstGeom prst="rect">
                <a:avLst/>
              </a:prstGeom>
              <a:noFill/>
              <a:ln>
                <a:noFill/>
              </a:ln>
            </p:spPr>
          </p:pic>
          <p:pic>
            <p:nvPicPr>
              <p:cNvPr id="45"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85376" y="5137255"/>
                <a:ext cx="334556" cy="334556"/>
              </a:xfrm>
              <a:prstGeom prst="rect">
                <a:avLst/>
              </a:prstGeom>
              <a:noFill/>
              <a:ln>
                <a:noFill/>
              </a:ln>
            </p:spPr>
          </p:pic>
          <p:pic>
            <p:nvPicPr>
              <p:cNvPr id="46"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0383" y="5476672"/>
                <a:ext cx="334556" cy="334556"/>
              </a:xfrm>
              <a:prstGeom prst="rect">
                <a:avLst/>
              </a:prstGeom>
              <a:noFill/>
              <a:ln>
                <a:noFill/>
              </a:ln>
            </p:spPr>
          </p:pic>
          <p:sp>
            <p:nvSpPr>
              <p:cNvPr id="47" name="Rectangle 202"/>
              <p:cNvSpPr>
                <a:spLocks noChangeArrowheads="1"/>
              </p:cNvSpPr>
              <p:nvPr/>
            </p:nvSpPr>
            <p:spPr bwMode="auto">
              <a:xfrm>
                <a:off x="1833133" y="4787033"/>
                <a:ext cx="1531224" cy="471053"/>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Drobeta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T</a:t>
                </a:r>
                <a:r>
                  <a:rPr kumimoji="0" lang="ro-RO" sz="1000" b="1" i="0" u="none" strike="noStrike" kern="0" cap="none" spc="0" normalizeH="0" baseline="0" noProof="0" dirty="0">
                    <a:ln>
                      <a:noFill/>
                    </a:ln>
                    <a:solidFill>
                      <a:srgbClr val="031651"/>
                    </a:solidFill>
                    <a:effectLst/>
                    <a:uLnTx/>
                    <a:uFillTx/>
                    <a:latin typeface="Cambria" panose="02040503050406030204" pitchFamily="18" charset="0"/>
                  </a:rPr>
                  <a:t>urnu</a:t>
                </a: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Severin</a:t>
                </a:r>
              </a:p>
            </p:txBody>
          </p:sp>
          <p:sp>
            <p:nvSpPr>
              <p:cNvPr id="48" name="Rectangle 202"/>
              <p:cNvSpPr>
                <a:spLocks noChangeArrowheads="1"/>
              </p:cNvSpPr>
              <p:nvPr/>
            </p:nvSpPr>
            <p:spPr bwMode="auto">
              <a:xfrm>
                <a:off x="3915074" y="5953400"/>
                <a:ext cx="938029"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lang="de-DE" sz="1000" b="1" dirty="0">
                    <a:solidFill>
                      <a:srgbClr val="031651"/>
                    </a:solidFill>
                    <a:latin typeface="Cambria" panose="02040503050406030204" pitchFamily="18" charset="0"/>
                  </a:rPr>
                  <a:t>Giurgiu</a:t>
                </a:r>
              </a:p>
            </p:txBody>
          </p:sp>
          <p:sp>
            <p:nvSpPr>
              <p:cNvPr id="49" name="Rectangle 202"/>
              <p:cNvSpPr>
                <a:spLocks noChangeArrowheads="1"/>
              </p:cNvSpPr>
              <p:nvPr/>
            </p:nvSpPr>
            <p:spPr bwMode="auto">
              <a:xfrm>
                <a:off x="6569279" y="5641377"/>
                <a:ext cx="988626"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Mangalia</a:t>
                </a:r>
              </a:p>
            </p:txBody>
          </p:sp>
          <p:sp>
            <p:nvSpPr>
              <p:cNvPr id="50" name="Rectangle 202"/>
              <p:cNvSpPr>
                <a:spLocks noChangeArrowheads="1"/>
              </p:cNvSpPr>
              <p:nvPr/>
            </p:nvSpPr>
            <p:spPr bwMode="auto">
              <a:xfrm>
                <a:off x="6539952" y="5258582"/>
                <a:ext cx="1017954"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Constanta</a:t>
                </a:r>
              </a:p>
            </p:txBody>
          </p:sp>
          <p:sp>
            <p:nvSpPr>
              <p:cNvPr id="51" name="Rectangle 202"/>
              <p:cNvSpPr>
                <a:spLocks noChangeArrowheads="1"/>
              </p:cNvSpPr>
              <p:nvPr/>
            </p:nvSpPr>
            <p:spPr bwMode="auto">
              <a:xfrm>
                <a:off x="6982391" y="4311163"/>
                <a:ext cx="738307"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Sulina</a:t>
                </a:r>
              </a:p>
            </p:txBody>
          </p:sp>
          <p:sp>
            <p:nvSpPr>
              <p:cNvPr id="52" name="Rectangle 202"/>
              <p:cNvSpPr>
                <a:spLocks noChangeArrowheads="1"/>
              </p:cNvSpPr>
              <p:nvPr/>
            </p:nvSpPr>
            <p:spPr bwMode="auto">
              <a:xfrm>
                <a:off x="6172216" y="4531002"/>
                <a:ext cx="758858" cy="260762"/>
              </a:xfrm>
              <a:prstGeom prst="roundRect">
                <a:avLst/>
              </a:prstGeom>
              <a:noFill/>
              <a:ln w="76200">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Tulcea</a:t>
                </a:r>
              </a:p>
            </p:txBody>
          </p:sp>
          <p:sp>
            <p:nvSpPr>
              <p:cNvPr id="53" name="Rectangle 202"/>
              <p:cNvSpPr>
                <a:spLocks noChangeArrowheads="1"/>
              </p:cNvSpPr>
              <p:nvPr/>
            </p:nvSpPr>
            <p:spPr bwMode="auto">
              <a:xfrm>
                <a:off x="5312437" y="4520280"/>
                <a:ext cx="761546"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Braila</a:t>
                </a:r>
              </a:p>
            </p:txBody>
          </p:sp>
          <p:sp>
            <p:nvSpPr>
              <p:cNvPr id="54" name="Rectangle 202"/>
              <p:cNvSpPr>
                <a:spLocks noChangeArrowheads="1"/>
              </p:cNvSpPr>
              <p:nvPr/>
            </p:nvSpPr>
            <p:spPr bwMode="auto">
              <a:xfrm>
                <a:off x="5076472" y="4067884"/>
                <a:ext cx="991991"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Galati</a:t>
                </a:r>
              </a:p>
            </p:txBody>
          </p:sp>
          <p:sp>
            <p:nvSpPr>
              <p:cNvPr id="55" name="Rectangle 202"/>
              <p:cNvSpPr>
                <a:spLocks noChangeArrowheads="1"/>
              </p:cNvSpPr>
              <p:nvPr/>
            </p:nvSpPr>
            <p:spPr bwMode="auto">
              <a:xfrm>
                <a:off x="2603417" y="2655622"/>
                <a:ext cx="1195120"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Baia Mare</a:t>
                </a:r>
              </a:p>
            </p:txBody>
          </p:sp>
          <p:sp>
            <p:nvSpPr>
              <p:cNvPr id="56" name="Rectangle 202"/>
              <p:cNvSpPr>
                <a:spLocks noChangeArrowheads="1"/>
              </p:cNvSpPr>
              <p:nvPr/>
            </p:nvSpPr>
            <p:spPr bwMode="auto">
              <a:xfrm>
                <a:off x="1364026" y="4009715"/>
                <a:ext cx="652805"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Arad</a:t>
                </a:r>
              </a:p>
            </p:txBody>
          </p:sp>
          <p:sp>
            <p:nvSpPr>
              <p:cNvPr id="57" name="Rectangle 202"/>
              <p:cNvSpPr>
                <a:spLocks noChangeArrowheads="1"/>
              </p:cNvSpPr>
              <p:nvPr/>
            </p:nvSpPr>
            <p:spPr bwMode="auto">
              <a:xfrm>
                <a:off x="3840993" y="4484525"/>
                <a:ext cx="746613"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Brasov</a:t>
                </a:r>
              </a:p>
            </p:txBody>
          </p:sp>
          <p:sp>
            <p:nvSpPr>
              <p:cNvPr id="58" name="Rectangle 202"/>
              <p:cNvSpPr>
                <a:spLocks noChangeArrowheads="1"/>
              </p:cNvSpPr>
              <p:nvPr/>
            </p:nvSpPr>
            <p:spPr bwMode="auto">
              <a:xfrm>
                <a:off x="5988364" y="4865113"/>
                <a:ext cx="1829681" cy="260762"/>
              </a:xfrm>
              <a:prstGeom prst="roundRect">
                <a:avLst/>
              </a:prstGeom>
              <a:noFill/>
              <a:ln w="9525">
                <a:noFill/>
                <a:miter lim="800000"/>
                <a:headEnd/>
                <a:tailEnd/>
              </a:ln>
            </p:spPr>
            <p:txBody>
              <a:bodyPr wrap="square" lIns="27432" tIns="18288" rIns="18288" bIns="18288">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0" u="none" strike="noStrike" kern="0" cap="none" spc="0" normalizeH="0" baseline="0" noProof="0" dirty="0">
                    <a:ln>
                      <a:noFill/>
                    </a:ln>
                    <a:solidFill>
                      <a:srgbClr val="031651"/>
                    </a:solidFill>
                    <a:effectLst/>
                    <a:uLnTx/>
                    <a:uFillTx/>
                    <a:latin typeface="Cambria" panose="02040503050406030204" pitchFamily="18" charset="0"/>
                  </a:rPr>
                  <a:t>M.Kogalniceanu</a:t>
                </a:r>
              </a:p>
            </p:txBody>
          </p:sp>
          <p:pic>
            <p:nvPicPr>
              <p:cNvPr id="59"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78466" y="2378067"/>
                <a:ext cx="338443" cy="338443"/>
              </a:xfrm>
              <a:prstGeom prst="rect">
                <a:avLst/>
              </a:prstGeom>
              <a:noFill/>
              <a:ln>
                <a:noFill/>
              </a:ln>
            </p:spPr>
          </p:pic>
          <p:pic>
            <p:nvPicPr>
              <p:cNvPr id="60"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69099" y="3818110"/>
                <a:ext cx="338443" cy="338443"/>
              </a:xfrm>
              <a:prstGeom prst="rect">
                <a:avLst/>
              </a:prstGeom>
              <a:noFill/>
              <a:ln>
                <a:noFill/>
              </a:ln>
            </p:spPr>
          </p:pic>
        </p:grpSp>
        <p:pic>
          <p:nvPicPr>
            <p:cNvPr id="10"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06173" y="4171931"/>
              <a:ext cx="381007" cy="378959"/>
            </a:xfrm>
            <a:prstGeom prst="rect">
              <a:avLst/>
            </a:prstGeom>
            <a:noFill/>
            <a:ln>
              <a:noFill/>
            </a:ln>
          </p:spPr>
        </p:pic>
        <p:pic>
          <p:nvPicPr>
            <p:cNvPr id="11"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00565" y="4300242"/>
              <a:ext cx="385434" cy="383362"/>
            </a:xfrm>
            <a:prstGeom prst="rect">
              <a:avLst/>
            </a:prstGeom>
            <a:noFill/>
          </p:spPr>
        </p:pic>
      </p:grpSp>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23"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Connectivity</a:t>
            </a:r>
          </a:p>
        </p:txBody>
      </p:sp>
      <p:sp>
        <p:nvSpPr>
          <p:cNvPr id="26" name="Rectangle 25"/>
          <p:cNvSpPr/>
          <p:nvPr/>
        </p:nvSpPr>
        <p:spPr>
          <a:xfrm>
            <a:off x="4437636" y="4870381"/>
            <a:ext cx="2143536" cy="24468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National Institute of Statistics)</a:t>
            </a:r>
          </a:p>
        </p:txBody>
      </p:sp>
      <p:sp>
        <p:nvSpPr>
          <p:cNvPr id="61" name="Rectangle 60"/>
          <p:cNvSpPr/>
          <p:nvPr/>
        </p:nvSpPr>
        <p:spPr>
          <a:xfrm>
            <a:off x="5297611" y="1164729"/>
            <a:ext cx="2910330" cy="1754326"/>
          </a:xfrm>
          <a:prstGeom prst="rect">
            <a:avLst/>
          </a:prstGeom>
        </p:spPr>
        <p:txBody>
          <a:bodyPr wrap="square">
            <a:spAutoFit/>
          </a:bodyPr>
          <a:lstStyle/>
          <a:p>
            <a:pPr algn="just" fontAlgn="auto">
              <a:spcBef>
                <a:spcPts val="0"/>
              </a:spcBef>
              <a:spcAft>
                <a:spcPts val="0"/>
              </a:spcAft>
              <a:defRPr/>
            </a:pPr>
            <a:r>
              <a:rPr lang="en-US" sz="1200" dirty="0">
                <a:solidFill>
                  <a:srgbClr val="2846A8"/>
                </a:solidFill>
                <a:latin typeface="Cambria" panose="02040503050406030204" pitchFamily="18" charset="0"/>
              </a:rPr>
              <a:t>Romania owns 1/3 of the Danube River, also standing as the most significant gateway to the Black Sea through Constanta Port, the largest and deepest harbor (25 meters) at the Black Sea (with a 6 days time saving competitive advantage against the biggest European port, Rotterdam, as concerns Asian goods transportation by sea).</a:t>
            </a:r>
          </a:p>
        </p:txBody>
      </p:sp>
      <p:sp>
        <p:nvSpPr>
          <p:cNvPr id="62" name="Rectangle 61"/>
          <p:cNvSpPr/>
          <p:nvPr/>
        </p:nvSpPr>
        <p:spPr>
          <a:xfrm>
            <a:off x="486810" y="1172554"/>
            <a:ext cx="2825792" cy="461665"/>
          </a:xfrm>
          <a:prstGeom prst="rect">
            <a:avLst/>
          </a:prstGeom>
        </p:spPr>
        <p:txBody>
          <a:bodyPr wrap="square">
            <a:spAutoFit/>
          </a:bodyPr>
          <a:lstStyle/>
          <a:p>
            <a:pPr algn="just" fontAlgn="auto">
              <a:spcBef>
                <a:spcPts val="0"/>
              </a:spcBef>
              <a:spcAft>
                <a:spcPts val="0"/>
              </a:spcAft>
              <a:defRPr/>
            </a:pPr>
            <a:r>
              <a:rPr lang="en-US" sz="1200" dirty="0">
                <a:solidFill>
                  <a:srgbClr val="2846A8"/>
                </a:solidFill>
                <a:latin typeface="Cambria" panose="02040503050406030204" pitchFamily="18" charset="0"/>
              </a:rPr>
              <a:t>17 International Airports with more than 100 direct flights worldwide</a:t>
            </a:r>
            <a:r>
              <a:rPr lang="ro-RO" sz="1200" dirty="0">
                <a:solidFill>
                  <a:srgbClr val="2846A8"/>
                </a:solidFill>
                <a:latin typeface="Cambria" panose="02040503050406030204" pitchFamily="18" charset="0"/>
              </a:rPr>
              <a:t>.</a:t>
            </a:r>
            <a:endParaRPr lang="en-US" sz="1200" dirty="0">
              <a:solidFill>
                <a:srgbClr val="2846A8"/>
              </a:solidFill>
              <a:latin typeface="Cambria" panose="02040503050406030204" pitchFamily="18" charset="0"/>
            </a:endParaRPr>
          </a:p>
        </p:txBody>
      </p:sp>
      <p:pic>
        <p:nvPicPr>
          <p:cNvPr id="63" name="Picture 12" descr="https://cdn3.iconfinder.com/data/icons/map-markers-1/512/sea_port-512.png"/>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2805" y="4011258"/>
            <a:ext cx="265205" cy="270868"/>
          </a:xfrm>
          <a:prstGeom prst="rect">
            <a:avLst/>
          </a:prstGeom>
          <a:noFill/>
          <a:ln>
            <a:noFill/>
          </a:ln>
        </p:spPr>
      </p:pic>
      <p:pic>
        <p:nvPicPr>
          <p:cNvPr id="65"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52987" y="3201406"/>
            <a:ext cx="270392" cy="268938"/>
          </a:xfrm>
          <a:prstGeom prst="rect">
            <a:avLst/>
          </a:prstGeom>
          <a:noFill/>
          <a:ln>
            <a:noFill/>
          </a:ln>
        </p:spPr>
      </p:pic>
      <p:pic>
        <p:nvPicPr>
          <p:cNvPr id="66"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29014" y="3892675"/>
            <a:ext cx="268287" cy="274015"/>
          </a:xfrm>
          <a:prstGeom prst="rect">
            <a:avLst/>
          </a:prstGeom>
          <a:noFill/>
          <a:ln>
            <a:noFill/>
          </a:ln>
        </p:spPr>
      </p:pic>
      <p:sp>
        <p:nvSpPr>
          <p:cNvPr id="67" name="Rectangle 202"/>
          <p:cNvSpPr>
            <a:spLocks noChangeArrowheads="1"/>
          </p:cNvSpPr>
          <p:nvPr/>
        </p:nvSpPr>
        <p:spPr bwMode="auto">
          <a:xfrm>
            <a:off x="3302631" y="4248268"/>
            <a:ext cx="1441676" cy="170259"/>
          </a:xfrm>
          <a:prstGeom prst="roundRect">
            <a:avLst/>
          </a:prstGeom>
          <a:noFill/>
          <a:ln w="9525">
            <a:noFill/>
            <a:miter lim="800000"/>
            <a:headEnd/>
            <a:tailEnd/>
          </a:ln>
        </p:spPr>
        <p:txBody>
          <a:bodyPr wrap="square" lIns="27432" tIns="0" rIns="18288" bIns="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000" b="1" i="1" u="none" strike="noStrike" kern="0" cap="none" spc="0" normalizeH="0" baseline="0" noProof="0" dirty="0">
                <a:ln>
                  <a:noFill/>
                </a:ln>
                <a:solidFill>
                  <a:srgbClr val="17375E"/>
                </a:solidFill>
                <a:effectLst/>
                <a:uLnTx/>
                <a:uFillTx/>
                <a:latin typeface="Cambria" panose="02040503050406030204" pitchFamily="18" charset="0"/>
              </a:rPr>
              <a:t>Bucharest</a:t>
            </a:r>
            <a:r>
              <a:rPr kumimoji="0" lang="ro-RO" sz="1000" b="1" i="1" u="none" strike="noStrike" kern="0" cap="none" spc="0" normalizeH="0" baseline="0" noProof="0" dirty="0">
                <a:ln>
                  <a:noFill/>
                </a:ln>
                <a:solidFill>
                  <a:srgbClr val="17375E"/>
                </a:solidFill>
                <a:effectLst/>
                <a:uLnTx/>
                <a:uFillTx/>
                <a:latin typeface="Cambria" panose="02040503050406030204" pitchFamily="18" charset="0"/>
              </a:rPr>
              <a:t>,</a:t>
            </a:r>
            <a:r>
              <a:rPr kumimoji="0" lang="de-DE" sz="1000" b="1" i="1" u="none" strike="noStrike" kern="0" cap="none" spc="0" normalizeH="0" baseline="0" noProof="0" dirty="0">
                <a:ln>
                  <a:noFill/>
                </a:ln>
                <a:solidFill>
                  <a:srgbClr val="17375E"/>
                </a:solidFill>
                <a:effectLst/>
                <a:uLnTx/>
                <a:uFillTx/>
                <a:latin typeface="Cambria" panose="02040503050406030204" pitchFamily="18" charset="0"/>
              </a:rPr>
              <a:t> Aurel Vlaicu</a:t>
            </a:r>
          </a:p>
        </p:txBody>
      </p:sp>
      <p:grpSp>
        <p:nvGrpSpPr>
          <p:cNvPr id="64" name="Group 63"/>
          <p:cNvGrpSpPr/>
          <p:nvPr/>
        </p:nvGrpSpPr>
        <p:grpSpPr>
          <a:xfrm>
            <a:off x="681567" y="4532304"/>
            <a:ext cx="1664131" cy="498089"/>
            <a:chOff x="9736200" y="4643742"/>
            <a:chExt cx="1987217" cy="751789"/>
          </a:xfrm>
        </p:grpSpPr>
        <p:sp>
          <p:nvSpPr>
            <p:cNvPr id="68" name="Rectangle 202"/>
            <p:cNvSpPr>
              <a:spLocks noChangeArrowheads="1"/>
            </p:cNvSpPr>
            <p:nvPr/>
          </p:nvSpPr>
          <p:spPr bwMode="auto">
            <a:xfrm>
              <a:off x="10067433" y="4745820"/>
              <a:ext cx="1655984" cy="202631"/>
            </a:xfrm>
            <a:prstGeom prst="roundRect">
              <a:avLst/>
            </a:prstGeom>
            <a:noFill/>
            <a:ln w="9525">
              <a:noFill/>
              <a:miter lim="800000"/>
              <a:headEnd/>
              <a:tailEnd/>
            </a:ln>
          </p:spPr>
          <p:txBody>
            <a:bodyPr wrap="square" lIns="27432" tIns="18288" rIns="18288" bIns="18288">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4D4D4D"/>
                  </a:solidFill>
                  <a:effectLst/>
                  <a:uLnTx/>
                  <a:uFillTx/>
                  <a:latin typeface="Cambria" panose="02040503050406030204" pitchFamily="18" charset="0"/>
                </a:rPr>
                <a:t>International Fligths</a:t>
              </a:r>
            </a:p>
          </p:txBody>
        </p:sp>
        <p:sp>
          <p:nvSpPr>
            <p:cNvPr id="69" name="Rectangle 202"/>
            <p:cNvSpPr>
              <a:spLocks noChangeArrowheads="1"/>
            </p:cNvSpPr>
            <p:nvPr/>
          </p:nvSpPr>
          <p:spPr bwMode="auto">
            <a:xfrm>
              <a:off x="10060396" y="5116877"/>
              <a:ext cx="1305480" cy="202631"/>
            </a:xfrm>
            <a:prstGeom prst="roundRect">
              <a:avLst/>
            </a:prstGeom>
            <a:noFill/>
            <a:ln w="9525">
              <a:noFill/>
              <a:miter lim="800000"/>
              <a:headEnd/>
              <a:tailEnd/>
            </a:ln>
          </p:spPr>
          <p:txBody>
            <a:bodyPr wrap="square" lIns="27432" tIns="18288" rIns="18288" bIns="18288">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de-DE" sz="900" b="1" i="0" u="none" strike="noStrike" kern="0" cap="none" spc="0" normalizeH="0" baseline="0" noProof="0" dirty="0">
                  <a:ln>
                    <a:noFill/>
                  </a:ln>
                  <a:solidFill>
                    <a:srgbClr val="4D4D4D"/>
                  </a:solidFill>
                  <a:effectLst/>
                  <a:uLnTx/>
                  <a:uFillTx/>
                  <a:latin typeface="Cambria" panose="02040503050406030204" pitchFamily="18" charset="0"/>
                </a:rPr>
                <a:t>Ports</a:t>
              </a:r>
            </a:p>
          </p:txBody>
        </p:sp>
        <p:pic>
          <p:nvPicPr>
            <p:cNvPr id="70" name="Picture 12" descr="https://cdn3.iconfinder.com/data/icons/map-markers-1/512/sea_port-512.png"/>
            <p:cNvPicPr>
              <a:picLocks noChangeAspect="1" noChangeArrowheads="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colorTemperature colorTemp="11500"/>
                      </a14:imgEffect>
                    </a14:imgLayer>
                  </a14:imgProps>
                </a:ext>
                <a:ext uri="{28A0092B-C50C-407E-A947-70E740481C1C}">
                  <a14:useLocalDpi xmlns:a14="http://schemas.microsoft.com/office/drawing/2010/main" val="0"/>
                </a:ext>
              </a:extLst>
            </a:blip>
            <a:srcRect/>
            <a:stretch>
              <a:fillRect/>
            </a:stretch>
          </p:blipFill>
          <p:spPr bwMode="auto">
            <a:xfrm>
              <a:off x="9736200" y="5022715"/>
              <a:ext cx="354876" cy="372816"/>
            </a:xfrm>
            <a:prstGeom prst="rect">
              <a:avLst/>
            </a:prstGeom>
            <a:noFill/>
            <a:ln>
              <a:noFill/>
            </a:ln>
          </p:spPr>
        </p:pic>
        <p:pic>
          <p:nvPicPr>
            <p:cNvPr id="71" name="Picture 6" descr="https://cdn3.iconfinder.com/data/icons/map/500/airport-512.png"/>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49900" y="4643742"/>
              <a:ext cx="353610" cy="371429"/>
            </a:xfrm>
            <a:prstGeom prst="rect">
              <a:avLst/>
            </a:prstGeom>
            <a:noFill/>
            <a:ln>
              <a:noFill/>
            </a:ln>
          </p:spPr>
        </p:pic>
      </p:grpSp>
    </p:spTree>
    <p:extLst>
      <p:ext uri="{BB962C8B-B14F-4D97-AF65-F5344CB8AC3E}">
        <p14:creationId xmlns:p14="http://schemas.microsoft.com/office/powerpoint/2010/main" val="31799481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TextBox 178"/>
          <p:cNvSpPr txBox="1"/>
          <p:nvPr/>
        </p:nvSpPr>
        <p:spPr>
          <a:xfrm>
            <a:off x="1692275" y="1364321"/>
            <a:ext cx="3163684" cy="1333507"/>
          </a:xfrm>
          <a:prstGeom prst="rect">
            <a:avLst/>
          </a:prstGeom>
          <a:noFill/>
          <a:ln w="12700">
            <a:noFill/>
          </a:ln>
        </p:spPr>
        <p:txBody>
          <a:bodyPr wrap="square" lIns="0" tIns="0" rIns="0" bIns="0" rtlCol="0">
            <a:spAutoFit/>
          </a:bodyPr>
          <a:lstStyle/>
          <a:p>
            <a:pPr marL="261938" lvl="1" indent="-214313" algn="just">
              <a:buClr>
                <a:srgbClr val="2846A8"/>
              </a:buClr>
              <a:buFont typeface="Wingdings" panose="05000000000000000000" pitchFamily="2" charset="2"/>
              <a:buChar char="ü"/>
              <a:defRPr/>
            </a:pPr>
            <a:r>
              <a:rPr lang="ro-RO" sz="1200" dirty="0">
                <a:solidFill>
                  <a:srgbClr val="2846A8"/>
                </a:solidFill>
                <a:latin typeface="Cambria" panose="02040503050406030204" pitchFamily="18" charset="0"/>
              </a:rPr>
              <a:t>1</a:t>
            </a:r>
            <a:r>
              <a:rPr lang="en-US" sz="1200" dirty="0">
                <a:solidFill>
                  <a:srgbClr val="2846A8"/>
                </a:solidFill>
                <a:latin typeface="Cambria" panose="02040503050406030204" pitchFamily="18" charset="0"/>
              </a:rPr>
              <a:t>1</a:t>
            </a:r>
            <a:r>
              <a:rPr lang="ro-RO" sz="1200" dirty="0">
                <a:solidFill>
                  <a:srgbClr val="2846A8"/>
                </a:solidFill>
                <a:latin typeface="Cambria" panose="02040503050406030204" pitchFamily="18" charset="0"/>
              </a:rPr>
              <a:t>8 </a:t>
            </a:r>
            <a:r>
              <a:rPr lang="en-US" sz="1200" dirty="0">
                <a:solidFill>
                  <a:srgbClr val="2846A8"/>
                </a:solidFill>
                <a:latin typeface="Cambria" panose="02040503050406030204" pitchFamily="18" charset="0"/>
              </a:rPr>
              <a:t>modern industrial parks spread across Romania, with both private and public ownership, totaling 3</a:t>
            </a:r>
            <a:r>
              <a:rPr lang="ro-RO" sz="1200" dirty="0">
                <a:solidFill>
                  <a:srgbClr val="2846A8"/>
                </a:solidFill>
                <a:latin typeface="Cambria" panose="02040503050406030204" pitchFamily="18" charset="0"/>
              </a:rPr>
              <a:t>,</a:t>
            </a:r>
            <a:r>
              <a:rPr lang="en-US" sz="1200" dirty="0">
                <a:solidFill>
                  <a:srgbClr val="2846A8"/>
                </a:solidFill>
                <a:latin typeface="Cambria" panose="02040503050406030204" pitchFamily="18" charset="0"/>
              </a:rPr>
              <a:t>63</a:t>
            </a:r>
            <a:r>
              <a:rPr lang="ro-RO" sz="1200" dirty="0">
                <a:solidFill>
                  <a:srgbClr val="2846A8"/>
                </a:solidFill>
                <a:latin typeface="Cambria" panose="02040503050406030204" pitchFamily="18" charset="0"/>
              </a:rPr>
              <a:t>6</a:t>
            </a:r>
            <a:r>
              <a:rPr lang="en-US" sz="1200" dirty="0">
                <a:solidFill>
                  <a:srgbClr val="2846A8"/>
                </a:solidFill>
                <a:latin typeface="Cambria" panose="02040503050406030204" pitchFamily="18" charset="0"/>
              </a:rPr>
              <a:t>.</a:t>
            </a:r>
            <a:r>
              <a:rPr lang="ro-RO" sz="1200" dirty="0">
                <a:solidFill>
                  <a:srgbClr val="2846A8"/>
                </a:solidFill>
                <a:latin typeface="Cambria" panose="02040503050406030204" pitchFamily="18" charset="0"/>
              </a:rPr>
              <a:t>05</a:t>
            </a:r>
            <a:r>
              <a:rPr lang="en-US" sz="1200" dirty="0">
                <a:solidFill>
                  <a:srgbClr val="2846A8"/>
                </a:solidFill>
                <a:latin typeface="Cambria" panose="02040503050406030204" pitchFamily="18" charset="0"/>
              </a:rPr>
              <a:t> ha</a:t>
            </a:r>
            <a:r>
              <a:rPr lang="ro-RO" sz="1200" dirty="0">
                <a:solidFill>
                  <a:srgbClr val="2846A8"/>
                </a:solidFill>
                <a:latin typeface="Cambria" panose="02040503050406030204" pitchFamily="18" charset="0"/>
              </a:rPr>
              <a:t> </a:t>
            </a: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Access to utilities &amp; benefits packages according to their focus </a:t>
            </a: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Exemption on land, building and urban planning taxes </a:t>
            </a:r>
          </a:p>
        </p:txBody>
      </p:sp>
      <p:sp>
        <p:nvSpPr>
          <p:cNvPr id="96" name="Rectangle 95"/>
          <p:cNvSpPr/>
          <p:nvPr/>
        </p:nvSpPr>
        <p:spPr>
          <a:xfrm>
            <a:off x="4090736" y="4809809"/>
            <a:ext cx="4833923" cy="230832"/>
          </a:xfrm>
          <a:prstGeom prst="rect">
            <a:avLst/>
          </a:prstGeom>
        </p:spPr>
        <p:txBody>
          <a:bodyPr wrap="square">
            <a:spAutoFit/>
          </a:bodyPr>
          <a:lstStyle/>
          <a:p>
            <a:r>
              <a:rPr lang="en-US" sz="900" dirty="0">
                <a:solidFill>
                  <a:srgbClr val="2846A8"/>
                </a:solidFill>
                <a:latin typeface="Cambria" panose="02040503050406030204" pitchFamily="18" charset="0"/>
              </a:rPr>
              <a:t>(Source: Ministry for the Public Works, Development and Administration, </a:t>
            </a:r>
            <a:r>
              <a:rPr lang="ro-RO" sz="900" dirty="0">
                <a:solidFill>
                  <a:srgbClr val="2846A8"/>
                </a:solidFill>
                <a:latin typeface="Cambria" panose="02040503050406030204" pitchFamily="18" charset="0"/>
              </a:rPr>
              <a:t>December 17,</a:t>
            </a:r>
            <a:r>
              <a:rPr lang="en-US" sz="900" dirty="0">
                <a:solidFill>
                  <a:srgbClr val="2846A8"/>
                </a:solidFill>
                <a:latin typeface="Cambria" panose="02040503050406030204" pitchFamily="18" charset="0"/>
              </a:rPr>
              <a:t> 202</a:t>
            </a:r>
            <a:r>
              <a:rPr lang="ro-RO" sz="900" dirty="0">
                <a:solidFill>
                  <a:srgbClr val="2846A8"/>
                </a:solidFill>
                <a:latin typeface="Cambria" panose="02040503050406030204" pitchFamily="18" charset="0"/>
              </a:rPr>
              <a:t>4</a:t>
            </a:r>
            <a:r>
              <a:rPr lang="en-US" sz="900" dirty="0">
                <a:solidFill>
                  <a:srgbClr val="2846A8"/>
                </a:solidFill>
                <a:latin typeface="Cambria" panose="02040503050406030204" pitchFamily="18" charset="0"/>
              </a:rPr>
              <a:t>)</a:t>
            </a:r>
          </a:p>
        </p:txBody>
      </p:sp>
      <p:grpSp>
        <p:nvGrpSpPr>
          <p:cNvPr id="5" name="Group 4"/>
          <p:cNvGrpSpPr/>
          <p:nvPr/>
        </p:nvGrpSpPr>
        <p:grpSpPr>
          <a:xfrm>
            <a:off x="4379494" y="1593318"/>
            <a:ext cx="4451585" cy="3174537"/>
            <a:chOff x="0" y="1347598"/>
            <a:chExt cx="4451585" cy="3174537"/>
          </a:xfrm>
        </p:grpSpPr>
        <p:grpSp>
          <p:nvGrpSpPr>
            <p:cNvPr id="94" name="Group 93"/>
            <p:cNvGrpSpPr/>
            <p:nvPr/>
          </p:nvGrpSpPr>
          <p:grpSpPr>
            <a:xfrm>
              <a:off x="0" y="1347598"/>
              <a:ext cx="4451585" cy="3174537"/>
              <a:chOff x="731836" y="2162995"/>
              <a:chExt cx="5231186" cy="3701737"/>
            </a:xfrm>
          </p:grpSpPr>
          <p:sp>
            <p:nvSpPr>
              <p:cNvPr id="95" name="Freeform 4"/>
              <p:cNvSpPr>
                <a:spLocks/>
              </p:cNvSpPr>
              <p:nvPr/>
            </p:nvSpPr>
            <p:spPr bwMode="auto">
              <a:xfrm>
                <a:off x="3936563" y="2162995"/>
                <a:ext cx="689912" cy="642002"/>
              </a:xfrm>
              <a:custGeom>
                <a:avLst/>
                <a:gdLst>
                  <a:gd name="T0" fmla="*/ 0 w 576"/>
                  <a:gd name="T1" fmla="*/ 2147483646 h 536"/>
                  <a:gd name="T2" fmla="*/ 2147483646 w 576"/>
                  <a:gd name="T3" fmla="*/ 2147483646 h 536"/>
                  <a:gd name="T4" fmla="*/ 2147483646 w 576"/>
                  <a:gd name="T5" fmla="*/ 2147483646 h 536"/>
                  <a:gd name="T6" fmla="*/ 2147483646 w 576"/>
                  <a:gd name="T7" fmla="*/ 2147483646 h 536"/>
                  <a:gd name="T8" fmla="*/ 2147483646 w 576"/>
                  <a:gd name="T9" fmla="*/ 2147483646 h 536"/>
                  <a:gd name="T10" fmla="*/ 2147483646 w 576"/>
                  <a:gd name="T11" fmla="*/ 2147483646 h 536"/>
                  <a:gd name="T12" fmla="*/ 2147483646 w 576"/>
                  <a:gd name="T13" fmla="*/ 2147483646 h 536"/>
                  <a:gd name="T14" fmla="*/ 2147483646 w 576"/>
                  <a:gd name="T15" fmla="*/ 0 h 536"/>
                  <a:gd name="T16" fmla="*/ 2147483646 w 576"/>
                  <a:gd name="T17" fmla="*/ 2147483646 h 536"/>
                  <a:gd name="T18" fmla="*/ 2147483646 w 576"/>
                  <a:gd name="T19" fmla="*/ 2147483646 h 536"/>
                  <a:gd name="T20" fmla="*/ 2147483646 w 576"/>
                  <a:gd name="T21" fmla="*/ 2147483646 h 536"/>
                  <a:gd name="T22" fmla="*/ 2147483646 w 576"/>
                  <a:gd name="T23" fmla="*/ 2147483646 h 536"/>
                  <a:gd name="T24" fmla="*/ 2147483646 w 576"/>
                  <a:gd name="T25" fmla="*/ 2147483646 h 536"/>
                  <a:gd name="T26" fmla="*/ 2147483646 w 576"/>
                  <a:gd name="T27" fmla="*/ 2147483646 h 536"/>
                  <a:gd name="T28" fmla="*/ 2147483646 w 576"/>
                  <a:gd name="T29" fmla="*/ 2147483646 h 536"/>
                  <a:gd name="T30" fmla="*/ 2147483646 w 576"/>
                  <a:gd name="T31" fmla="*/ 2147483646 h 536"/>
                  <a:gd name="T32" fmla="*/ 2147483646 w 576"/>
                  <a:gd name="T33" fmla="*/ 2147483646 h 536"/>
                  <a:gd name="T34" fmla="*/ 2147483646 w 576"/>
                  <a:gd name="T35" fmla="*/ 2147483646 h 536"/>
                  <a:gd name="T36" fmla="*/ 2147483646 w 576"/>
                  <a:gd name="T37" fmla="*/ 2147483646 h 536"/>
                  <a:gd name="T38" fmla="*/ 2147483646 w 576"/>
                  <a:gd name="T39" fmla="*/ 2147483646 h 536"/>
                  <a:gd name="T40" fmla="*/ 2147483646 w 576"/>
                  <a:gd name="T41" fmla="*/ 2147483646 h 536"/>
                  <a:gd name="T42" fmla="*/ 2147483646 w 576"/>
                  <a:gd name="T43" fmla="*/ 2147483646 h 536"/>
                  <a:gd name="T44" fmla="*/ 2147483646 w 576"/>
                  <a:gd name="T45" fmla="*/ 2147483646 h 536"/>
                  <a:gd name="T46" fmla="*/ 2147483646 w 576"/>
                  <a:gd name="T47" fmla="*/ 2147483646 h 536"/>
                  <a:gd name="T48" fmla="*/ 2147483646 w 576"/>
                  <a:gd name="T49" fmla="*/ 2147483646 h 536"/>
                  <a:gd name="T50" fmla="*/ 2147483646 w 576"/>
                  <a:gd name="T51" fmla="*/ 2147483646 h 536"/>
                  <a:gd name="T52" fmla="*/ 2147483646 w 576"/>
                  <a:gd name="T53" fmla="*/ 2147483646 h 536"/>
                  <a:gd name="T54" fmla="*/ 2147483646 w 576"/>
                  <a:gd name="T55" fmla="*/ 2147483646 h 536"/>
                  <a:gd name="T56" fmla="*/ 2147483646 w 576"/>
                  <a:gd name="T57" fmla="*/ 2147483646 h 536"/>
                  <a:gd name="T58" fmla="*/ 2147483646 w 576"/>
                  <a:gd name="T59" fmla="*/ 2147483646 h 536"/>
                  <a:gd name="T60" fmla="*/ 2147483646 w 576"/>
                  <a:gd name="T61" fmla="*/ 2147483646 h 536"/>
                  <a:gd name="T62" fmla="*/ 2147483646 w 576"/>
                  <a:gd name="T63" fmla="*/ 2147483646 h 536"/>
                  <a:gd name="T64" fmla="*/ 2147483646 w 576"/>
                  <a:gd name="T65" fmla="*/ 2147483646 h 536"/>
                  <a:gd name="T66" fmla="*/ 2147483646 w 576"/>
                  <a:gd name="T67" fmla="*/ 2147483646 h 536"/>
                  <a:gd name="T68" fmla="*/ 2147483646 w 576"/>
                  <a:gd name="T69" fmla="*/ 2147483646 h 536"/>
                  <a:gd name="T70" fmla="*/ 2147483646 w 576"/>
                  <a:gd name="T71" fmla="*/ 2147483646 h 536"/>
                  <a:gd name="T72" fmla="*/ 2147483646 w 576"/>
                  <a:gd name="T73" fmla="*/ 2147483646 h 536"/>
                  <a:gd name="T74" fmla="*/ 2147483646 w 576"/>
                  <a:gd name="T75" fmla="*/ 2147483646 h 536"/>
                  <a:gd name="T76" fmla="*/ 0 w 576"/>
                  <a:gd name="T77" fmla="*/ 2147483646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6"/>
                  <a:gd name="T118" fmla="*/ 0 h 536"/>
                  <a:gd name="T119" fmla="*/ 576 w 576"/>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6" h="536">
                    <a:moveTo>
                      <a:pt x="0" y="192"/>
                    </a:moveTo>
                    <a:lnTo>
                      <a:pt x="48" y="168"/>
                    </a:lnTo>
                    <a:lnTo>
                      <a:pt x="72" y="128"/>
                    </a:lnTo>
                    <a:lnTo>
                      <a:pt x="96" y="64"/>
                    </a:lnTo>
                    <a:lnTo>
                      <a:pt x="96" y="40"/>
                    </a:lnTo>
                    <a:lnTo>
                      <a:pt x="184" y="32"/>
                    </a:lnTo>
                    <a:lnTo>
                      <a:pt x="200" y="32"/>
                    </a:lnTo>
                    <a:lnTo>
                      <a:pt x="256" y="0"/>
                    </a:lnTo>
                    <a:lnTo>
                      <a:pt x="344" y="16"/>
                    </a:lnTo>
                    <a:lnTo>
                      <a:pt x="360" y="48"/>
                    </a:lnTo>
                    <a:lnTo>
                      <a:pt x="392" y="32"/>
                    </a:lnTo>
                    <a:lnTo>
                      <a:pt x="392" y="80"/>
                    </a:lnTo>
                    <a:lnTo>
                      <a:pt x="424" y="72"/>
                    </a:lnTo>
                    <a:lnTo>
                      <a:pt x="424" y="112"/>
                    </a:lnTo>
                    <a:lnTo>
                      <a:pt x="472" y="184"/>
                    </a:lnTo>
                    <a:lnTo>
                      <a:pt x="472" y="232"/>
                    </a:lnTo>
                    <a:lnTo>
                      <a:pt x="496" y="248"/>
                    </a:lnTo>
                    <a:lnTo>
                      <a:pt x="520" y="280"/>
                    </a:lnTo>
                    <a:lnTo>
                      <a:pt x="536" y="344"/>
                    </a:lnTo>
                    <a:lnTo>
                      <a:pt x="536" y="384"/>
                    </a:lnTo>
                    <a:lnTo>
                      <a:pt x="576" y="424"/>
                    </a:lnTo>
                    <a:lnTo>
                      <a:pt x="504" y="464"/>
                    </a:lnTo>
                    <a:lnTo>
                      <a:pt x="456" y="456"/>
                    </a:lnTo>
                    <a:lnTo>
                      <a:pt x="432" y="512"/>
                    </a:lnTo>
                    <a:lnTo>
                      <a:pt x="400" y="488"/>
                    </a:lnTo>
                    <a:lnTo>
                      <a:pt x="304" y="488"/>
                    </a:lnTo>
                    <a:lnTo>
                      <a:pt x="328" y="512"/>
                    </a:lnTo>
                    <a:lnTo>
                      <a:pt x="280" y="512"/>
                    </a:lnTo>
                    <a:lnTo>
                      <a:pt x="224" y="536"/>
                    </a:lnTo>
                    <a:lnTo>
                      <a:pt x="208" y="504"/>
                    </a:lnTo>
                    <a:lnTo>
                      <a:pt x="240" y="472"/>
                    </a:lnTo>
                    <a:lnTo>
                      <a:pt x="184" y="376"/>
                    </a:lnTo>
                    <a:lnTo>
                      <a:pt x="184" y="328"/>
                    </a:lnTo>
                    <a:lnTo>
                      <a:pt x="136" y="288"/>
                    </a:lnTo>
                    <a:lnTo>
                      <a:pt x="120" y="312"/>
                    </a:lnTo>
                    <a:lnTo>
                      <a:pt x="64" y="240"/>
                    </a:lnTo>
                    <a:lnTo>
                      <a:pt x="40" y="248"/>
                    </a:lnTo>
                    <a:lnTo>
                      <a:pt x="8" y="216"/>
                    </a:lnTo>
                    <a:lnTo>
                      <a:pt x="0" y="192"/>
                    </a:lnTo>
                    <a:close/>
                  </a:path>
                </a:pathLst>
              </a:custGeom>
              <a:solidFill>
                <a:srgbClr val="F88800"/>
              </a:solidFill>
              <a:ln w="9525">
                <a:solidFill>
                  <a:schemeClr val="bg1"/>
                </a:solidFill>
                <a:round/>
                <a:headEnd/>
                <a:tailEnd/>
              </a:ln>
            </p:spPr>
            <p:txBody>
              <a:bodyPr/>
              <a:lstStyle/>
              <a:p>
                <a:endParaRPr lang="en-US" sz="1050"/>
              </a:p>
            </p:txBody>
          </p:sp>
          <p:sp>
            <p:nvSpPr>
              <p:cNvPr id="97" name="Freeform 5"/>
              <p:cNvSpPr>
                <a:spLocks/>
              </p:cNvSpPr>
              <p:nvPr/>
            </p:nvSpPr>
            <p:spPr bwMode="auto">
              <a:xfrm>
                <a:off x="4182504" y="2674089"/>
                <a:ext cx="871971" cy="642002"/>
              </a:xfrm>
              <a:custGeom>
                <a:avLst/>
                <a:gdLst>
                  <a:gd name="T0" fmla="*/ 2147483646 w 728"/>
                  <a:gd name="T1" fmla="*/ 0 h 536"/>
                  <a:gd name="T2" fmla="*/ 2147483646 w 728"/>
                  <a:gd name="T3" fmla="*/ 2147483646 h 536"/>
                  <a:gd name="T4" fmla="*/ 2147483646 w 728"/>
                  <a:gd name="T5" fmla="*/ 2147483646 h 536"/>
                  <a:gd name="T6" fmla="*/ 2147483646 w 728"/>
                  <a:gd name="T7" fmla="*/ 2147483646 h 536"/>
                  <a:gd name="T8" fmla="*/ 2147483646 w 728"/>
                  <a:gd name="T9" fmla="*/ 2147483646 h 536"/>
                  <a:gd name="T10" fmla="*/ 2147483646 w 728"/>
                  <a:gd name="T11" fmla="*/ 2147483646 h 536"/>
                  <a:gd name="T12" fmla="*/ 2147483646 w 728"/>
                  <a:gd name="T13" fmla="*/ 2147483646 h 536"/>
                  <a:gd name="T14" fmla="*/ 2147483646 w 728"/>
                  <a:gd name="T15" fmla="*/ 2147483646 h 536"/>
                  <a:gd name="T16" fmla="*/ 2147483646 w 728"/>
                  <a:gd name="T17" fmla="*/ 2147483646 h 536"/>
                  <a:gd name="T18" fmla="*/ 2147483646 w 728"/>
                  <a:gd name="T19" fmla="*/ 2147483646 h 536"/>
                  <a:gd name="T20" fmla="*/ 2147483646 w 728"/>
                  <a:gd name="T21" fmla="*/ 2147483646 h 536"/>
                  <a:gd name="T22" fmla="*/ 0 w 728"/>
                  <a:gd name="T23" fmla="*/ 2147483646 h 536"/>
                  <a:gd name="T24" fmla="*/ 2147483646 w 728"/>
                  <a:gd name="T25" fmla="*/ 2147483646 h 536"/>
                  <a:gd name="T26" fmla="*/ 2147483646 w 728"/>
                  <a:gd name="T27" fmla="*/ 2147483646 h 536"/>
                  <a:gd name="T28" fmla="*/ 2147483646 w 728"/>
                  <a:gd name="T29" fmla="*/ 2147483646 h 536"/>
                  <a:gd name="T30" fmla="*/ 2147483646 w 728"/>
                  <a:gd name="T31" fmla="*/ 2147483646 h 536"/>
                  <a:gd name="T32" fmla="*/ 2147483646 w 728"/>
                  <a:gd name="T33" fmla="*/ 2147483646 h 536"/>
                  <a:gd name="T34" fmla="*/ 2147483646 w 728"/>
                  <a:gd name="T35" fmla="*/ 2147483646 h 536"/>
                  <a:gd name="T36" fmla="*/ 2147483646 w 728"/>
                  <a:gd name="T37" fmla="*/ 2147483646 h 536"/>
                  <a:gd name="T38" fmla="*/ 2147483646 w 728"/>
                  <a:gd name="T39" fmla="*/ 2147483646 h 536"/>
                  <a:gd name="T40" fmla="*/ 2147483646 w 728"/>
                  <a:gd name="T41" fmla="*/ 2147483646 h 536"/>
                  <a:gd name="T42" fmla="*/ 2147483646 w 728"/>
                  <a:gd name="T43" fmla="*/ 2147483646 h 536"/>
                  <a:gd name="T44" fmla="*/ 2147483646 w 728"/>
                  <a:gd name="T45" fmla="*/ 2147483646 h 536"/>
                  <a:gd name="T46" fmla="*/ 2147483646 w 728"/>
                  <a:gd name="T47" fmla="*/ 2147483646 h 536"/>
                  <a:gd name="T48" fmla="*/ 2147483646 w 728"/>
                  <a:gd name="T49" fmla="*/ 2147483646 h 536"/>
                  <a:gd name="T50" fmla="*/ 2147483646 w 728"/>
                  <a:gd name="T51" fmla="*/ 2147483646 h 536"/>
                  <a:gd name="T52" fmla="*/ 2147483646 w 728"/>
                  <a:gd name="T53" fmla="*/ 2147483646 h 536"/>
                  <a:gd name="T54" fmla="*/ 2147483646 w 728"/>
                  <a:gd name="T55" fmla="*/ 2147483646 h 536"/>
                  <a:gd name="T56" fmla="*/ 2147483646 w 728"/>
                  <a:gd name="T57" fmla="*/ 2147483646 h 536"/>
                  <a:gd name="T58" fmla="*/ 2147483646 w 728"/>
                  <a:gd name="T59" fmla="*/ 2147483646 h 536"/>
                  <a:gd name="T60" fmla="*/ 2147483646 w 728"/>
                  <a:gd name="T61" fmla="*/ 2147483646 h 536"/>
                  <a:gd name="T62" fmla="*/ 2147483646 w 728"/>
                  <a:gd name="T63" fmla="*/ 2147483646 h 536"/>
                  <a:gd name="T64" fmla="*/ 2147483646 w 728"/>
                  <a:gd name="T65" fmla="*/ 2147483646 h 536"/>
                  <a:gd name="T66" fmla="*/ 2147483646 w 728"/>
                  <a:gd name="T67" fmla="*/ 2147483646 h 536"/>
                  <a:gd name="T68" fmla="*/ 2147483646 w 728"/>
                  <a:gd name="T69" fmla="*/ 2147483646 h 536"/>
                  <a:gd name="T70" fmla="*/ 2147483646 w 728"/>
                  <a:gd name="T71" fmla="*/ 2147483646 h 536"/>
                  <a:gd name="T72" fmla="*/ 2147483646 w 728"/>
                  <a:gd name="T73" fmla="*/ 2147483646 h 536"/>
                  <a:gd name="T74" fmla="*/ 2147483646 w 728"/>
                  <a:gd name="T75" fmla="*/ 2147483646 h 536"/>
                  <a:gd name="T76" fmla="*/ 2147483646 w 728"/>
                  <a:gd name="T77" fmla="*/ 2147483646 h 536"/>
                  <a:gd name="T78" fmla="*/ 2147483646 w 728"/>
                  <a:gd name="T79" fmla="*/ 2147483646 h 536"/>
                  <a:gd name="T80" fmla="*/ 2147483646 w 728"/>
                  <a:gd name="T81" fmla="*/ 2147483646 h 536"/>
                  <a:gd name="T82" fmla="*/ 2147483646 w 728"/>
                  <a:gd name="T83" fmla="*/ 2147483646 h 536"/>
                  <a:gd name="T84" fmla="*/ 2147483646 w 728"/>
                  <a:gd name="T85" fmla="*/ 2147483646 h 536"/>
                  <a:gd name="T86" fmla="*/ 2147483646 w 728"/>
                  <a:gd name="T87" fmla="*/ 2147483646 h 536"/>
                  <a:gd name="T88" fmla="*/ 2147483646 w 728"/>
                  <a:gd name="T89" fmla="*/ 2147483646 h 536"/>
                  <a:gd name="T90" fmla="*/ 2147483646 w 728"/>
                  <a:gd name="T91" fmla="*/ 2147483646 h 536"/>
                  <a:gd name="T92" fmla="*/ 2147483646 w 728"/>
                  <a:gd name="T93" fmla="*/ 2147483646 h 536"/>
                  <a:gd name="T94" fmla="*/ 2147483646 w 728"/>
                  <a:gd name="T95" fmla="*/ 0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8"/>
                  <a:gd name="T145" fmla="*/ 0 h 536"/>
                  <a:gd name="T146" fmla="*/ 728 w 728"/>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8" h="536">
                    <a:moveTo>
                      <a:pt x="368" y="0"/>
                    </a:moveTo>
                    <a:lnTo>
                      <a:pt x="296" y="40"/>
                    </a:lnTo>
                    <a:lnTo>
                      <a:pt x="248" y="32"/>
                    </a:lnTo>
                    <a:lnTo>
                      <a:pt x="224" y="88"/>
                    </a:lnTo>
                    <a:lnTo>
                      <a:pt x="192" y="64"/>
                    </a:lnTo>
                    <a:lnTo>
                      <a:pt x="96" y="64"/>
                    </a:lnTo>
                    <a:lnTo>
                      <a:pt x="120" y="88"/>
                    </a:lnTo>
                    <a:lnTo>
                      <a:pt x="72" y="88"/>
                    </a:lnTo>
                    <a:lnTo>
                      <a:pt x="80" y="152"/>
                    </a:lnTo>
                    <a:lnTo>
                      <a:pt x="48" y="144"/>
                    </a:lnTo>
                    <a:lnTo>
                      <a:pt x="48" y="176"/>
                    </a:lnTo>
                    <a:lnTo>
                      <a:pt x="0" y="160"/>
                    </a:lnTo>
                    <a:lnTo>
                      <a:pt x="16" y="240"/>
                    </a:lnTo>
                    <a:lnTo>
                      <a:pt x="48" y="312"/>
                    </a:lnTo>
                    <a:lnTo>
                      <a:pt x="80" y="352"/>
                    </a:lnTo>
                    <a:lnTo>
                      <a:pt x="128" y="352"/>
                    </a:lnTo>
                    <a:lnTo>
                      <a:pt x="152" y="392"/>
                    </a:lnTo>
                    <a:lnTo>
                      <a:pt x="216" y="384"/>
                    </a:lnTo>
                    <a:lnTo>
                      <a:pt x="272" y="344"/>
                    </a:lnTo>
                    <a:lnTo>
                      <a:pt x="296" y="392"/>
                    </a:lnTo>
                    <a:lnTo>
                      <a:pt x="248" y="424"/>
                    </a:lnTo>
                    <a:lnTo>
                      <a:pt x="304" y="496"/>
                    </a:lnTo>
                    <a:lnTo>
                      <a:pt x="360" y="488"/>
                    </a:lnTo>
                    <a:lnTo>
                      <a:pt x="392" y="456"/>
                    </a:lnTo>
                    <a:lnTo>
                      <a:pt x="432" y="496"/>
                    </a:lnTo>
                    <a:lnTo>
                      <a:pt x="496" y="464"/>
                    </a:lnTo>
                    <a:lnTo>
                      <a:pt x="496" y="416"/>
                    </a:lnTo>
                    <a:lnTo>
                      <a:pt x="536" y="424"/>
                    </a:lnTo>
                    <a:lnTo>
                      <a:pt x="552" y="480"/>
                    </a:lnTo>
                    <a:lnTo>
                      <a:pt x="592" y="440"/>
                    </a:lnTo>
                    <a:lnTo>
                      <a:pt x="600" y="496"/>
                    </a:lnTo>
                    <a:lnTo>
                      <a:pt x="640" y="536"/>
                    </a:lnTo>
                    <a:lnTo>
                      <a:pt x="656" y="488"/>
                    </a:lnTo>
                    <a:lnTo>
                      <a:pt x="688" y="512"/>
                    </a:lnTo>
                    <a:lnTo>
                      <a:pt x="728" y="504"/>
                    </a:lnTo>
                    <a:lnTo>
                      <a:pt x="704" y="400"/>
                    </a:lnTo>
                    <a:lnTo>
                      <a:pt x="656" y="376"/>
                    </a:lnTo>
                    <a:lnTo>
                      <a:pt x="616" y="352"/>
                    </a:lnTo>
                    <a:lnTo>
                      <a:pt x="600" y="320"/>
                    </a:lnTo>
                    <a:lnTo>
                      <a:pt x="560" y="312"/>
                    </a:lnTo>
                    <a:lnTo>
                      <a:pt x="560" y="256"/>
                    </a:lnTo>
                    <a:lnTo>
                      <a:pt x="528" y="208"/>
                    </a:lnTo>
                    <a:lnTo>
                      <a:pt x="480" y="208"/>
                    </a:lnTo>
                    <a:lnTo>
                      <a:pt x="464" y="160"/>
                    </a:lnTo>
                    <a:lnTo>
                      <a:pt x="464" y="96"/>
                    </a:lnTo>
                    <a:lnTo>
                      <a:pt x="424" y="88"/>
                    </a:lnTo>
                    <a:lnTo>
                      <a:pt x="400" y="48"/>
                    </a:lnTo>
                    <a:lnTo>
                      <a:pt x="368" y="0"/>
                    </a:lnTo>
                    <a:close/>
                  </a:path>
                </a:pathLst>
              </a:custGeom>
              <a:solidFill>
                <a:srgbClr val="F88800"/>
              </a:solidFill>
              <a:ln w="9525">
                <a:solidFill>
                  <a:schemeClr val="bg1"/>
                </a:solidFill>
                <a:round/>
                <a:headEnd/>
                <a:tailEnd/>
              </a:ln>
            </p:spPr>
            <p:txBody>
              <a:bodyPr/>
              <a:lstStyle/>
              <a:p>
                <a:endParaRPr lang="en-US" sz="1050"/>
              </a:p>
            </p:txBody>
          </p:sp>
          <p:sp>
            <p:nvSpPr>
              <p:cNvPr id="98" name="Freeform 6"/>
              <p:cNvSpPr>
                <a:spLocks/>
              </p:cNvSpPr>
              <p:nvPr/>
            </p:nvSpPr>
            <p:spPr bwMode="auto">
              <a:xfrm>
                <a:off x="3340224" y="2385829"/>
                <a:ext cx="948627" cy="709075"/>
              </a:xfrm>
              <a:custGeom>
                <a:avLst/>
                <a:gdLst>
                  <a:gd name="T0" fmla="*/ 2147483646 w 792"/>
                  <a:gd name="T1" fmla="*/ 2147483646 h 592"/>
                  <a:gd name="T2" fmla="*/ 2147483646 w 792"/>
                  <a:gd name="T3" fmla="*/ 2147483646 h 592"/>
                  <a:gd name="T4" fmla="*/ 2147483646 w 792"/>
                  <a:gd name="T5" fmla="*/ 2147483646 h 592"/>
                  <a:gd name="T6" fmla="*/ 2147483646 w 792"/>
                  <a:gd name="T7" fmla="*/ 2147483646 h 592"/>
                  <a:gd name="T8" fmla="*/ 2147483646 w 792"/>
                  <a:gd name="T9" fmla="*/ 2147483646 h 592"/>
                  <a:gd name="T10" fmla="*/ 2147483646 w 792"/>
                  <a:gd name="T11" fmla="*/ 2147483646 h 592"/>
                  <a:gd name="T12" fmla="*/ 2147483646 w 792"/>
                  <a:gd name="T13" fmla="*/ 2147483646 h 592"/>
                  <a:gd name="T14" fmla="*/ 2147483646 w 792"/>
                  <a:gd name="T15" fmla="*/ 2147483646 h 592"/>
                  <a:gd name="T16" fmla="*/ 2147483646 w 792"/>
                  <a:gd name="T17" fmla="*/ 2147483646 h 592"/>
                  <a:gd name="T18" fmla="*/ 2147483646 w 792"/>
                  <a:gd name="T19" fmla="*/ 2147483646 h 592"/>
                  <a:gd name="T20" fmla="*/ 2147483646 w 792"/>
                  <a:gd name="T21" fmla="*/ 2147483646 h 592"/>
                  <a:gd name="T22" fmla="*/ 2147483646 w 792"/>
                  <a:gd name="T23" fmla="*/ 2147483646 h 592"/>
                  <a:gd name="T24" fmla="*/ 2147483646 w 792"/>
                  <a:gd name="T25" fmla="*/ 2147483646 h 592"/>
                  <a:gd name="T26" fmla="*/ 2147483646 w 792"/>
                  <a:gd name="T27" fmla="*/ 2147483646 h 592"/>
                  <a:gd name="T28" fmla="*/ 2147483646 w 792"/>
                  <a:gd name="T29" fmla="*/ 2147483646 h 592"/>
                  <a:gd name="T30" fmla="*/ 2147483646 w 792"/>
                  <a:gd name="T31" fmla="*/ 2147483646 h 592"/>
                  <a:gd name="T32" fmla="*/ 2147483646 w 792"/>
                  <a:gd name="T33" fmla="*/ 2147483646 h 592"/>
                  <a:gd name="T34" fmla="*/ 2147483646 w 792"/>
                  <a:gd name="T35" fmla="*/ 2147483646 h 592"/>
                  <a:gd name="T36" fmla="*/ 2147483646 w 792"/>
                  <a:gd name="T37" fmla="*/ 2147483646 h 592"/>
                  <a:gd name="T38" fmla="*/ 2147483646 w 792"/>
                  <a:gd name="T39" fmla="*/ 2147483646 h 592"/>
                  <a:gd name="T40" fmla="*/ 2147483646 w 792"/>
                  <a:gd name="T41" fmla="*/ 2147483646 h 592"/>
                  <a:gd name="T42" fmla="*/ 2147483646 w 792"/>
                  <a:gd name="T43" fmla="*/ 2147483646 h 592"/>
                  <a:gd name="T44" fmla="*/ 2147483646 w 792"/>
                  <a:gd name="T45" fmla="*/ 2147483646 h 592"/>
                  <a:gd name="T46" fmla="*/ 2147483646 w 792"/>
                  <a:gd name="T47" fmla="*/ 2147483646 h 592"/>
                  <a:gd name="T48" fmla="*/ 2147483646 w 792"/>
                  <a:gd name="T49" fmla="*/ 2147483646 h 592"/>
                  <a:gd name="T50" fmla="*/ 2147483646 w 792"/>
                  <a:gd name="T51" fmla="*/ 2147483646 h 592"/>
                  <a:gd name="T52" fmla="*/ 2147483646 w 792"/>
                  <a:gd name="T53" fmla="*/ 2147483646 h 592"/>
                  <a:gd name="T54" fmla="*/ 2147483646 w 792"/>
                  <a:gd name="T55" fmla="*/ 2147483646 h 592"/>
                  <a:gd name="T56" fmla="*/ 2147483646 w 792"/>
                  <a:gd name="T57" fmla="*/ 2147483646 h 592"/>
                  <a:gd name="T58" fmla="*/ 2147483646 w 792"/>
                  <a:gd name="T59" fmla="*/ 2147483646 h 592"/>
                  <a:gd name="T60" fmla="*/ 2147483646 w 792"/>
                  <a:gd name="T61" fmla="*/ 2147483646 h 592"/>
                  <a:gd name="T62" fmla="*/ 2147483646 w 792"/>
                  <a:gd name="T63" fmla="*/ 2147483646 h 592"/>
                  <a:gd name="T64" fmla="*/ 2147483646 w 792"/>
                  <a:gd name="T65" fmla="*/ 2147483646 h 592"/>
                  <a:gd name="T66" fmla="*/ 2147483646 w 792"/>
                  <a:gd name="T67" fmla="*/ 2147483646 h 592"/>
                  <a:gd name="T68" fmla="*/ 2147483646 w 792"/>
                  <a:gd name="T69" fmla="*/ 2147483646 h 592"/>
                  <a:gd name="T70" fmla="*/ 2147483646 w 792"/>
                  <a:gd name="T71" fmla="*/ 2147483646 h 592"/>
                  <a:gd name="T72" fmla="*/ 2147483646 w 792"/>
                  <a:gd name="T73" fmla="*/ 2147483646 h 592"/>
                  <a:gd name="T74" fmla="*/ 2147483646 w 792"/>
                  <a:gd name="T75" fmla="*/ 2147483646 h 592"/>
                  <a:gd name="T76" fmla="*/ 2147483646 w 792"/>
                  <a:gd name="T77" fmla="*/ 2147483646 h 592"/>
                  <a:gd name="T78" fmla="*/ 0 w 792"/>
                  <a:gd name="T79" fmla="*/ 2147483646 h 592"/>
                  <a:gd name="T80" fmla="*/ 2147483646 w 792"/>
                  <a:gd name="T81" fmla="*/ 2147483646 h 592"/>
                  <a:gd name="T82" fmla="*/ 2147483646 w 792"/>
                  <a:gd name="T83" fmla="*/ 2147483646 h 592"/>
                  <a:gd name="T84" fmla="*/ 2147483646 w 792"/>
                  <a:gd name="T85" fmla="*/ 2147483646 h 592"/>
                  <a:gd name="T86" fmla="*/ 2147483646 w 792"/>
                  <a:gd name="T87" fmla="*/ 2147483646 h 592"/>
                  <a:gd name="T88" fmla="*/ 2147483646 w 792"/>
                  <a:gd name="T89" fmla="*/ 2147483646 h 592"/>
                  <a:gd name="T90" fmla="*/ 2147483646 w 792"/>
                  <a:gd name="T91" fmla="*/ 2147483646 h 592"/>
                  <a:gd name="T92" fmla="*/ 2147483646 w 792"/>
                  <a:gd name="T93" fmla="*/ 2147483646 h 592"/>
                  <a:gd name="T94" fmla="*/ 2147483646 w 792"/>
                  <a:gd name="T95" fmla="*/ 2147483646 h 592"/>
                  <a:gd name="T96" fmla="*/ 2147483646 w 792"/>
                  <a:gd name="T97" fmla="*/ 2147483646 h 592"/>
                  <a:gd name="T98" fmla="*/ 2147483646 w 792"/>
                  <a:gd name="T99" fmla="*/ 2147483646 h 592"/>
                  <a:gd name="T100" fmla="*/ 2147483646 w 792"/>
                  <a:gd name="T101" fmla="*/ 0 h 592"/>
                  <a:gd name="T102" fmla="*/ 2147483646 w 792"/>
                  <a:gd name="T103" fmla="*/ 2147483646 h 5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2"/>
                  <a:gd name="T157" fmla="*/ 0 h 592"/>
                  <a:gd name="T158" fmla="*/ 792 w 792"/>
                  <a:gd name="T159" fmla="*/ 592 h 5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2" h="592">
                    <a:moveTo>
                      <a:pt x="504" y="8"/>
                    </a:moveTo>
                    <a:lnTo>
                      <a:pt x="512" y="32"/>
                    </a:lnTo>
                    <a:lnTo>
                      <a:pt x="544" y="64"/>
                    </a:lnTo>
                    <a:lnTo>
                      <a:pt x="568" y="56"/>
                    </a:lnTo>
                    <a:lnTo>
                      <a:pt x="624" y="128"/>
                    </a:lnTo>
                    <a:lnTo>
                      <a:pt x="640" y="104"/>
                    </a:lnTo>
                    <a:lnTo>
                      <a:pt x="688" y="144"/>
                    </a:lnTo>
                    <a:lnTo>
                      <a:pt x="688" y="192"/>
                    </a:lnTo>
                    <a:lnTo>
                      <a:pt x="744" y="288"/>
                    </a:lnTo>
                    <a:lnTo>
                      <a:pt x="712" y="320"/>
                    </a:lnTo>
                    <a:lnTo>
                      <a:pt x="728" y="352"/>
                    </a:lnTo>
                    <a:lnTo>
                      <a:pt x="784" y="328"/>
                    </a:lnTo>
                    <a:lnTo>
                      <a:pt x="792" y="392"/>
                    </a:lnTo>
                    <a:lnTo>
                      <a:pt x="760" y="384"/>
                    </a:lnTo>
                    <a:lnTo>
                      <a:pt x="760" y="416"/>
                    </a:lnTo>
                    <a:lnTo>
                      <a:pt x="712" y="400"/>
                    </a:lnTo>
                    <a:lnTo>
                      <a:pt x="728" y="480"/>
                    </a:lnTo>
                    <a:lnTo>
                      <a:pt x="664" y="424"/>
                    </a:lnTo>
                    <a:lnTo>
                      <a:pt x="544" y="424"/>
                    </a:lnTo>
                    <a:lnTo>
                      <a:pt x="480" y="432"/>
                    </a:lnTo>
                    <a:lnTo>
                      <a:pt x="432" y="456"/>
                    </a:lnTo>
                    <a:lnTo>
                      <a:pt x="376" y="416"/>
                    </a:lnTo>
                    <a:lnTo>
                      <a:pt x="392" y="480"/>
                    </a:lnTo>
                    <a:lnTo>
                      <a:pt x="336" y="528"/>
                    </a:lnTo>
                    <a:lnTo>
                      <a:pt x="328" y="584"/>
                    </a:lnTo>
                    <a:lnTo>
                      <a:pt x="240" y="592"/>
                    </a:lnTo>
                    <a:lnTo>
                      <a:pt x="256" y="536"/>
                    </a:lnTo>
                    <a:lnTo>
                      <a:pt x="176" y="528"/>
                    </a:lnTo>
                    <a:lnTo>
                      <a:pt x="136" y="584"/>
                    </a:lnTo>
                    <a:lnTo>
                      <a:pt x="96" y="552"/>
                    </a:lnTo>
                    <a:lnTo>
                      <a:pt x="56" y="576"/>
                    </a:lnTo>
                    <a:lnTo>
                      <a:pt x="16" y="560"/>
                    </a:lnTo>
                    <a:lnTo>
                      <a:pt x="32" y="496"/>
                    </a:lnTo>
                    <a:lnTo>
                      <a:pt x="8" y="456"/>
                    </a:lnTo>
                    <a:lnTo>
                      <a:pt x="32" y="408"/>
                    </a:lnTo>
                    <a:lnTo>
                      <a:pt x="8" y="360"/>
                    </a:lnTo>
                    <a:lnTo>
                      <a:pt x="48" y="360"/>
                    </a:lnTo>
                    <a:lnTo>
                      <a:pt x="56" y="328"/>
                    </a:lnTo>
                    <a:lnTo>
                      <a:pt x="40" y="288"/>
                    </a:lnTo>
                    <a:lnTo>
                      <a:pt x="0" y="264"/>
                    </a:lnTo>
                    <a:lnTo>
                      <a:pt x="32" y="232"/>
                    </a:lnTo>
                    <a:lnTo>
                      <a:pt x="8" y="176"/>
                    </a:lnTo>
                    <a:lnTo>
                      <a:pt x="72" y="152"/>
                    </a:lnTo>
                    <a:lnTo>
                      <a:pt x="96" y="104"/>
                    </a:lnTo>
                    <a:lnTo>
                      <a:pt x="136" y="56"/>
                    </a:lnTo>
                    <a:lnTo>
                      <a:pt x="184" y="48"/>
                    </a:lnTo>
                    <a:lnTo>
                      <a:pt x="248" y="32"/>
                    </a:lnTo>
                    <a:lnTo>
                      <a:pt x="360" y="40"/>
                    </a:lnTo>
                    <a:lnTo>
                      <a:pt x="392" y="16"/>
                    </a:lnTo>
                    <a:lnTo>
                      <a:pt x="448" y="16"/>
                    </a:lnTo>
                    <a:lnTo>
                      <a:pt x="472" y="0"/>
                    </a:lnTo>
                    <a:lnTo>
                      <a:pt x="504" y="8"/>
                    </a:lnTo>
                    <a:close/>
                  </a:path>
                </a:pathLst>
              </a:custGeom>
              <a:solidFill>
                <a:srgbClr val="F88800"/>
              </a:solidFill>
              <a:ln w="9525">
                <a:solidFill>
                  <a:schemeClr val="bg1"/>
                </a:solidFill>
                <a:round/>
                <a:headEnd/>
                <a:tailEnd/>
              </a:ln>
            </p:spPr>
            <p:txBody>
              <a:bodyPr/>
              <a:lstStyle/>
              <a:p>
                <a:endParaRPr lang="en-US" sz="1050"/>
              </a:p>
            </p:txBody>
          </p:sp>
          <p:sp>
            <p:nvSpPr>
              <p:cNvPr id="99" name="Freeform 7"/>
              <p:cNvSpPr>
                <a:spLocks/>
              </p:cNvSpPr>
              <p:nvPr/>
            </p:nvSpPr>
            <p:spPr bwMode="auto">
              <a:xfrm>
                <a:off x="3730557" y="2878067"/>
                <a:ext cx="824060" cy="613254"/>
              </a:xfrm>
              <a:custGeom>
                <a:avLst/>
                <a:gdLst>
                  <a:gd name="T0" fmla="*/ 2147483646 w 688"/>
                  <a:gd name="T1" fmla="*/ 2147483646 h 512"/>
                  <a:gd name="T2" fmla="*/ 2147483646 w 688"/>
                  <a:gd name="T3" fmla="*/ 2147483646 h 512"/>
                  <a:gd name="T4" fmla="*/ 2147483646 w 688"/>
                  <a:gd name="T5" fmla="*/ 2147483646 h 512"/>
                  <a:gd name="T6" fmla="*/ 2147483646 w 688"/>
                  <a:gd name="T7" fmla="*/ 2147483646 h 512"/>
                  <a:gd name="T8" fmla="*/ 2147483646 w 688"/>
                  <a:gd name="T9" fmla="*/ 2147483646 h 512"/>
                  <a:gd name="T10" fmla="*/ 2147483646 w 688"/>
                  <a:gd name="T11" fmla="*/ 2147483646 h 512"/>
                  <a:gd name="T12" fmla="*/ 2147483646 w 688"/>
                  <a:gd name="T13" fmla="*/ 2147483646 h 512"/>
                  <a:gd name="T14" fmla="*/ 2147483646 w 688"/>
                  <a:gd name="T15" fmla="*/ 2147483646 h 512"/>
                  <a:gd name="T16" fmla="*/ 2147483646 w 688"/>
                  <a:gd name="T17" fmla="*/ 2147483646 h 512"/>
                  <a:gd name="T18" fmla="*/ 2147483646 w 688"/>
                  <a:gd name="T19" fmla="*/ 2147483646 h 512"/>
                  <a:gd name="T20" fmla="*/ 2147483646 w 688"/>
                  <a:gd name="T21" fmla="*/ 2147483646 h 512"/>
                  <a:gd name="T22" fmla="*/ 2147483646 w 688"/>
                  <a:gd name="T23" fmla="*/ 2147483646 h 512"/>
                  <a:gd name="T24" fmla="*/ 2147483646 w 688"/>
                  <a:gd name="T25" fmla="*/ 2147483646 h 512"/>
                  <a:gd name="T26" fmla="*/ 2147483646 w 688"/>
                  <a:gd name="T27" fmla="*/ 2147483646 h 512"/>
                  <a:gd name="T28" fmla="*/ 2147483646 w 688"/>
                  <a:gd name="T29" fmla="*/ 0 h 512"/>
                  <a:gd name="T30" fmla="*/ 2147483646 w 688"/>
                  <a:gd name="T31" fmla="*/ 2147483646 h 512"/>
                  <a:gd name="T32" fmla="*/ 2147483646 w 688"/>
                  <a:gd name="T33" fmla="*/ 2147483646 h 512"/>
                  <a:gd name="T34" fmla="*/ 0 w 688"/>
                  <a:gd name="T35" fmla="*/ 2147483646 h 512"/>
                  <a:gd name="T36" fmla="*/ 2147483646 w 688"/>
                  <a:gd name="T37" fmla="*/ 2147483646 h 512"/>
                  <a:gd name="T38" fmla="*/ 2147483646 w 688"/>
                  <a:gd name="T39" fmla="*/ 2147483646 h 512"/>
                  <a:gd name="T40" fmla="*/ 2147483646 w 688"/>
                  <a:gd name="T41" fmla="*/ 2147483646 h 512"/>
                  <a:gd name="T42" fmla="*/ 2147483646 w 688"/>
                  <a:gd name="T43" fmla="*/ 2147483646 h 512"/>
                  <a:gd name="T44" fmla="*/ 2147483646 w 688"/>
                  <a:gd name="T45" fmla="*/ 2147483646 h 512"/>
                  <a:gd name="T46" fmla="*/ 2147483646 w 688"/>
                  <a:gd name="T47" fmla="*/ 2147483646 h 512"/>
                  <a:gd name="T48" fmla="*/ 2147483646 w 688"/>
                  <a:gd name="T49" fmla="*/ 2147483646 h 512"/>
                  <a:gd name="T50" fmla="*/ 2147483646 w 688"/>
                  <a:gd name="T51" fmla="*/ 2147483646 h 512"/>
                  <a:gd name="T52" fmla="*/ 2147483646 w 688"/>
                  <a:gd name="T53" fmla="*/ 2147483646 h 512"/>
                  <a:gd name="T54" fmla="*/ 2147483646 w 688"/>
                  <a:gd name="T55" fmla="*/ 2147483646 h 512"/>
                  <a:gd name="T56" fmla="*/ 2147483646 w 688"/>
                  <a:gd name="T57" fmla="*/ 2147483646 h 512"/>
                  <a:gd name="T58" fmla="*/ 2147483646 w 688"/>
                  <a:gd name="T59" fmla="*/ 2147483646 h 512"/>
                  <a:gd name="T60" fmla="*/ 2147483646 w 688"/>
                  <a:gd name="T61" fmla="*/ 2147483646 h 512"/>
                  <a:gd name="T62" fmla="*/ 2147483646 w 688"/>
                  <a:gd name="T63" fmla="*/ 2147483646 h 512"/>
                  <a:gd name="T64" fmla="*/ 2147483646 w 688"/>
                  <a:gd name="T65" fmla="*/ 2147483646 h 512"/>
                  <a:gd name="T66" fmla="*/ 2147483646 w 688"/>
                  <a:gd name="T67" fmla="*/ 2147483646 h 512"/>
                  <a:gd name="T68" fmla="*/ 2147483646 w 688"/>
                  <a:gd name="T69" fmla="*/ 2147483646 h 512"/>
                  <a:gd name="T70" fmla="*/ 2147483646 w 688"/>
                  <a:gd name="T71" fmla="*/ 2147483646 h 512"/>
                  <a:gd name="T72" fmla="*/ 2147483646 w 688"/>
                  <a:gd name="T73" fmla="*/ 2147483646 h 512"/>
                  <a:gd name="T74" fmla="*/ 2147483646 w 688"/>
                  <a:gd name="T75" fmla="*/ 2147483646 h 512"/>
                  <a:gd name="T76" fmla="*/ 2147483646 w 688"/>
                  <a:gd name="T77" fmla="*/ 2147483646 h 512"/>
                  <a:gd name="T78" fmla="*/ 2147483646 w 688"/>
                  <a:gd name="T79" fmla="*/ 2147483646 h 512"/>
                  <a:gd name="T80" fmla="*/ 2147483646 w 688"/>
                  <a:gd name="T81" fmla="*/ 2147483646 h 512"/>
                  <a:gd name="T82" fmla="*/ 2147483646 w 688"/>
                  <a:gd name="T83" fmla="*/ 2147483646 h 512"/>
                  <a:gd name="T84" fmla="*/ 2147483646 w 688"/>
                  <a:gd name="T85" fmla="*/ 2147483646 h 5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8"/>
                  <a:gd name="T130" fmla="*/ 0 h 512"/>
                  <a:gd name="T131" fmla="*/ 688 w 688"/>
                  <a:gd name="T132" fmla="*/ 512 h 5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8" h="512">
                    <a:moveTo>
                      <a:pt x="688" y="320"/>
                    </a:moveTo>
                    <a:lnTo>
                      <a:pt x="632" y="248"/>
                    </a:lnTo>
                    <a:lnTo>
                      <a:pt x="680" y="216"/>
                    </a:lnTo>
                    <a:lnTo>
                      <a:pt x="656" y="168"/>
                    </a:lnTo>
                    <a:lnTo>
                      <a:pt x="600" y="208"/>
                    </a:lnTo>
                    <a:lnTo>
                      <a:pt x="536" y="216"/>
                    </a:lnTo>
                    <a:lnTo>
                      <a:pt x="512" y="176"/>
                    </a:lnTo>
                    <a:lnTo>
                      <a:pt x="464" y="176"/>
                    </a:lnTo>
                    <a:lnTo>
                      <a:pt x="432" y="136"/>
                    </a:lnTo>
                    <a:lnTo>
                      <a:pt x="400" y="64"/>
                    </a:lnTo>
                    <a:lnTo>
                      <a:pt x="336" y="8"/>
                    </a:lnTo>
                    <a:lnTo>
                      <a:pt x="216" y="8"/>
                    </a:lnTo>
                    <a:lnTo>
                      <a:pt x="152" y="16"/>
                    </a:lnTo>
                    <a:lnTo>
                      <a:pt x="104" y="40"/>
                    </a:lnTo>
                    <a:lnTo>
                      <a:pt x="48" y="0"/>
                    </a:lnTo>
                    <a:lnTo>
                      <a:pt x="64" y="64"/>
                    </a:lnTo>
                    <a:lnTo>
                      <a:pt x="8" y="112"/>
                    </a:lnTo>
                    <a:lnTo>
                      <a:pt x="0" y="168"/>
                    </a:lnTo>
                    <a:lnTo>
                      <a:pt x="32" y="192"/>
                    </a:lnTo>
                    <a:lnTo>
                      <a:pt x="40" y="256"/>
                    </a:lnTo>
                    <a:lnTo>
                      <a:pt x="72" y="256"/>
                    </a:lnTo>
                    <a:lnTo>
                      <a:pt x="80" y="304"/>
                    </a:lnTo>
                    <a:lnTo>
                      <a:pt x="48" y="280"/>
                    </a:lnTo>
                    <a:lnTo>
                      <a:pt x="40" y="336"/>
                    </a:lnTo>
                    <a:lnTo>
                      <a:pt x="64" y="344"/>
                    </a:lnTo>
                    <a:lnTo>
                      <a:pt x="64" y="456"/>
                    </a:lnTo>
                    <a:lnTo>
                      <a:pt x="96" y="512"/>
                    </a:lnTo>
                    <a:lnTo>
                      <a:pt x="120" y="480"/>
                    </a:lnTo>
                    <a:lnTo>
                      <a:pt x="144" y="480"/>
                    </a:lnTo>
                    <a:lnTo>
                      <a:pt x="168" y="456"/>
                    </a:lnTo>
                    <a:lnTo>
                      <a:pt x="200" y="480"/>
                    </a:lnTo>
                    <a:lnTo>
                      <a:pt x="256" y="432"/>
                    </a:lnTo>
                    <a:lnTo>
                      <a:pt x="280" y="464"/>
                    </a:lnTo>
                    <a:lnTo>
                      <a:pt x="392" y="440"/>
                    </a:lnTo>
                    <a:lnTo>
                      <a:pt x="440" y="384"/>
                    </a:lnTo>
                    <a:lnTo>
                      <a:pt x="520" y="384"/>
                    </a:lnTo>
                    <a:lnTo>
                      <a:pt x="552" y="352"/>
                    </a:lnTo>
                    <a:lnTo>
                      <a:pt x="576" y="392"/>
                    </a:lnTo>
                    <a:lnTo>
                      <a:pt x="624" y="376"/>
                    </a:lnTo>
                    <a:lnTo>
                      <a:pt x="648" y="408"/>
                    </a:lnTo>
                    <a:lnTo>
                      <a:pt x="688" y="392"/>
                    </a:lnTo>
                    <a:lnTo>
                      <a:pt x="680" y="352"/>
                    </a:lnTo>
                    <a:lnTo>
                      <a:pt x="688" y="320"/>
                    </a:lnTo>
                    <a:close/>
                  </a:path>
                </a:pathLst>
              </a:custGeom>
              <a:solidFill>
                <a:srgbClr val="F88800"/>
              </a:solidFill>
              <a:ln w="9525">
                <a:solidFill>
                  <a:schemeClr val="bg1"/>
                </a:solidFill>
                <a:round/>
                <a:headEnd/>
                <a:tailEnd/>
              </a:ln>
            </p:spPr>
            <p:txBody>
              <a:bodyPr/>
              <a:lstStyle/>
              <a:p>
                <a:endParaRPr lang="en-US" sz="1050"/>
              </a:p>
            </p:txBody>
          </p:sp>
          <p:sp>
            <p:nvSpPr>
              <p:cNvPr id="100" name="Freeform 8"/>
              <p:cNvSpPr>
                <a:spLocks/>
              </p:cNvSpPr>
              <p:nvPr/>
            </p:nvSpPr>
            <p:spPr bwMode="auto">
              <a:xfrm>
                <a:off x="3286673" y="3007051"/>
                <a:ext cx="756986" cy="871971"/>
              </a:xfrm>
              <a:custGeom>
                <a:avLst/>
                <a:gdLst>
                  <a:gd name="T0" fmla="*/ 2147483646 w 632"/>
                  <a:gd name="T1" fmla="*/ 2147483646 h 728"/>
                  <a:gd name="T2" fmla="*/ 2147483646 w 632"/>
                  <a:gd name="T3" fmla="*/ 0 h 728"/>
                  <a:gd name="T4" fmla="*/ 2147483646 w 632"/>
                  <a:gd name="T5" fmla="*/ 2147483646 h 728"/>
                  <a:gd name="T6" fmla="*/ 2147483646 w 632"/>
                  <a:gd name="T7" fmla="*/ 2147483646 h 728"/>
                  <a:gd name="T8" fmla="*/ 2147483646 w 632"/>
                  <a:gd name="T9" fmla="*/ 2147483646 h 728"/>
                  <a:gd name="T10" fmla="*/ 2147483646 w 632"/>
                  <a:gd name="T11" fmla="*/ 2147483646 h 728"/>
                  <a:gd name="T12" fmla="*/ 2147483646 w 632"/>
                  <a:gd name="T13" fmla="*/ 2147483646 h 728"/>
                  <a:gd name="T14" fmla="*/ 2147483646 w 632"/>
                  <a:gd name="T15" fmla="*/ 2147483646 h 728"/>
                  <a:gd name="T16" fmla="*/ 2147483646 w 632"/>
                  <a:gd name="T17" fmla="*/ 2147483646 h 728"/>
                  <a:gd name="T18" fmla="*/ 2147483646 w 632"/>
                  <a:gd name="T19" fmla="*/ 2147483646 h 728"/>
                  <a:gd name="T20" fmla="*/ 2147483646 w 632"/>
                  <a:gd name="T21" fmla="*/ 2147483646 h 728"/>
                  <a:gd name="T22" fmla="*/ 2147483646 w 632"/>
                  <a:gd name="T23" fmla="*/ 2147483646 h 728"/>
                  <a:gd name="T24" fmla="*/ 2147483646 w 632"/>
                  <a:gd name="T25" fmla="*/ 2147483646 h 728"/>
                  <a:gd name="T26" fmla="*/ 2147483646 w 632"/>
                  <a:gd name="T27" fmla="*/ 2147483646 h 728"/>
                  <a:gd name="T28" fmla="*/ 2147483646 w 632"/>
                  <a:gd name="T29" fmla="*/ 2147483646 h 728"/>
                  <a:gd name="T30" fmla="*/ 2147483646 w 632"/>
                  <a:gd name="T31" fmla="*/ 2147483646 h 728"/>
                  <a:gd name="T32" fmla="*/ 2147483646 w 632"/>
                  <a:gd name="T33" fmla="*/ 2147483646 h 728"/>
                  <a:gd name="T34" fmla="*/ 2147483646 w 632"/>
                  <a:gd name="T35" fmla="*/ 2147483646 h 728"/>
                  <a:gd name="T36" fmla="*/ 2147483646 w 632"/>
                  <a:gd name="T37" fmla="*/ 2147483646 h 728"/>
                  <a:gd name="T38" fmla="*/ 2147483646 w 632"/>
                  <a:gd name="T39" fmla="*/ 2147483646 h 728"/>
                  <a:gd name="T40" fmla="*/ 2147483646 w 632"/>
                  <a:gd name="T41" fmla="*/ 2147483646 h 728"/>
                  <a:gd name="T42" fmla="*/ 2147483646 w 632"/>
                  <a:gd name="T43" fmla="*/ 2147483646 h 728"/>
                  <a:gd name="T44" fmla="*/ 2147483646 w 632"/>
                  <a:gd name="T45" fmla="*/ 2147483646 h 728"/>
                  <a:gd name="T46" fmla="*/ 2147483646 w 632"/>
                  <a:gd name="T47" fmla="*/ 2147483646 h 728"/>
                  <a:gd name="T48" fmla="*/ 2147483646 w 632"/>
                  <a:gd name="T49" fmla="*/ 2147483646 h 728"/>
                  <a:gd name="T50" fmla="*/ 2147483646 w 632"/>
                  <a:gd name="T51" fmla="*/ 2147483646 h 728"/>
                  <a:gd name="T52" fmla="*/ 2147483646 w 632"/>
                  <a:gd name="T53" fmla="*/ 2147483646 h 728"/>
                  <a:gd name="T54" fmla="*/ 2147483646 w 632"/>
                  <a:gd name="T55" fmla="*/ 2147483646 h 728"/>
                  <a:gd name="T56" fmla="*/ 2147483646 w 632"/>
                  <a:gd name="T57" fmla="*/ 2147483646 h 728"/>
                  <a:gd name="T58" fmla="*/ 2147483646 w 632"/>
                  <a:gd name="T59" fmla="*/ 2147483646 h 728"/>
                  <a:gd name="T60" fmla="*/ 2147483646 w 632"/>
                  <a:gd name="T61" fmla="*/ 2147483646 h 728"/>
                  <a:gd name="T62" fmla="*/ 2147483646 w 632"/>
                  <a:gd name="T63" fmla="*/ 2147483646 h 728"/>
                  <a:gd name="T64" fmla="*/ 2147483646 w 632"/>
                  <a:gd name="T65" fmla="*/ 2147483646 h 728"/>
                  <a:gd name="T66" fmla="*/ 2147483646 w 632"/>
                  <a:gd name="T67" fmla="*/ 2147483646 h 728"/>
                  <a:gd name="T68" fmla="*/ 0 w 632"/>
                  <a:gd name="T69" fmla="*/ 2147483646 h 728"/>
                  <a:gd name="T70" fmla="*/ 2147483646 w 632"/>
                  <a:gd name="T71" fmla="*/ 2147483646 h 728"/>
                  <a:gd name="T72" fmla="*/ 2147483646 w 632"/>
                  <a:gd name="T73" fmla="*/ 2147483646 h 728"/>
                  <a:gd name="T74" fmla="*/ 2147483646 w 632"/>
                  <a:gd name="T75" fmla="*/ 2147483646 h 728"/>
                  <a:gd name="T76" fmla="*/ 2147483646 w 632"/>
                  <a:gd name="T77" fmla="*/ 2147483646 h 728"/>
                  <a:gd name="T78" fmla="*/ 2147483646 w 632"/>
                  <a:gd name="T79" fmla="*/ 2147483646 h 728"/>
                  <a:gd name="T80" fmla="*/ 2147483646 w 632"/>
                  <a:gd name="T81" fmla="*/ 2147483646 h 728"/>
                  <a:gd name="T82" fmla="*/ 2147483646 w 632"/>
                  <a:gd name="T83" fmla="*/ 2147483646 h 728"/>
                  <a:gd name="T84" fmla="*/ 2147483646 w 632"/>
                  <a:gd name="T85" fmla="*/ 2147483646 h 728"/>
                  <a:gd name="T86" fmla="*/ 2147483646 w 632"/>
                  <a:gd name="T87" fmla="*/ 2147483646 h 728"/>
                  <a:gd name="T88" fmla="*/ 2147483646 w 632"/>
                  <a:gd name="T89" fmla="*/ 2147483646 h 728"/>
                  <a:gd name="T90" fmla="*/ 2147483646 w 632"/>
                  <a:gd name="T91" fmla="*/ 2147483646 h 7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2"/>
                  <a:gd name="T139" fmla="*/ 0 h 728"/>
                  <a:gd name="T140" fmla="*/ 632 w 632"/>
                  <a:gd name="T141" fmla="*/ 728 h 7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2" h="728">
                    <a:moveTo>
                      <a:pt x="176" y="56"/>
                    </a:moveTo>
                    <a:lnTo>
                      <a:pt x="216" y="0"/>
                    </a:lnTo>
                    <a:lnTo>
                      <a:pt x="296" y="8"/>
                    </a:lnTo>
                    <a:lnTo>
                      <a:pt x="280" y="64"/>
                    </a:lnTo>
                    <a:lnTo>
                      <a:pt x="368" y="56"/>
                    </a:lnTo>
                    <a:lnTo>
                      <a:pt x="400" y="80"/>
                    </a:lnTo>
                    <a:lnTo>
                      <a:pt x="408" y="144"/>
                    </a:lnTo>
                    <a:lnTo>
                      <a:pt x="440" y="144"/>
                    </a:lnTo>
                    <a:lnTo>
                      <a:pt x="448" y="192"/>
                    </a:lnTo>
                    <a:lnTo>
                      <a:pt x="416" y="168"/>
                    </a:lnTo>
                    <a:lnTo>
                      <a:pt x="408" y="224"/>
                    </a:lnTo>
                    <a:lnTo>
                      <a:pt x="432" y="232"/>
                    </a:lnTo>
                    <a:lnTo>
                      <a:pt x="432" y="344"/>
                    </a:lnTo>
                    <a:lnTo>
                      <a:pt x="464" y="400"/>
                    </a:lnTo>
                    <a:lnTo>
                      <a:pt x="488" y="368"/>
                    </a:lnTo>
                    <a:lnTo>
                      <a:pt x="512" y="368"/>
                    </a:lnTo>
                    <a:lnTo>
                      <a:pt x="528" y="432"/>
                    </a:lnTo>
                    <a:lnTo>
                      <a:pt x="560" y="472"/>
                    </a:lnTo>
                    <a:lnTo>
                      <a:pt x="528" y="504"/>
                    </a:lnTo>
                    <a:lnTo>
                      <a:pt x="520" y="544"/>
                    </a:lnTo>
                    <a:lnTo>
                      <a:pt x="576" y="552"/>
                    </a:lnTo>
                    <a:lnTo>
                      <a:pt x="560" y="584"/>
                    </a:lnTo>
                    <a:lnTo>
                      <a:pt x="632" y="584"/>
                    </a:lnTo>
                    <a:lnTo>
                      <a:pt x="632" y="648"/>
                    </a:lnTo>
                    <a:lnTo>
                      <a:pt x="600" y="712"/>
                    </a:lnTo>
                    <a:lnTo>
                      <a:pt x="424" y="728"/>
                    </a:lnTo>
                    <a:lnTo>
                      <a:pt x="376" y="680"/>
                    </a:lnTo>
                    <a:lnTo>
                      <a:pt x="352" y="600"/>
                    </a:lnTo>
                    <a:lnTo>
                      <a:pt x="296" y="632"/>
                    </a:lnTo>
                    <a:lnTo>
                      <a:pt x="240" y="720"/>
                    </a:lnTo>
                    <a:lnTo>
                      <a:pt x="192" y="680"/>
                    </a:lnTo>
                    <a:lnTo>
                      <a:pt x="168" y="696"/>
                    </a:lnTo>
                    <a:lnTo>
                      <a:pt x="120" y="664"/>
                    </a:lnTo>
                    <a:lnTo>
                      <a:pt x="40" y="632"/>
                    </a:lnTo>
                    <a:lnTo>
                      <a:pt x="0" y="552"/>
                    </a:lnTo>
                    <a:lnTo>
                      <a:pt x="32" y="544"/>
                    </a:lnTo>
                    <a:lnTo>
                      <a:pt x="32" y="496"/>
                    </a:lnTo>
                    <a:lnTo>
                      <a:pt x="112" y="424"/>
                    </a:lnTo>
                    <a:lnTo>
                      <a:pt x="112" y="392"/>
                    </a:lnTo>
                    <a:lnTo>
                      <a:pt x="160" y="376"/>
                    </a:lnTo>
                    <a:lnTo>
                      <a:pt x="176" y="328"/>
                    </a:lnTo>
                    <a:lnTo>
                      <a:pt x="208" y="312"/>
                    </a:lnTo>
                    <a:lnTo>
                      <a:pt x="168" y="216"/>
                    </a:lnTo>
                    <a:lnTo>
                      <a:pt x="200" y="152"/>
                    </a:lnTo>
                    <a:lnTo>
                      <a:pt x="192" y="104"/>
                    </a:lnTo>
                    <a:lnTo>
                      <a:pt x="176" y="56"/>
                    </a:lnTo>
                    <a:close/>
                  </a:path>
                </a:pathLst>
              </a:custGeom>
              <a:solidFill>
                <a:srgbClr val="2B651B"/>
              </a:solidFill>
              <a:ln w="9525">
                <a:solidFill>
                  <a:schemeClr val="bg1"/>
                </a:solidFill>
                <a:round/>
                <a:headEnd/>
                <a:tailEnd/>
              </a:ln>
            </p:spPr>
            <p:txBody>
              <a:bodyPr/>
              <a:lstStyle/>
              <a:p>
                <a:endParaRPr lang="en-US" sz="1050"/>
              </a:p>
            </p:txBody>
          </p:sp>
          <p:sp>
            <p:nvSpPr>
              <p:cNvPr id="101" name="Freeform 9"/>
              <p:cNvSpPr>
                <a:spLocks/>
              </p:cNvSpPr>
              <p:nvPr/>
            </p:nvSpPr>
            <p:spPr bwMode="auto">
              <a:xfrm>
                <a:off x="3900606" y="3293019"/>
                <a:ext cx="833642" cy="632418"/>
              </a:xfrm>
              <a:custGeom>
                <a:avLst/>
                <a:gdLst>
                  <a:gd name="T0" fmla="*/ 2147483646 w 696"/>
                  <a:gd name="T1" fmla="*/ 2147483646 h 528"/>
                  <a:gd name="T2" fmla="*/ 2147483646 w 696"/>
                  <a:gd name="T3" fmla="*/ 2147483646 h 528"/>
                  <a:gd name="T4" fmla="*/ 2147483646 w 696"/>
                  <a:gd name="T5" fmla="*/ 2147483646 h 528"/>
                  <a:gd name="T6" fmla="*/ 2147483646 w 696"/>
                  <a:gd name="T7" fmla="*/ 2147483646 h 528"/>
                  <a:gd name="T8" fmla="*/ 2147483646 w 696"/>
                  <a:gd name="T9" fmla="*/ 2147483646 h 528"/>
                  <a:gd name="T10" fmla="*/ 2147483646 w 696"/>
                  <a:gd name="T11" fmla="*/ 2147483646 h 528"/>
                  <a:gd name="T12" fmla="*/ 2147483646 w 696"/>
                  <a:gd name="T13" fmla="*/ 2147483646 h 528"/>
                  <a:gd name="T14" fmla="*/ 2147483646 w 696"/>
                  <a:gd name="T15" fmla="*/ 2147483646 h 528"/>
                  <a:gd name="T16" fmla="*/ 0 w 696"/>
                  <a:gd name="T17" fmla="*/ 2147483646 h 528"/>
                  <a:gd name="T18" fmla="*/ 2147483646 w 696"/>
                  <a:gd name="T19" fmla="*/ 2147483646 h 528"/>
                  <a:gd name="T20" fmla="*/ 2147483646 w 696"/>
                  <a:gd name="T21" fmla="*/ 2147483646 h 528"/>
                  <a:gd name="T22" fmla="*/ 2147483646 w 696"/>
                  <a:gd name="T23" fmla="*/ 2147483646 h 528"/>
                  <a:gd name="T24" fmla="*/ 2147483646 w 696"/>
                  <a:gd name="T25" fmla="*/ 2147483646 h 528"/>
                  <a:gd name="T26" fmla="*/ 2147483646 w 696"/>
                  <a:gd name="T27" fmla="*/ 2147483646 h 528"/>
                  <a:gd name="T28" fmla="*/ 2147483646 w 696"/>
                  <a:gd name="T29" fmla="*/ 2147483646 h 528"/>
                  <a:gd name="T30" fmla="*/ 2147483646 w 696"/>
                  <a:gd name="T31" fmla="*/ 2147483646 h 528"/>
                  <a:gd name="T32" fmla="*/ 2147483646 w 696"/>
                  <a:gd name="T33" fmla="*/ 0 h 528"/>
                  <a:gd name="T34" fmla="*/ 2147483646 w 696"/>
                  <a:gd name="T35" fmla="*/ 2147483646 h 528"/>
                  <a:gd name="T36" fmla="*/ 2147483646 w 696"/>
                  <a:gd name="T37" fmla="*/ 2147483646 h 528"/>
                  <a:gd name="T38" fmla="*/ 2147483646 w 696"/>
                  <a:gd name="T39" fmla="*/ 2147483646 h 528"/>
                  <a:gd name="T40" fmla="*/ 2147483646 w 696"/>
                  <a:gd name="T41" fmla="*/ 2147483646 h 528"/>
                  <a:gd name="T42" fmla="*/ 2147483646 w 696"/>
                  <a:gd name="T43" fmla="*/ 2147483646 h 528"/>
                  <a:gd name="T44" fmla="*/ 2147483646 w 696"/>
                  <a:gd name="T45" fmla="*/ 2147483646 h 528"/>
                  <a:gd name="T46" fmla="*/ 2147483646 w 696"/>
                  <a:gd name="T47" fmla="*/ 2147483646 h 528"/>
                  <a:gd name="T48" fmla="*/ 2147483646 w 696"/>
                  <a:gd name="T49" fmla="*/ 2147483646 h 528"/>
                  <a:gd name="T50" fmla="*/ 2147483646 w 696"/>
                  <a:gd name="T51" fmla="*/ 2147483646 h 528"/>
                  <a:gd name="T52" fmla="*/ 2147483646 w 696"/>
                  <a:gd name="T53" fmla="*/ 2147483646 h 528"/>
                  <a:gd name="T54" fmla="*/ 2147483646 w 696"/>
                  <a:gd name="T55" fmla="*/ 2147483646 h 528"/>
                  <a:gd name="T56" fmla="*/ 2147483646 w 696"/>
                  <a:gd name="T57" fmla="*/ 2147483646 h 528"/>
                  <a:gd name="T58" fmla="*/ 2147483646 w 696"/>
                  <a:gd name="T59" fmla="*/ 2147483646 h 528"/>
                  <a:gd name="T60" fmla="*/ 2147483646 w 696"/>
                  <a:gd name="T61" fmla="*/ 2147483646 h 528"/>
                  <a:gd name="T62" fmla="*/ 2147483646 w 696"/>
                  <a:gd name="T63" fmla="*/ 2147483646 h 528"/>
                  <a:gd name="T64" fmla="*/ 2147483646 w 696"/>
                  <a:gd name="T65" fmla="*/ 2147483646 h 528"/>
                  <a:gd name="T66" fmla="*/ 2147483646 w 696"/>
                  <a:gd name="T67" fmla="*/ 2147483646 h 528"/>
                  <a:gd name="T68" fmla="*/ 2147483646 w 696"/>
                  <a:gd name="T69" fmla="*/ 2147483646 h 528"/>
                  <a:gd name="T70" fmla="*/ 2147483646 w 696"/>
                  <a:gd name="T71" fmla="*/ 2147483646 h 528"/>
                  <a:gd name="T72" fmla="*/ 2147483646 w 696"/>
                  <a:gd name="T73" fmla="*/ 2147483646 h 528"/>
                  <a:gd name="T74" fmla="*/ 2147483646 w 696"/>
                  <a:gd name="T75" fmla="*/ 2147483646 h 5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6"/>
                  <a:gd name="T115" fmla="*/ 0 h 528"/>
                  <a:gd name="T116" fmla="*/ 696 w 696"/>
                  <a:gd name="T117" fmla="*/ 528 h 5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6" h="528">
                    <a:moveTo>
                      <a:pt x="120" y="408"/>
                    </a:moveTo>
                    <a:lnTo>
                      <a:pt x="120" y="344"/>
                    </a:lnTo>
                    <a:lnTo>
                      <a:pt x="48" y="344"/>
                    </a:lnTo>
                    <a:lnTo>
                      <a:pt x="64" y="312"/>
                    </a:lnTo>
                    <a:lnTo>
                      <a:pt x="8" y="304"/>
                    </a:lnTo>
                    <a:lnTo>
                      <a:pt x="16" y="264"/>
                    </a:lnTo>
                    <a:lnTo>
                      <a:pt x="48" y="232"/>
                    </a:lnTo>
                    <a:lnTo>
                      <a:pt x="16" y="192"/>
                    </a:lnTo>
                    <a:lnTo>
                      <a:pt x="0" y="128"/>
                    </a:lnTo>
                    <a:lnTo>
                      <a:pt x="24" y="104"/>
                    </a:lnTo>
                    <a:lnTo>
                      <a:pt x="56" y="128"/>
                    </a:lnTo>
                    <a:lnTo>
                      <a:pt x="112" y="80"/>
                    </a:lnTo>
                    <a:lnTo>
                      <a:pt x="136" y="112"/>
                    </a:lnTo>
                    <a:lnTo>
                      <a:pt x="248" y="88"/>
                    </a:lnTo>
                    <a:lnTo>
                      <a:pt x="296" y="32"/>
                    </a:lnTo>
                    <a:lnTo>
                      <a:pt x="376" y="32"/>
                    </a:lnTo>
                    <a:lnTo>
                      <a:pt x="408" y="0"/>
                    </a:lnTo>
                    <a:lnTo>
                      <a:pt x="432" y="40"/>
                    </a:lnTo>
                    <a:lnTo>
                      <a:pt x="480" y="24"/>
                    </a:lnTo>
                    <a:lnTo>
                      <a:pt x="504" y="56"/>
                    </a:lnTo>
                    <a:lnTo>
                      <a:pt x="544" y="40"/>
                    </a:lnTo>
                    <a:lnTo>
                      <a:pt x="584" y="72"/>
                    </a:lnTo>
                    <a:lnTo>
                      <a:pt x="576" y="144"/>
                    </a:lnTo>
                    <a:lnTo>
                      <a:pt x="656" y="264"/>
                    </a:lnTo>
                    <a:lnTo>
                      <a:pt x="664" y="304"/>
                    </a:lnTo>
                    <a:lnTo>
                      <a:pt x="696" y="352"/>
                    </a:lnTo>
                    <a:lnTo>
                      <a:pt x="696" y="432"/>
                    </a:lnTo>
                    <a:lnTo>
                      <a:pt x="648" y="424"/>
                    </a:lnTo>
                    <a:lnTo>
                      <a:pt x="624" y="448"/>
                    </a:lnTo>
                    <a:lnTo>
                      <a:pt x="576" y="432"/>
                    </a:lnTo>
                    <a:lnTo>
                      <a:pt x="512" y="456"/>
                    </a:lnTo>
                    <a:lnTo>
                      <a:pt x="440" y="504"/>
                    </a:lnTo>
                    <a:lnTo>
                      <a:pt x="336" y="488"/>
                    </a:lnTo>
                    <a:lnTo>
                      <a:pt x="272" y="528"/>
                    </a:lnTo>
                    <a:lnTo>
                      <a:pt x="192" y="512"/>
                    </a:lnTo>
                    <a:lnTo>
                      <a:pt x="160" y="472"/>
                    </a:lnTo>
                    <a:lnTo>
                      <a:pt x="152" y="408"/>
                    </a:lnTo>
                    <a:lnTo>
                      <a:pt x="120" y="408"/>
                    </a:lnTo>
                    <a:close/>
                  </a:path>
                </a:pathLst>
              </a:custGeom>
              <a:solidFill>
                <a:srgbClr val="F88800"/>
              </a:solidFill>
              <a:ln w="9525">
                <a:solidFill>
                  <a:schemeClr val="bg1"/>
                </a:solidFill>
                <a:round/>
                <a:headEnd/>
                <a:tailEnd/>
              </a:ln>
            </p:spPr>
            <p:txBody>
              <a:bodyPr/>
              <a:lstStyle/>
              <a:p>
                <a:endParaRPr lang="en-US" sz="1050"/>
              </a:p>
            </p:txBody>
          </p:sp>
          <p:sp>
            <p:nvSpPr>
              <p:cNvPr id="102" name="Freeform 10"/>
              <p:cNvSpPr>
                <a:spLocks/>
              </p:cNvSpPr>
              <p:nvPr/>
            </p:nvSpPr>
            <p:spPr bwMode="auto">
              <a:xfrm>
                <a:off x="4533033" y="3166708"/>
                <a:ext cx="603672" cy="785732"/>
              </a:xfrm>
              <a:custGeom>
                <a:avLst/>
                <a:gdLst>
                  <a:gd name="T0" fmla="*/ 2147483646 w 504"/>
                  <a:gd name="T1" fmla="*/ 2147483646 h 656"/>
                  <a:gd name="T2" fmla="*/ 2147483646 w 504"/>
                  <a:gd name="T3" fmla="*/ 2147483646 h 656"/>
                  <a:gd name="T4" fmla="*/ 2147483646 w 504"/>
                  <a:gd name="T5" fmla="*/ 2147483646 h 656"/>
                  <a:gd name="T6" fmla="*/ 2147483646 w 504"/>
                  <a:gd name="T7" fmla="*/ 2147483646 h 656"/>
                  <a:gd name="T8" fmla="*/ 2147483646 w 504"/>
                  <a:gd name="T9" fmla="*/ 2147483646 h 656"/>
                  <a:gd name="T10" fmla="*/ 2147483646 w 504"/>
                  <a:gd name="T11" fmla="*/ 2147483646 h 656"/>
                  <a:gd name="T12" fmla="*/ 2147483646 w 504"/>
                  <a:gd name="T13" fmla="*/ 2147483646 h 656"/>
                  <a:gd name="T14" fmla="*/ 2147483646 w 504"/>
                  <a:gd name="T15" fmla="*/ 2147483646 h 656"/>
                  <a:gd name="T16" fmla="*/ 2147483646 w 504"/>
                  <a:gd name="T17" fmla="*/ 0 h 656"/>
                  <a:gd name="T18" fmla="*/ 2147483646 w 504"/>
                  <a:gd name="T19" fmla="*/ 2147483646 h 656"/>
                  <a:gd name="T20" fmla="*/ 2147483646 w 504"/>
                  <a:gd name="T21" fmla="*/ 2147483646 h 656"/>
                  <a:gd name="T22" fmla="*/ 2147483646 w 504"/>
                  <a:gd name="T23" fmla="*/ 2147483646 h 656"/>
                  <a:gd name="T24" fmla="*/ 2147483646 w 504"/>
                  <a:gd name="T25" fmla="*/ 2147483646 h 656"/>
                  <a:gd name="T26" fmla="*/ 2147483646 w 504"/>
                  <a:gd name="T27" fmla="*/ 2147483646 h 656"/>
                  <a:gd name="T28" fmla="*/ 0 w 504"/>
                  <a:gd name="T29" fmla="*/ 2147483646 h 656"/>
                  <a:gd name="T30" fmla="*/ 2147483646 w 504"/>
                  <a:gd name="T31" fmla="*/ 2147483646 h 656"/>
                  <a:gd name="T32" fmla="*/ 2147483646 w 504"/>
                  <a:gd name="T33" fmla="*/ 2147483646 h 656"/>
                  <a:gd name="T34" fmla="*/ 2147483646 w 504"/>
                  <a:gd name="T35" fmla="*/ 2147483646 h 656"/>
                  <a:gd name="T36" fmla="*/ 2147483646 w 504"/>
                  <a:gd name="T37" fmla="*/ 2147483646 h 656"/>
                  <a:gd name="T38" fmla="*/ 2147483646 w 504"/>
                  <a:gd name="T39" fmla="*/ 2147483646 h 656"/>
                  <a:gd name="T40" fmla="*/ 2147483646 w 504"/>
                  <a:gd name="T41" fmla="*/ 2147483646 h 656"/>
                  <a:gd name="T42" fmla="*/ 2147483646 w 504"/>
                  <a:gd name="T43" fmla="*/ 2147483646 h 656"/>
                  <a:gd name="T44" fmla="*/ 2147483646 w 504"/>
                  <a:gd name="T45" fmla="*/ 2147483646 h 656"/>
                  <a:gd name="T46" fmla="*/ 2147483646 w 504"/>
                  <a:gd name="T47" fmla="*/ 2147483646 h 656"/>
                  <a:gd name="T48" fmla="*/ 2147483646 w 504"/>
                  <a:gd name="T49" fmla="*/ 2147483646 h 656"/>
                  <a:gd name="T50" fmla="*/ 2147483646 w 504"/>
                  <a:gd name="T51" fmla="*/ 2147483646 h 656"/>
                  <a:gd name="T52" fmla="*/ 2147483646 w 504"/>
                  <a:gd name="T53" fmla="*/ 2147483646 h 656"/>
                  <a:gd name="T54" fmla="*/ 2147483646 w 504"/>
                  <a:gd name="T55" fmla="*/ 2147483646 h 656"/>
                  <a:gd name="T56" fmla="*/ 2147483646 w 504"/>
                  <a:gd name="T57" fmla="*/ 2147483646 h 656"/>
                  <a:gd name="T58" fmla="*/ 2147483646 w 504"/>
                  <a:gd name="T59" fmla="*/ 2147483646 h 656"/>
                  <a:gd name="T60" fmla="*/ 2147483646 w 504"/>
                  <a:gd name="T61" fmla="*/ 2147483646 h 656"/>
                  <a:gd name="T62" fmla="*/ 2147483646 w 504"/>
                  <a:gd name="T63" fmla="*/ 2147483646 h 656"/>
                  <a:gd name="T64" fmla="*/ 2147483646 w 504"/>
                  <a:gd name="T65" fmla="*/ 2147483646 h 656"/>
                  <a:gd name="T66" fmla="*/ 2147483646 w 504"/>
                  <a:gd name="T67" fmla="*/ 2147483646 h 656"/>
                  <a:gd name="T68" fmla="*/ 2147483646 w 504"/>
                  <a:gd name="T69" fmla="*/ 2147483646 h 656"/>
                  <a:gd name="T70" fmla="*/ 2147483646 w 504"/>
                  <a:gd name="T71" fmla="*/ 2147483646 h 656"/>
                  <a:gd name="T72" fmla="*/ 2147483646 w 504"/>
                  <a:gd name="T73" fmla="*/ 2147483646 h 656"/>
                  <a:gd name="T74" fmla="*/ 2147483646 w 504"/>
                  <a:gd name="T75" fmla="*/ 2147483646 h 656"/>
                  <a:gd name="T76" fmla="*/ 2147483646 w 504"/>
                  <a:gd name="T77" fmla="*/ 2147483646 h 656"/>
                  <a:gd name="T78" fmla="*/ 2147483646 w 504"/>
                  <a:gd name="T79" fmla="*/ 2147483646 h 656"/>
                  <a:gd name="T80" fmla="*/ 2147483646 w 504"/>
                  <a:gd name="T81" fmla="*/ 2147483646 h 656"/>
                  <a:gd name="T82" fmla="*/ 2147483646 w 504"/>
                  <a:gd name="T83" fmla="*/ 2147483646 h 6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4"/>
                  <a:gd name="T127" fmla="*/ 0 h 656"/>
                  <a:gd name="T128" fmla="*/ 504 w 504"/>
                  <a:gd name="T129" fmla="*/ 656 h 6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4" h="656">
                    <a:moveTo>
                      <a:pt x="432" y="88"/>
                    </a:moveTo>
                    <a:lnTo>
                      <a:pt x="392" y="96"/>
                    </a:lnTo>
                    <a:lnTo>
                      <a:pt x="360" y="72"/>
                    </a:lnTo>
                    <a:lnTo>
                      <a:pt x="344" y="120"/>
                    </a:lnTo>
                    <a:lnTo>
                      <a:pt x="304" y="80"/>
                    </a:lnTo>
                    <a:lnTo>
                      <a:pt x="296" y="24"/>
                    </a:lnTo>
                    <a:lnTo>
                      <a:pt x="256" y="64"/>
                    </a:lnTo>
                    <a:lnTo>
                      <a:pt x="240" y="8"/>
                    </a:lnTo>
                    <a:lnTo>
                      <a:pt x="200" y="0"/>
                    </a:lnTo>
                    <a:lnTo>
                      <a:pt x="200" y="48"/>
                    </a:lnTo>
                    <a:lnTo>
                      <a:pt x="136" y="80"/>
                    </a:lnTo>
                    <a:lnTo>
                      <a:pt x="96" y="40"/>
                    </a:lnTo>
                    <a:lnTo>
                      <a:pt x="64" y="72"/>
                    </a:lnTo>
                    <a:lnTo>
                      <a:pt x="8" y="80"/>
                    </a:lnTo>
                    <a:lnTo>
                      <a:pt x="0" y="112"/>
                    </a:lnTo>
                    <a:lnTo>
                      <a:pt x="8" y="152"/>
                    </a:lnTo>
                    <a:lnTo>
                      <a:pt x="48" y="184"/>
                    </a:lnTo>
                    <a:lnTo>
                      <a:pt x="40" y="256"/>
                    </a:lnTo>
                    <a:lnTo>
                      <a:pt x="120" y="376"/>
                    </a:lnTo>
                    <a:lnTo>
                      <a:pt x="128" y="416"/>
                    </a:lnTo>
                    <a:lnTo>
                      <a:pt x="160" y="464"/>
                    </a:lnTo>
                    <a:lnTo>
                      <a:pt x="160" y="544"/>
                    </a:lnTo>
                    <a:lnTo>
                      <a:pt x="160" y="584"/>
                    </a:lnTo>
                    <a:lnTo>
                      <a:pt x="184" y="592"/>
                    </a:lnTo>
                    <a:lnTo>
                      <a:pt x="184" y="656"/>
                    </a:lnTo>
                    <a:lnTo>
                      <a:pt x="232" y="624"/>
                    </a:lnTo>
                    <a:lnTo>
                      <a:pt x="240" y="576"/>
                    </a:lnTo>
                    <a:lnTo>
                      <a:pt x="312" y="568"/>
                    </a:lnTo>
                    <a:lnTo>
                      <a:pt x="344" y="536"/>
                    </a:lnTo>
                    <a:lnTo>
                      <a:pt x="376" y="568"/>
                    </a:lnTo>
                    <a:lnTo>
                      <a:pt x="456" y="576"/>
                    </a:lnTo>
                    <a:lnTo>
                      <a:pt x="464" y="528"/>
                    </a:lnTo>
                    <a:lnTo>
                      <a:pt x="432" y="496"/>
                    </a:lnTo>
                    <a:lnTo>
                      <a:pt x="456" y="464"/>
                    </a:lnTo>
                    <a:lnTo>
                      <a:pt x="480" y="440"/>
                    </a:lnTo>
                    <a:lnTo>
                      <a:pt x="472" y="416"/>
                    </a:lnTo>
                    <a:lnTo>
                      <a:pt x="504" y="344"/>
                    </a:lnTo>
                    <a:lnTo>
                      <a:pt x="472" y="312"/>
                    </a:lnTo>
                    <a:lnTo>
                      <a:pt x="496" y="248"/>
                    </a:lnTo>
                    <a:lnTo>
                      <a:pt x="488" y="208"/>
                    </a:lnTo>
                    <a:lnTo>
                      <a:pt x="456" y="152"/>
                    </a:lnTo>
                    <a:lnTo>
                      <a:pt x="432" y="88"/>
                    </a:lnTo>
                    <a:close/>
                  </a:path>
                </a:pathLst>
              </a:custGeom>
              <a:solidFill>
                <a:srgbClr val="F88800"/>
              </a:solidFill>
              <a:ln w="9525">
                <a:solidFill>
                  <a:schemeClr val="bg1"/>
                </a:solidFill>
                <a:round/>
                <a:headEnd/>
                <a:tailEnd/>
              </a:ln>
            </p:spPr>
            <p:txBody>
              <a:bodyPr/>
              <a:lstStyle/>
              <a:p>
                <a:endParaRPr lang="en-US" sz="1050"/>
              </a:p>
            </p:txBody>
          </p:sp>
          <p:sp>
            <p:nvSpPr>
              <p:cNvPr id="103" name="Freeform 11"/>
              <p:cNvSpPr>
                <a:spLocks/>
              </p:cNvSpPr>
              <p:nvPr/>
            </p:nvSpPr>
            <p:spPr bwMode="auto">
              <a:xfrm>
                <a:off x="2289823" y="2344157"/>
                <a:ext cx="1092360" cy="546181"/>
              </a:xfrm>
              <a:custGeom>
                <a:avLst/>
                <a:gdLst>
                  <a:gd name="T0" fmla="*/ 2147483646 w 912"/>
                  <a:gd name="T1" fmla="*/ 2147483646 h 456"/>
                  <a:gd name="T2" fmla="*/ 2147483646 w 912"/>
                  <a:gd name="T3" fmla="*/ 2147483646 h 456"/>
                  <a:gd name="T4" fmla="*/ 2147483646 w 912"/>
                  <a:gd name="T5" fmla="*/ 2147483646 h 456"/>
                  <a:gd name="T6" fmla="*/ 2147483646 w 912"/>
                  <a:gd name="T7" fmla="*/ 2147483646 h 456"/>
                  <a:gd name="T8" fmla="*/ 2147483646 w 912"/>
                  <a:gd name="T9" fmla="*/ 2147483646 h 456"/>
                  <a:gd name="T10" fmla="*/ 2147483646 w 912"/>
                  <a:gd name="T11" fmla="*/ 2147483646 h 456"/>
                  <a:gd name="T12" fmla="*/ 2147483646 w 912"/>
                  <a:gd name="T13" fmla="*/ 2147483646 h 456"/>
                  <a:gd name="T14" fmla="*/ 2147483646 w 912"/>
                  <a:gd name="T15" fmla="*/ 2147483646 h 456"/>
                  <a:gd name="T16" fmla="*/ 2147483646 w 912"/>
                  <a:gd name="T17" fmla="*/ 2147483646 h 456"/>
                  <a:gd name="T18" fmla="*/ 2147483646 w 912"/>
                  <a:gd name="T19" fmla="*/ 2147483646 h 456"/>
                  <a:gd name="T20" fmla="*/ 2147483646 w 912"/>
                  <a:gd name="T21" fmla="*/ 2147483646 h 456"/>
                  <a:gd name="T22" fmla="*/ 2147483646 w 912"/>
                  <a:gd name="T23" fmla="*/ 2147483646 h 456"/>
                  <a:gd name="T24" fmla="*/ 2147483646 w 912"/>
                  <a:gd name="T25" fmla="*/ 2147483646 h 456"/>
                  <a:gd name="T26" fmla="*/ 2147483646 w 912"/>
                  <a:gd name="T27" fmla="*/ 2147483646 h 456"/>
                  <a:gd name="T28" fmla="*/ 2147483646 w 912"/>
                  <a:gd name="T29" fmla="*/ 2147483646 h 456"/>
                  <a:gd name="T30" fmla="*/ 2147483646 w 912"/>
                  <a:gd name="T31" fmla="*/ 2147483646 h 456"/>
                  <a:gd name="T32" fmla="*/ 2147483646 w 912"/>
                  <a:gd name="T33" fmla="*/ 2147483646 h 456"/>
                  <a:gd name="T34" fmla="*/ 2147483646 w 912"/>
                  <a:gd name="T35" fmla="*/ 2147483646 h 456"/>
                  <a:gd name="T36" fmla="*/ 2147483646 w 912"/>
                  <a:gd name="T37" fmla="*/ 2147483646 h 456"/>
                  <a:gd name="T38" fmla="*/ 0 w 912"/>
                  <a:gd name="T39" fmla="*/ 2147483646 h 456"/>
                  <a:gd name="T40" fmla="*/ 0 w 912"/>
                  <a:gd name="T41" fmla="*/ 2147483646 h 456"/>
                  <a:gd name="T42" fmla="*/ 2147483646 w 912"/>
                  <a:gd name="T43" fmla="*/ 2147483646 h 456"/>
                  <a:gd name="T44" fmla="*/ 2147483646 w 912"/>
                  <a:gd name="T45" fmla="*/ 2147483646 h 456"/>
                  <a:gd name="T46" fmla="*/ 2147483646 w 912"/>
                  <a:gd name="T47" fmla="*/ 2147483646 h 456"/>
                  <a:gd name="T48" fmla="*/ 2147483646 w 912"/>
                  <a:gd name="T49" fmla="*/ 2147483646 h 456"/>
                  <a:gd name="T50" fmla="*/ 2147483646 w 912"/>
                  <a:gd name="T51" fmla="*/ 2147483646 h 456"/>
                  <a:gd name="T52" fmla="*/ 2147483646 w 912"/>
                  <a:gd name="T53" fmla="*/ 2147483646 h 456"/>
                  <a:gd name="T54" fmla="*/ 2147483646 w 912"/>
                  <a:gd name="T55" fmla="*/ 2147483646 h 456"/>
                  <a:gd name="T56" fmla="*/ 2147483646 w 912"/>
                  <a:gd name="T57" fmla="*/ 2147483646 h 456"/>
                  <a:gd name="T58" fmla="*/ 2147483646 w 912"/>
                  <a:gd name="T59" fmla="*/ 2147483646 h 456"/>
                  <a:gd name="T60" fmla="*/ 2147483646 w 912"/>
                  <a:gd name="T61" fmla="*/ 2147483646 h 456"/>
                  <a:gd name="T62" fmla="*/ 2147483646 w 912"/>
                  <a:gd name="T63" fmla="*/ 2147483646 h 456"/>
                  <a:gd name="T64" fmla="*/ 2147483646 w 912"/>
                  <a:gd name="T65" fmla="*/ 0 h 456"/>
                  <a:gd name="T66" fmla="*/ 2147483646 w 912"/>
                  <a:gd name="T67" fmla="*/ 2147483646 h 456"/>
                  <a:gd name="T68" fmla="*/ 2147483646 w 912"/>
                  <a:gd name="T69" fmla="*/ 2147483646 h 456"/>
                  <a:gd name="T70" fmla="*/ 2147483646 w 912"/>
                  <a:gd name="T71" fmla="*/ 2147483646 h 456"/>
                  <a:gd name="T72" fmla="*/ 2147483646 w 912"/>
                  <a:gd name="T73" fmla="*/ 2147483646 h 456"/>
                  <a:gd name="T74" fmla="*/ 2147483646 w 912"/>
                  <a:gd name="T75" fmla="*/ 2147483646 h 456"/>
                  <a:gd name="T76" fmla="*/ 2147483646 w 912"/>
                  <a:gd name="T77" fmla="*/ 2147483646 h 456"/>
                  <a:gd name="T78" fmla="*/ 2147483646 w 912"/>
                  <a:gd name="T79" fmla="*/ 2147483646 h 456"/>
                  <a:gd name="T80" fmla="*/ 2147483646 w 912"/>
                  <a:gd name="T81" fmla="*/ 2147483646 h 456"/>
                  <a:gd name="T82" fmla="*/ 2147483646 w 912"/>
                  <a:gd name="T83" fmla="*/ 2147483646 h 456"/>
                  <a:gd name="T84" fmla="*/ 2147483646 w 912"/>
                  <a:gd name="T85" fmla="*/ 2147483646 h 456"/>
                  <a:gd name="T86" fmla="*/ 2147483646 w 912"/>
                  <a:gd name="T87" fmla="*/ 2147483646 h 456"/>
                  <a:gd name="T88" fmla="*/ 2147483646 w 912"/>
                  <a:gd name="T89" fmla="*/ 2147483646 h 456"/>
                  <a:gd name="T90" fmla="*/ 2147483646 w 912"/>
                  <a:gd name="T91" fmla="*/ 2147483646 h 456"/>
                  <a:gd name="T92" fmla="*/ 2147483646 w 912"/>
                  <a:gd name="T93" fmla="*/ 2147483646 h 456"/>
                  <a:gd name="T94" fmla="*/ 2147483646 w 912"/>
                  <a:gd name="T95" fmla="*/ 2147483646 h 456"/>
                  <a:gd name="T96" fmla="*/ 2147483646 w 912"/>
                  <a:gd name="T97" fmla="*/ 214748364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12"/>
                  <a:gd name="T148" fmla="*/ 0 h 456"/>
                  <a:gd name="T149" fmla="*/ 912 w 912"/>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12" h="456">
                    <a:moveTo>
                      <a:pt x="888" y="200"/>
                    </a:moveTo>
                    <a:lnTo>
                      <a:pt x="912" y="256"/>
                    </a:lnTo>
                    <a:lnTo>
                      <a:pt x="880" y="288"/>
                    </a:lnTo>
                    <a:lnTo>
                      <a:pt x="776" y="312"/>
                    </a:lnTo>
                    <a:lnTo>
                      <a:pt x="672" y="288"/>
                    </a:lnTo>
                    <a:lnTo>
                      <a:pt x="616" y="280"/>
                    </a:lnTo>
                    <a:lnTo>
                      <a:pt x="592" y="296"/>
                    </a:lnTo>
                    <a:lnTo>
                      <a:pt x="568" y="296"/>
                    </a:lnTo>
                    <a:lnTo>
                      <a:pt x="544" y="336"/>
                    </a:lnTo>
                    <a:lnTo>
                      <a:pt x="496" y="344"/>
                    </a:lnTo>
                    <a:lnTo>
                      <a:pt x="488" y="392"/>
                    </a:lnTo>
                    <a:lnTo>
                      <a:pt x="448" y="432"/>
                    </a:lnTo>
                    <a:lnTo>
                      <a:pt x="376" y="448"/>
                    </a:lnTo>
                    <a:lnTo>
                      <a:pt x="328" y="456"/>
                    </a:lnTo>
                    <a:lnTo>
                      <a:pt x="312" y="408"/>
                    </a:lnTo>
                    <a:lnTo>
                      <a:pt x="240" y="424"/>
                    </a:lnTo>
                    <a:lnTo>
                      <a:pt x="152" y="408"/>
                    </a:lnTo>
                    <a:lnTo>
                      <a:pt x="120" y="376"/>
                    </a:lnTo>
                    <a:lnTo>
                      <a:pt x="64" y="408"/>
                    </a:lnTo>
                    <a:lnTo>
                      <a:pt x="0" y="408"/>
                    </a:lnTo>
                    <a:lnTo>
                      <a:pt x="0" y="368"/>
                    </a:lnTo>
                    <a:lnTo>
                      <a:pt x="32" y="360"/>
                    </a:lnTo>
                    <a:lnTo>
                      <a:pt x="24" y="312"/>
                    </a:lnTo>
                    <a:lnTo>
                      <a:pt x="72" y="264"/>
                    </a:lnTo>
                    <a:lnTo>
                      <a:pt x="136" y="296"/>
                    </a:lnTo>
                    <a:lnTo>
                      <a:pt x="144" y="232"/>
                    </a:lnTo>
                    <a:lnTo>
                      <a:pt x="168" y="192"/>
                    </a:lnTo>
                    <a:lnTo>
                      <a:pt x="96" y="184"/>
                    </a:lnTo>
                    <a:lnTo>
                      <a:pt x="104" y="152"/>
                    </a:lnTo>
                    <a:lnTo>
                      <a:pt x="256" y="128"/>
                    </a:lnTo>
                    <a:lnTo>
                      <a:pt x="296" y="56"/>
                    </a:lnTo>
                    <a:lnTo>
                      <a:pt x="248" y="40"/>
                    </a:lnTo>
                    <a:lnTo>
                      <a:pt x="248" y="0"/>
                    </a:lnTo>
                    <a:lnTo>
                      <a:pt x="296" y="24"/>
                    </a:lnTo>
                    <a:lnTo>
                      <a:pt x="352" y="16"/>
                    </a:lnTo>
                    <a:lnTo>
                      <a:pt x="384" y="64"/>
                    </a:lnTo>
                    <a:lnTo>
                      <a:pt x="432" y="40"/>
                    </a:lnTo>
                    <a:lnTo>
                      <a:pt x="504" y="72"/>
                    </a:lnTo>
                    <a:lnTo>
                      <a:pt x="520" y="64"/>
                    </a:lnTo>
                    <a:lnTo>
                      <a:pt x="552" y="88"/>
                    </a:lnTo>
                    <a:lnTo>
                      <a:pt x="584" y="56"/>
                    </a:lnTo>
                    <a:lnTo>
                      <a:pt x="608" y="72"/>
                    </a:lnTo>
                    <a:lnTo>
                      <a:pt x="632" y="40"/>
                    </a:lnTo>
                    <a:lnTo>
                      <a:pt x="704" y="48"/>
                    </a:lnTo>
                    <a:lnTo>
                      <a:pt x="752" y="88"/>
                    </a:lnTo>
                    <a:lnTo>
                      <a:pt x="744" y="112"/>
                    </a:lnTo>
                    <a:lnTo>
                      <a:pt x="816" y="152"/>
                    </a:lnTo>
                    <a:lnTo>
                      <a:pt x="848" y="208"/>
                    </a:lnTo>
                    <a:lnTo>
                      <a:pt x="888" y="200"/>
                    </a:lnTo>
                    <a:close/>
                  </a:path>
                </a:pathLst>
              </a:custGeom>
              <a:solidFill>
                <a:srgbClr val="8394E8"/>
              </a:solidFill>
              <a:ln w="9525">
                <a:solidFill>
                  <a:schemeClr val="bg1"/>
                </a:solidFill>
                <a:round/>
                <a:headEnd/>
                <a:tailEnd/>
              </a:ln>
            </p:spPr>
            <p:txBody>
              <a:bodyPr/>
              <a:lstStyle/>
              <a:p>
                <a:endParaRPr lang="en-US" sz="1050"/>
              </a:p>
            </p:txBody>
          </p:sp>
          <p:sp>
            <p:nvSpPr>
              <p:cNvPr id="104" name="Freeform 12"/>
              <p:cNvSpPr>
                <a:spLocks/>
              </p:cNvSpPr>
              <p:nvPr/>
            </p:nvSpPr>
            <p:spPr bwMode="auto">
              <a:xfrm>
                <a:off x="2781821" y="2679838"/>
                <a:ext cx="632419" cy="680329"/>
              </a:xfrm>
              <a:custGeom>
                <a:avLst/>
                <a:gdLst>
                  <a:gd name="T0" fmla="*/ 2147483646 w 528"/>
                  <a:gd name="T1" fmla="*/ 2147483646 h 568"/>
                  <a:gd name="T2" fmla="*/ 2147483646 w 528"/>
                  <a:gd name="T3" fmla="*/ 2147483646 h 568"/>
                  <a:gd name="T4" fmla="*/ 2147483646 w 528"/>
                  <a:gd name="T5" fmla="*/ 2147483646 h 568"/>
                  <a:gd name="T6" fmla="*/ 2147483646 w 528"/>
                  <a:gd name="T7" fmla="*/ 2147483646 h 568"/>
                  <a:gd name="T8" fmla="*/ 2147483646 w 528"/>
                  <a:gd name="T9" fmla="*/ 2147483646 h 568"/>
                  <a:gd name="T10" fmla="*/ 2147483646 w 528"/>
                  <a:gd name="T11" fmla="*/ 2147483646 h 568"/>
                  <a:gd name="T12" fmla="*/ 2147483646 w 528"/>
                  <a:gd name="T13" fmla="*/ 2147483646 h 568"/>
                  <a:gd name="T14" fmla="*/ 2147483646 w 528"/>
                  <a:gd name="T15" fmla="*/ 2147483646 h 568"/>
                  <a:gd name="T16" fmla="*/ 2147483646 w 528"/>
                  <a:gd name="T17" fmla="*/ 2147483646 h 568"/>
                  <a:gd name="T18" fmla="*/ 2147483646 w 528"/>
                  <a:gd name="T19" fmla="*/ 2147483646 h 568"/>
                  <a:gd name="T20" fmla="*/ 2147483646 w 528"/>
                  <a:gd name="T21" fmla="*/ 2147483646 h 568"/>
                  <a:gd name="T22" fmla="*/ 2147483646 w 528"/>
                  <a:gd name="T23" fmla="*/ 2147483646 h 568"/>
                  <a:gd name="T24" fmla="*/ 2147483646 w 528"/>
                  <a:gd name="T25" fmla="*/ 2147483646 h 568"/>
                  <a:gd name="T26" fmla="*/ 2147483646 w 528"/>
                  <a:gd name="T27" fmla="*/ 2147483646 h 568"/>
                  <a:gd name="T28" fmla="*/ 2147483646 w 528"/>
                  <a:gd name="T29" fmla="*/ 2147483646 h 568"/>
                  <a:gd name="T30" fmla="*/ 2147483646 w 528"/>
                  <a:gd name="T31" fmla="*/ 2147483646 h 568"/>
                  <a:gd name="T32" fmla="*/ 2147483646 w 528"/>
                  <a:gd name="T33" fmla="*/ 2147483646 h 568"/>
                  <a:gd name="T34" fmla="*/ 2147483646 w 528"/>
                  <a:gd name="T35" fmla="*/ 2147483646 h 568"/>
                  <a:gd name="T36" fmla="*/ 2147483646 w 528"/>
                  <a:gd name="T37" fmla="*/ 2147483646 h 568"/>
                  <a:gd name="T38" fmla="*/ 2147483646 w 528"/>
                  <a:gd name="T39" fmla="*/ 2147483646 h 568"/>
                  <a:gd name="T40" fmla="*/ 2147483646 w 528"/>
                  <a:gd name="T41" fmla="*/ 2147483646 h 568"/>
                  <a:gd name="T42" fmla="*/ 2147483646 w 528"/>
                  <a:gd name="T43" fmla="*/ 2147483646 h 568"/>
                  <a:gd name="T44" fmla="*/ 2147483646 w 528"/>
                  <a:gd name="T45" fmla="*/ 2147483646 h 568"/>
                  <a:gd name="T46" fmla="*/ 0 w 528"/>
                  <a:gd name="T47" fmla="*/ 2147483646 h 568"/>
                  <a:gd name="T48" fmla="*/ 2147483646 w 528"/>
                  <a:gd name="T49" fmla="*/ 2147483646 h 568"/>
                  <a:gd name="T50" fmla="*/ 2147483646 w 528"/>
                  <a:gd name="T51" fmla="*/ 2147483646 h 568"/>
                  <a:gd name="T52" fmla="*/ 2147483646 w 528"/>
                  <a:gd name="T53" fmla="*/ 2147483646 h 568"/>
                  <a:gd name="T54" fmla="*/ 2147483646 w 528"/>
                  <a:gd name="T55" fmla="*/ 2147483646 h 568"/>
                  <a:gd name="T56" fmla="*/ 2147483646 w 528"/>
                  <a:gd name="T57" fmla="*/ 2147483646 h 568"/>
                  <a:gd name="T58" fmla="*/ 2147483646 w 528"/>
                  <a:gd name="T59" fmla="*/ 2147483646 h 568"/>
                  <a:gd name="T60" fmla="*/ 2147483646 w 528"/>
                  <a:gd name="T61" fmla="*/ 2147483646 h 568"/>
                  <a:gd name="T62" fmla="*/ 2147483646 w 528"/>
                  <a:gd name="T63" fmla="*/ 2147483646 h 568"/>
                  <a:gd name="T64" fmla="*/ 2147483646 w 528"/>
                  <a:gd name="T65" fmla="*/ 0 h 568"/>
                  <a:gd name="T66" fmla="*/ 2147483646 w 528"/>
                  <a:gd name="T67" fmla="*/ 2147483646 h 568"/>
                  <a:gd name="T68" fmla="*/ 2147483646 w 528"/>
                  <a:gd name="T69" fmla="*/ 2147483646 h 568"/>
                  <a:gd name="T70" fmla="*/ 2147483646 w 528"/>
                  <a:gd name="T71" fmla="*/ 2147483646 h 5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8"/>
                  <a:gd name="T109" fmla="*/ 0 h 568"/>
                  <a:gd name="T110" fmla="*/ 528 w 528"/>
                  <a:gd name="T111" fmla="*/ 568 h 5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8" h="568">
                    <a:moveTo>
                      <a:pt x="472" y="8"/>
                    </a:moveTo>
                    <a:lnTo>
                      <a:pt x="512" y="32"/>
                    </a:lnTo>
                    <a:lnTo>
                      <a:pt x="528" y="72"/>
                    </a:lnTo>
                    <a:lnTo>
                      <a:pt x="520" y="104"/>
                    </a:lnTo>
                    <a:lnTo>
                      <a:pt x="480" y="104"/>
                    </a:lnTo>
                    <a:lnTo>
                      <a:pt x="504" y="152"/>
                    </a:lnTo>
                    <a:lnTo>
                      <a:pt x="480" y="200"/>
                    </a:lnTo>
                    <a:lnTo>
                      <a:pt x="504" y="240"/>
                    </a:lnTo>
                    <a:lnTo>
                      <a:pt x="488" y="304"/>
                    </a:lnTo>
                    <a:lnTo>
                      <a:pt x="408" y="336"/>
                    </a:lnTo>
                    <a:lnTo>
                      <a:pt x="376" y="384"/>
                    </a:lnTo>
                    <a:lnTo>
                      <a:pt x="376" y="440"/>
                    </a:lnTo>
                    <a:lnTo>
                      <a:pt x="328" y="424"/>
                    </a:lnTo>
                    <a:lnTo>
                      <a:pt x="264" y="472"/>
                    </a:lnTo>
                    <a:lnTo>
                      <a:pt x="272" y="528"/>
                    </a:lnTo>
                    <a:lnTo>
                      <a:pt x="224" y="568"/>
                    </a:lnTo>
                    <a:lnTo>
                      <a:pt x="168" y="560"/>
                    </a:lnTo>
                    <a:lnTo>
                      <a:pt x="112" y="544"/>
                    </a:lnTo>
                    <a:lnTo>
                      <a:pt x="120" y="464"/>
                    </a:lnTo>
                    <a:lnTo>
                      <a:pt x="88" y="432"/>
                    </a:lnTo>
                    <a:lnTo>
                      <a:pt x="104" y="360"/>
                    </a:lnTo>
                    <a:lnTo>
                      <a:pt x="72" y="328"/>
                    </a:lnTo>
                    <a:lnTo>
                      <a:pt x="40" y="280"/>
                    </a:lnTo>
                    <a:lnTo>
                      <a:pt x="0" y="280"/>
                    </a:lnTo>
                    <a:lnTo>
                      <a:pt x="8" y="224"/>
                    </a:lnTo>
                    <a:lnTo>
                      <a:pt x="56" y="192"/>
                    </a:lnTo>
                    <a:lnTo>
                      <a:pt x="40" y="152"/>
                    </a:lnTo>
                    <a:lnTo>
                      <a:pt x="80" y="112"/>
                    </a:lnTo>
                    <a:lnTo>
                      <a:pt x="88" y="64"/>
                    </a:lnTo>
                    <a:lnTo>
                      <a:pt x="136" y="56"/>
                    </a:lnTo>
                    <a:lnTo>
                      <a:pt x="160" y="16"/>
                    </a:lnTo>
                    <a:lnTo>
                      <a:pt x="184" y="16"/>
                    </a:lnTo>
                    <a:lnTo>
                      <a:pt x="208" y="0"/>
                    </a:lnTo>
                    <a:lnTo>
                      <a:pt x="272" y="8"/>
                    </a:lnTo>
                    <a:lnTo>
                      <a:pt x="368" y="32"/>
                    </a:lnTo>
                    <a:lnTo>
                      <a:pt x="472" y="8"/>
                    </a:lnTo>
                    <a:close/>
                  </a:path>
                </a:pathLst>
              </a:custGeom>
              <a:solidFill>
                <a:srgbClr val="8394E8"/>
              </a:solidFill>
              <a:ln w="9525">
                <a:solidFill>
                  <a:schemeClr val="bg1"/>
                </a:solidFill>
                <a:round/>
                <a:headEnd/>
                <a:tailEnd/>
              </a:ln>
            </p:spPr>
            <p:txBody>
              <a:bodyPr/>
              <a:lstStyle/>
              <a:p>
                <a:endParaRPr lang="en-US" sz="1050"/>
              </a:p>
            </p:txBody>
          </p:sp>
          <p:sp>
            <p:nvSpPr>
              <p:cNvPr id="105" name="Freeform 13"/>
              <p:cNvSpPr>
                <a:spLocks/>
              </p:cNvSpPr>
              <p:nvPr/>
            </p:nvSpPr>
            <p:spPr bwMode="auto">
              <a:xfrm>
                <a:off x="2778653" y="3036711"/>
                <a:ext cx="766567" cy="833642"/>
              </a:xfrm>
              <a:custGeom>
                <a:avLst/>
                <a:gdLst>
                  <a:gd name="T0" fmla="*/ 2147483646 w 640"/>
                  <a:gd name="T1" fmla="*/ 2147483646 h 696"/>
                  <a:gd name="T2" fmla="*/ 2147483646 w 640"/>
                  <a:gd name="T3" fmla="*/ 2147483646 h 696"/>
                  <a:gd name="T4" fmla="*/ 2147483646 w 640"/>
                  <a:gd name="T5" fmla="*/ 2147483646 h 696"/>
                  <a:gd name="T6" fmla="*/ 2147483646 w 640"/>
                  <a:gd name="T7" fmla="*/ 2147483646 h 696"/>
                  <a:gd name="T8" fmla="*/ 2147483646 w 640"/>
                  <a:gd name="T9" fmla="*/ 2147483646 h 696"/>
                  <a:gd name="T10" fmla="*/ 2147483646 w 640"/>
                  <a:gd name="T11" fmla="*/ 2147483646 h 696"/>
                  <a:gd name="T12" fmla="*/ 2147483646 w 640"/>
                  <a:gd name="T13" fmla="*/ 2147483646 h 696"/>
                  <a:gd name="T14" fmla="*/ 2147483646 w 640"/>
                  <a:gd name="T15" fmla="*/ 2147483646 h 696"/>
                  <a:gd name="T16" fmla="*/ 2147483646 w 640"/>
                  <a:gd name="T17" fmla="*/ 2147483646 h 696"/>
                  <a:gd name="T18" fmla="*/ 2147483646 w 640"/>
                  <a:gd name="T19" fmla="*/ 2147483646 h 696"/>
                  <a:gd name="T20" fmla="*/ 2147483646 w 640"/>
                  <a:gd name="T21" fmla="*/ 2147483646 h 696"/>
                  <a:gd name="T22" fmla="*/ 2147483646 w 640"/>
                  <a:gd name="T23" fmla="*/ 2147483646 h 696"/>
                  <a:gd name="T24" fmla="*/ 2147483646 w 640"/>
                  <a:gd name="T25" fmla="*/ 2147483646 h 696"/>
                  <a:gd name="T26" fmla="*/ 2147483646 w 640"/>
                  <a:gd name="T27" fmla="*/ 2147483646 h 696"/>
                  <a:gd name="T28" fmla="*/ 2147483646 w 640"/>
                  <a:gd name="T29" fmla="*/ 0 h 696"/>
                  <a:gd name="T30" fmla="*/ 2147483646 w 640"/>
                  <a:gd name="T31" fmla="*/ 2147483646 h 696"/>
                  <a:gd name="T32" fmla="*/ 2147483646 w 640"/>
                  <a:gd name="T33" fmla="*/ 2147483646 h 696"/>
                  <a:gd name="T34" fmla="*/ 2147483646 w 640"/>
                  <a:gd name="T35" fmla="*/ 2147483646 h 696"/>
                  <a:gd name="T36" fmla="*/ 2147483646 w 640"/>
                  <a:gd name="T37" fmla="*/ 2147483646 h 696"/>
                  <a:gd name="T38" fmla="*/ 2147483646 w 640"/>
                  <a:gd name="T39" fmla="*/ 2147483646 h 696"/>
                  <a:gd name="T40" fmla="*/ 2147483646 w 640"/>
                  <a:gd name="T41" fmla="*/ 2147483646 h 696"/>
                  <a:gd name="T42" fmla="*/ 2147483646 w 640"/>
                  <a:gd name="T43" fmla="*/ 2147483646 h 696"/>
                  <a:gd name="T44" fmla="*/ 2147483646 w 640"/>
                  <a:gd name="T45" fmla="*/ 2147483646 h 696"/>
                  <a:gd name="T46" fmla="*/ 2147483646 w 640"/>
                  <a:gd name="T47" fmla="*/ 2147483646 h 696"/>
                  <a:gd name="T48" fmla="*/ 2147483646 w 640"/>
                  <a:gd name="T49" fmla="*/ 2147483646 h 696"/>
                  <a:gd name="T50" fmla="*/ 2147483646 w 640"/>
                  <a:gd name="T51" fmla="*/ 2147483646 h 696"/>
                  <a:gd name="T52" fmla="*/ 2147483646 w 640"/>
                  <a:gd name="T53" fmla="*/ 2147483646 h 696"/>
                  <a:gd name="T54" fmla="*/ 2147483646 w 640"/>
                  <a:gd name="T55" fmla="*/ 2147483646 h 696"/>
                  <a:gd name="T56" fmla="*/ 2147483646 w 640"/>
                  <a:gd name="T57" fmla="*/ 2147483646 h 696"/>
                  <a:gd name="T58" fmla="*/ 2147483646 w 640"/>
                  <a:gd name="T59" fmla="*/ 2147483646 h 696"/>
                  <a:gd name="T60" fmla="*/ 2147483646 w 640"/>
                  <a:gd name="T61" fmla="*/ 2147483646 h 696"/>
                  <a:gd name="T62" fmla="*/ 2147483646 w 640"/>
                  <a:gd name="T63" fmla="*/ 2147483646 h 696"/>
                  <a:gd name="T64" fmla="*/ 0 w 640"/>
                  <a:gd name="T65" fmla="*/ 2147483646 h 696"/>
                  <a:gd name="T66" fmla="*/ 2147483646 w 640"/>
                  <a:gd name="T67" fmla="*/ 2147483646 h 696"/>
                  <a:gd name="T68" fmla="*/ 2147483646 w 640"/>
                  <a:gd name="T69" fmla="*/ 2147483646 h 696"/>
                  <a:gd name="T70" fmla="*/ 2147483646 w 640"/>
                  <a:gd name="T71" fmla="*/ 2147483646 h 696"/>
                  <a:gd name="T72" fmla="*/ 2147483646 w 640"/>
                  <a:gd name="T73" fmla="*/ 2147483646 h 696"/>
                  <a:gd name="T74" fmla="*/ 2147483646 w 640"/>
                  <a:gd name="T75" fmla="*/ 2147483646 h 696"/>
                  <a:gd name="T76" fmla="*/ 2147483646 w 640"/>
                  <a:gd name="T77" fmla="*/ 2147483646 h 696"/>
                  <a:gd name="T78" fmla="*/ 2147483646 w 640"/>
                  <a:gd name="T79" fmla="*/ 2147483646 h 696"/>
                  <a:gd name="T80" fmla="*/ 2147483646 w 640"/>
                  <a:gd name="T81" fmla="*/ 2147483646 h 696"/>
                  <a:gd name="T82" fmla="*/ 2147483646 w 640"/>
                  <a:gd name="T83" fmla="*/ 2147483646 h 696"/>
                  <a:gd name="T84" fmla="*/ 2147483646 w 640"/>
                  <a:gd name="T85" fmla="*/ 2147483646 h 696"/>
                  <a:gd name="T86" fmla="*/ 2147483646 w 640"/>
                  <a:gd name="T87" fmla="*/ 2147483646 h 696"/>
                  <a:gd name="T88" fmla="*/ 2147483646 w 640"/>
                  <a:gd name="T89" fmla="*/ 2147483646 h 696"/>
                  <a:gd name="T90" fmla="*/ 2147483646 w 640"/>
                  <a:gd name="T91" fmla="*/ 2147483646 h 696"/>
                  <a:gd name="T92" fmla="*/ 2147483646 w 640"/>
                  <a:gd name="T93" fmla="*/ 2147483646 h 696"/>
                  <a:gd name="T94" fmla="*/ 2147483646 w 640"/>
                  <a:gd name="T95" fmla="*/ 2147483646 h 696"/>
                  <a:gd name="T96" fmla="*/ 2147483646 w 640"/>
                  <a:gd name="T97" fmla="*/ 2147483646 h 696"/>
                  <a:gd name="T98" fmla="*/ 2147483646 w 640"/>
                  <a:gd name="T99" fmla="*/ 2147483646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0"/>
                  <a:gd name="T151" fmla="*/ 0 h 696"/>
                  <a:gd name="T152" fmla="*/ 640 w 64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0" h="696">
                    <a:moveTo>
                      <a:pt x="552" y="640"/>
                    </a:moveTo>
                    <a:lnTo>
                      <a:pt x="472" y="608"/>
                    </a:lnTo>
                    <a:lnTo>
                      <a:pt x="432" y="528"/>
                    </a:lnTo>
                    <a:lnTo>
                      <a:pt x="464" y="520"/>
                    </a:lnTo>
                    <a:lnTo>
                      <a:pt x="464" y="472"/>
                    </a:lnTo>
                    <a:lnTo>
                      <a:pt x="544" y="400"/>
                    </a:lnTo>
                    <a:lnTo>
                      <a:pt x="544" y="368"/>
                    </a:lnTo>
                    <a:lnTo>
                      <a:pt x="592" y="352"/>
                    </a:lnTo>
                    <a:lnTo>
                      <a:pt x="608" y="304"/>
                    </a:lnTo>
                    <a:lnTo>
                      <a:pt x="640" y="288"/>
                    </a:lnTo>
                    <a:lnTo>
                      <a:pt x="600" y="192"/>
                    </a:lnTo>
                    <a:lnTo>
                      <a:pt x="632" y="128"/>
                    </a:lnTo>
                    <a:lnTo>
                      <a:pt x="624" y="80"/>
                    </a:lnTo>
                    <a:lnTo>
                      <a:pt x="608" y="32"/>
                    </a:lnTo>
                    <a:lnTo>
                      <a:pt x="568" y="0"/>
                    </a:lnTo>
                    <a:lnTo>
                      <a:pt x="528" y="24"/>
                    </a:lnTo>
                    <a:lnTo>
                      <a:pt x="488" y="8"/>
                    </a:lnTo>
                    <a:lnTo>
                      <a:pt x="408" y="40"/>
                    </a:lnTo>
                    <a:lnTo>
                      <a:pt x="376" y="88"/>
                    </a:lnTo>
                    <a:lnTo>
                      <a:pt x="376" y="144"/>
                    </a:lnTo>
                    <a:lnTo>
                      <a:pt x="328" y="128"/>
                    </a:lnTo>
                    <a:lnTo>
                      <a:pt x="264" y="176"/>
                    </a:lnTo>
                    <a:lnTo>
                      <a:pt x="272" y="232"/>
                    </a:lnTo>
                    <a:lnTo>
                      <a:pt x="224" y="272"/>
                    </a:lnTo>
                    <a:lnTo>
                      <a:pt x="168" y="264"/>
                    </a:lnTo>
                    <a:lnTo>
                      <a:pt x="112" y="248"/>
                    </a:lnTo>
                    <a:lnTo>
                      <a:pt x="80" y="264"/>
                    </a:lnTo>
                    <a:lnTo>
                      <a:pt x="88" y="288"/>
                    </a:lnTo>
                    <a:lnTo>
                      <a:pt x="56" y="288"/>
                    </a:lnTo>
                    <a:lnTo>
                      <a:pt x="88" y="328"/>
                    </a:lnTo>
                    <a:lnTo>
                      <a:pt x="56" y="344"/>
                    </a:lnTo>
                    <a:lnTo>
                      <a:pt x="40" y="376"/>
                    </a:lnTo>
                    <a:lnTo>
                      <a:pt x="0" y="384"/>
                    </a:lnTo>
                    <a:lnTo>
                      <a:pt x="24" y="448"/>
                    </a:lnTo>
                    <a:lnTo>
                      <a:pt x="72" y="424"/>
                    </a:lnTo>
                    <a:lnTo>
                      <a:pt x="72" y="464"/>
                    </a:lnTo>
                    <a:lnTo>
                      <a:pt x="40" y="488"/>
                    </a:lnTo>
                    <a:lnTo>
                      <a:pt x="56" y="536"/>
                    </a:lnTo>
                    <a:lnTo>
                      <a:pt x="136" y="592"/>
                    </a:lnTo>
                    <a:lnTo>
                      <a:pt x="192" y="584"/>
                    </a:lnTo>
                    <a:lnTo>
                      <a:pt x="256" y="592"/>
                    </a:lnTo>
                    <a:lnTo>
                      <a:pt x="336" y="560"/>
                    </a:lnTo>
                    <a:lnTo>
                      <a:pt x="344" y="616"/>
                    </a:lnTo>
                    <a:lnTo>
                      <a:pt x="328" y="672"/>
                    </a:lnTo>
                    <a:lnTo>
                      <a:pt x="360" y="696"/>
                    </a:lnTo>
                    <a:lnTo>
                      <a:pt x="408" y="680"/>
                    </a:lnTo>
                    <a:lnTo>
                      <a:pt x="464" y="696"/>
                    </a:lnTo>
                    <a:lnTo>
                      <a:pt x="504" y="672"/>
                    </a:lnTo>
                    <a:lnTo>
                      <a:pt x="544" y="664"/>
                    </a:lnTo>
                    <a:lnTo>
                      <a:pt x="552" y="640"/>
                    </a:lnTo>
                    <a:close/>
                  </a:path>
                </a:pathLst>
              </a:custGeom>
              <a:solidFill>
                <a:srgbClr val="2B651B"/>
              </a:solidFill>
              <a:ln w="9525">
                <a:solidFill>
                  <a:schemeClr val="bg1"/>
                </a:solidFill>
                <a:round/>
                <a:headEnd/>
                <a:tailEnd/>
              </a:ln>
            </p:spPr>
            <p:txBody>
              <a:bodyPr/>
              <a:lstStyle/>
              <a:p>
                <a:endParaRPr lang="en-US" sz="1050"/>
              </a:p>
            </p:txBody>
          </p:sp>
          <p:sp>
            <p:nvSpPr>
              <p:cNvPr id="106" name="Freeform 14"/>
              <p:cNvSpPr>
                <a:spLocks/>
              </p:cNvSpPr>
              <p:nvPr/>
            </p:nvSpPr>
            <p:spPr bwMode="auto">
              <a:xfrm>
                <a:off x="2047359" y="2792742"/>
                <a:ext cx="709074" cy="440776"/>
              </a:xfrm>
              <a:custGeom>
                <a:avLst/>
                <a:gdLst>
                  <a:gd name="T0" fmla="*/ 2147483646 w 592"/>
                  <a:gd name="T1" fmla="*/ 2147483646 h 368"/>
                  <a:gd name="T2" fmla="*/ 2147483646 w 592"/>
                  <a:gd name="T3" fmla="*/ 0 h 368"/>
                  <a:gd name="T4" fmla="*/ 2147483646 w 592"/>
                  <a:gd name="T5" fmla="*/ 2147483646 h 368"/>
                  <a:gd name="T6" fmla="*/ 2147483646 w 592"/>
                  <a:gd name="T7" fmla="*/ 2147483646 h 368"/>
                  <a:gd name="T8" fmla="*/ 2147483646 w 592"/>
                  <a:gd name="T9" fmla="*/ 2147483646 h 368"/>
                  <a:gd name="T10" fmla="*/ 2147483646 w 592"/>
                  <a:gd name="T11" fmla="*/ 2147483646 h 368"/>
                  <a:gd name="T12" fmla="*/ 2147483646 w 592"/>
                  <a:gd name="T13" fmla="*/ 2147483646 h 368"/>
                  <a:gd name="T14" fmla="*/ 2147483646 w 592"/>
                  <a:gd name="T15" fmla="*/ 2147483646 h 368"/>
                  <a:gd name="T16" fmla="*/ 2147483646 w 592"/>
                  <a:gd name="T17" fmla="*/ 2147483646 h 368"/>
                  <a:gd name="T18" fmla="*/ 2147483646 w 592"/>
                  <a:gd name="T19" fmla="*/ 2147483646 h 368"/>
                  <a:gd name="T20" fmla="*/ 2147483646 w 592"/>
                  <a:gd name="T21" fmla="*/ 2147483646 h 368"/>
                  <a:gd name="T22" fmla="*/ 2147483646 w 592"/>
                  <a:gd name="T23" fmla="*/ 2147483646 h 368"/>
                  <a:gd name="T24" fmla="*/ 2147483646 w 592"/>
                  <a:gd name="T25" fmla="*/ 2147483646 h 368"/>
                  <a:gd name="T26" fmla="*/ 2147483646 w 592"/>
                  <a:gd name="T27" fmla="*/ 2147483646 h 368"/>
                  <a:gd name="T28" fmla="*/ 2147483646 w 592"/>
                  <a:gd name="T29" fmla="*/ 2147483646 h 368"/>
                  <a:gd name="T30" fmla="*/ 2147483646 w 592"/>
                  <a:gd name="T31" fmla="*/ 2147483646 h 368"/>
                  <a:gd name="T32" fmla="*/ 2147483646 w 592"/>
                  <a:gd name="T33" fmla="*/ 2147483646 h 368"/>
                  <a:gd name="T34" fmla="*/ 2147483646 w 592"/>
                  <a:gd name="T35" fmla="*/ 2147483646 h 368"/>
                  <a:gd name="T36" fmla="*/ 2147483646 w 592"/>
                  <a:gd name="T37" fmla="*/ 2147483646 h 368"/>
                  <a:gd name="T38" fmla="*/ 2147483646 w 592"/>
                  <a:gd name="T39" fmla="*/ 2147483646 h 368"/>
                  <a:gd name="T40" fmla="*/ 2147483646 w 592"/>
                  <a:gd name="T41" fmla="*/ 2147483646 h 368"/>
                  <a:gd name="T42" fmla="*/ 2147483646 w 592"/>
                  <a:gd name="T43" fmla="*/ 2147483646 h 368"/>
                  <a:gd name="T44" fmla="*/ 2147483646 w 592"/>
                  <a:gd name="T45" fmla="*/ 2147483646 h 368"/>
                  <a:gd name="T46" fmla="*/ 2147483646 w 592"/>
                  <a:gd name="T47" fmla="*/ 2147483646 h 368"/>
                  <a:gd name="T48" fmla="*/ 0 w 592"/>
                  <a:gd name="T49" fmla="*/ 2147483646 h 368"/>
                  <a:gd name="T50" fmla="*/ 2147483646 w 592"/>
                  <a:gd name="T51" fmla="*/ 2147483646 h 368"/>
                  <a:gd name="T52" fmla="*/ 2147483646 w 592"/>
                  <a:gd name="T53" fmla="*/ 2147483646 h 368"/>
                  <a:gd name="T54" fmla="*/ 2147483646 w 592"/>
                  <a:gd name="T55" fmla="*/ 2147483646 h 368"/>
                  <a:gd name="T56" fmla="*/ 2147483646 w 592"/>
                  <a:gd name="T57" fmla="*/ 2147483646 h 368"/>
                  <a:gd name="T58" fmla="*/ 2147483646 w 592"/>
                  <a:gd name="T59" fmla="*/ 2147483646 h 368"/>
                  <a:gd name="T60" fmla="*/ 2147483646 w 592"/>
                  <a:gd name="T61" fmla="*/ 2147483646 h 368"/>
                  <a:gd name="T62" fmla="*/ 2147483646 w 592"/>
                  <a:gd name="T63" fmla="*/ 2147483646 h 368"/>
                  <a:gd name="T64" fmla="*/ 2147483646 w 592"/>
                  <a:gd name="T65" fmla="*/ 2147483646 h 368"/>
                  <a:gd name="T66" fmla="*/ 2147483646 w 592"/>
                  <a:gd name="T67" fmla="*/ 2147483646 h 368"/>
                  <a:gd name="T68" fmla="*/ 2147483646 w 592"/>
                  <a:gd name="T69" fmla="*/ 2147483646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2"/>
                  <a:gd name="T106" fmla="*/ 0 h 368"/>
                  <a:gd name="T107" fmla="*/ 592 w 592"/>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2" h="368">
                    <a:moveTo>
                      <a:pt x="280" y="32"/>
                    </a:moveTo>
                    <a:lnTo>
                      <a:pt x="336" y="0"/>
                    </a:lnTo>
                    <a:lnTo>
                      <a:pt x="368" y="32"/>
                    </a:lnTo>
                    <a:lnTo>
                      <a:pt x="456" y="48"/>
                    </a:lnTo>
                    <a:lnTo>
                      <a:pt x="528" y="32"/>
                    </a:lnTo>
                    <a:lnTo>
                      <a:pt x="544" y="80"/>
                    </a:lnTo>
                    <a:lnTo>
                      <a:pt x="592" y="72"/>
                    </a:lnTo>
                    <a:lnTo>
                      <a:pt x="584" y="136"/>
                    </a:lnTo>
                    <a:lnTo>
                      <a:pt x="544" y="144"/>
                    </a:lnTo>
                    <a:lnTo>
                      <a:pt x="536" y="168"/>
                    </a:lnTo>
                    <a:lnTo>
                      <a:pt x="480" y="176"/>
                    </a:lnTo>
                    <a:lnTo>
                      <a:pt x="480" y="272"/>
                    </a:lnTo>
                    <a:lnTo>
                      <a:pt x="432" y="288"/>
                    </a:lnTo>
                    <a:lnTo>
                      <a:pt x="392" y="344"/>
                    </a:lnTo>
                    <a:lnTo>
                      <a:pt x="328" y="312"/>
                    </a:lnTo>
                    <a:lnTo>
                      <a:pt x="312" y="352"/>
                    </a:lnTo>
                    <a:lnTo>
                      <a:pt x="248" y="368"/>
                    </a:lnTo>
                    <a:lnTo>
                      <a:pt x="184" y="336"/>
                    </a:lnTo>
                    <a:lnTo>
                      <a:pt x="184" y="304"/>
                    </a:lnTo>
                    <a:lnTo>
                      <a:pt x="128" y="280"/>
                    </a:lnTo>
                    <a:lnTo>
                      <a:pt x="120" y="248"/>
                    </a:lnTo>
                    <a:lnTo>
                      <a:pt x="80" y="240"/>
                    </a:lnTo>
                    <a:lnTo>
                      <a:pt x="40" y="184"/>
                    </a:lnTo>
                    <a:lnTo>
                      <a:pt x="16" y="184"/>
                    </a:lnTo>
                    <a:lnTo>
                      <a:pt x="0" y="152"/>
                    </a:lnTo>
                    <a:lnTo>
                      <a:pt x="56" y="120"/>
                    </a:lnTo>
                    <a:lnTo>
                      <a:pt x="56" y="88"/>
                    </a:lnTo>
                    <a:lnTo>
                      <a:pt x="88" y="80"/>
                    </a:lnTo>
                    <a:lnTo>
                      <a:pt x="80" y="40"/>
                    </a:lnTo>
                    <a:lnTo>
                      <a:pt x="176" y="8"/>
                    </a:lnTo>
                    <a:lnTo>
                      <a:pt x="160" y="40"/>
                    </a:lnTo>
                    <a:lnTo>
                      <a:pt x="192" y="40"/>
                    </a:lnTo>
                    <a:lnTo>
                      <a:pt x="248" y="80"/>
                    </a:lnTo>
                    <a:lnTo>
                      <a:pt x="280" y="48"/>
                    </a:lnTo>
                    <a:lnTo>
                      <a:pt x="280" y="32"/>
                    </a:lnTo>
                    <a:close/>
                  </a:path>
                </a:pathLst>
              </a:custGeom>
              <a:solidFill>
                <a:srgbClr val="8394E8"/>
              </a:solidFill>
              <a:ln w="9525">
                <a:solidFill>
                  <a:schemeClr val="bg1"/>
                </a:solidFill>
                <a:round/>
                <a:headEnd/>
                <a:tailEnd/>
              </a:ln>
            </p:spPr>
            <p:txBody>
              <a:bodyPr/>
              <a:lstStyle/>
              <a:p>
                <a:endParaRPr lang="en-US" sz="1050"/>
              </a:p>
            </p:txBody>
          </p:sp>
          <p:sp>
            <p:nvSpPr>
              <p:cNvPr id="107" name="Freeform 15"/>
              <p:cNvSpPr>
                <a:spLocks/>
              </p:cNvSpPr>
              <p:nvPr/>
            </p:nvSpPr>
            <p:spPr bwMode="auto">
              <a:xfrm>
                <a:off x="2096576" y="2860812"/>
                <a:ext cx="833643" cy="756987"/>
              </a:xfrm>
              <a:custGeom>
                <a:avLst/>
                <a:gdLst>
                  <a:gd name="T0" fmla="*/ 2147483646 w 696"/>
                  <a:gd name="T1" fmla="*/ 2147483646 h 632"/>
                  <a:gd name="T2" fmla="*/ 2147483646 w 696"/>
                  <a:gd name="T3" fmla="*/ 2147483646 h 632"/>
                  <a:gd name="T4" fmla="*/ 2147483646 w 696"/>
                  <a:gd name="T5" fmla="*/ 2147483646 h 632"/>
                  <a:gd name="T6" fmla="*/ 2147483646 w 696"/>
                  <a:gd name="T7" fmla="*/ 2147483646 h 632"/>
                  <a:gd name="T8" fmla="*/ 2147483646 w 696"/>
                  <a:gd name="T9" fmla="*/ 2147483646 h 632"/>
                  <a:gd name="T10" fmla="*/ 2147483646 w 696"/>
                  <a:gd name="T11" fmla="*/ 2147483646 h 632"/>
                  <a:gd name="T12" fmla="*/ 2147483646 w 696"/>
                  <a:gd name="T13" fmla="*/ 2147483646 h 632"/>
                  <a:gd name="T14" fmla="*/ 2147483646 w 696"/>
                  <a:gd name="T15" fmla="*/ 2147483646 h 632"/>
                  <a:gd name="T16" fmla="*/ 2147483646 w 696"/>
                  <a:gd name="T17" fmla="*/ 2147483646 h 632"/>
                  <a:gd name="T18" fmla="*/ 2147483646 w 696"/>
                  <a:gd name="T19" fmla="*/ 2147483646 h 632"/>
                  <a:gd name="T20" fmla="*/ 2147483646 w 696"/>
                  <a:gd name="T21" fmla="*/ 2147483646 h 632"/>
                  <a:gd name="T22" fmla="*/ 2147483646 w 696"/>
                  <a:gd name="T23" fmla="*/ 2147483646 h 632"/>
                  <a:gd name="T24" fmla="*/ 2147483646 w 696"/>
                  <a:gd name="T25" fmla="*/ 2147483646 h 632"/>
                  <a:gd name="T26" fmla="*/ 2147483646 w 696"/>
                  <a:gd name="T27" fmla="*/ 2147483646 h 632"/>
                  <a:gd name="T28" fmla="*/ 2147483646 w 696"/>
                  <a:gd name="T29" fmla="*/ 0 h 632"/>
                  <a:gd name="T30" fmla="*/ 2147483646 w 696"/>
                  <a:gd name="T31" fmla="*/ 2147483646 h 632"/>
                  <a:gd name="T32" fmla="*/ 2147483646 w 696"/>
                  <a:gd name="T33" fmla="*/ 2147483646 h 632"/>
                  <a:gd name="T34" fmla="*/ 2147483646 w 696"/>
                  <a:gd name="T35" fmla="*/ 2147483646 h 632"/>
                  <a:gd name="T36" fmla="*/ 2147483646 w 696"/>
                  <a:gd name="T37" fmla="*/ 2147483646 h 632"/>
                  <a:gd name="T38" fmla="*/ 2147483646 w 696"/>
                  <a:gd name="T39" fmla="*/ 2147483646 h 632"/>
                  <a:gd name="T40" fmla="*/ 2147483646 w 696"/>
                  <a:gd name="T41" fmla="*/ 2147483646 h 632"/>
                  <a:gd name="T42" fmla="*/ 2147483646 w 696"/>
                  <a:gd name="T43" fmla="*/ 2147483646 h 632"/>
                  <a:gd name="T44" fmla="*/ 2147483646 w 696"/>
                  <a:gd name="T45" fmla="*/ 2147483646 h 632"/>
                  <a:gd name="T46" fmla="*/ 2147483646 w 696"/>
                  <a:gd name="T47" fmla="*/ 2147483646 h 632"/>
                  <a:gd name="T48" fmla="*/ 2147483646 w 696"/>
                  <a:gd name="T49" fmla="*/ 2147483646 h 632"/>
                  <a:gd name="T50" fmla="*/ 2147483646 w 696"/>
                  <a:gd name="T51" fmla="*/ 2147483646 h 632"/>
                  <a:gd name="T52" fmla="*/ 2147483646 w 696"/>
                  <a:gd name="T53" fmla="*/ 2147483646 h 632"/>
                  <a:gd name="T54" fmla="*/ 2147483646 w 696"/>
                  <a:gd name="T55" fmla="*/ 2147483646 h 632"/>
                  <a:gd name="T56" fmla="*/ 2147483646 w 696"/>
                  <a:gd name="T57" fmla="*/ 2147483646 h 632"/>
                  <a:gd name="T58" fmla="*/ 2147483646 w 696"/>
                  <a:gd name="T59" fmla="*/ 2147483646 h 632"/>
                  <a:gd name="T60" fmla="*/ 2147483646 w 696"/>
                  <a:gd name="T61" fmla="*/ 2147483646 h 632"/>
                  <a:gd name="T62" fmla="*/ 2147483646 w 696"/>
                  <a:gd name="T63" fmla="*/ 2147483646 h 632"/>
                  <a:gd name="T64" fmla="*/ 2147483646 w 696"/>
                  <a:gd name="T65" fmla="*/ 2147483646 h 632"/>
                  <a:gd name="T66" fmla="*/ 2147483646 w 696"/>
                  <a:gd name="T67" fmla="*/ 2147483646 h 632"/>
                  <a:gd name="T68" fmla="*/ 2147483646 w 696"/>
                  <a:gd name="T69" fmla="*/ 2147483646 h 632"/>
                  <a:gd name="T70" fmla="*/ 2147483646 w 696"/>
                  <a:gd name="T71" fmla="*/ 2147483646 h 632"/>
                  <a:gd name="T72" fmla="*/ 2147483646 w 696"/>
                  <a:gd name="T73" fmla="*/ 2147483646 h 632"/>
                  <a:gd name="T74" fmla="*/ 2147483646 w 696"/>
                  <a:gd name="T75" fmla="*/ 2147483646 h 632"/>
                  <a:gd name="T76" fmla="*/ 2147483646 w 696"/>
                  <a:gd name="T77" fmla="*/ 2147483646 h 632"/>
                  <a:gd name="T78" fmla="*/ 2147483646 w 696"/>
                  <a:gd name="T79" fmla="*/ 2147483646 h 632"/>
                  <a:gd name="T80" fmla="*/ 2147483646 w 696"/>
                  <a:gd name="T81" fmla="*/ 2147483646 h 632"/>
                  <a:gd name="T82" fmla="*/ 2147483646 w 696"/>
                  <a:gd name="T83" fmla="*/ 2147483646 h 632"/>
                  <a:gd name="T84" fmla="*/ 2147483646 w 696"/>
                  <a:gd name="T85" fmla="*/ 2147483646 h 632"/>
                  <a:gd name="T86" fmla="*/ 2147483646 w 696"/>
                  <a:gd name="T87" fmla="*/ 2147483646 h 632"/>
                  <a:gd name="T88" fmla="*/ 2147483646 w 696"/>
                  <a:gd name="T89" fmla="*/ 2147483646 h 632"/>
                  <a:gd name="T90" fmla="*/ 0 w 696"/>
                  <a:gd name="T91" fmla="*/ 2147483646 h 632"/>
                  <a:gd name="T92" fmla="*/ 2147483646 w 696"/>
                  <a:gd name="T93" fmla="*/ 2147483646 h 632"/>
                  <a:gd name="T94" fmla="*/ 2147483646 w 696"/>
                  <a:gd name="T95" fmla="*/ 2147483646 h 632"/>
                  <a:gd name="T96" fmla="*/ 2147483646 w 696"/>
                  <a:gd name="T97" fmla="*/ 2147483646 h 632"/>
                  <a:gd name="T98" fmla="*/ 2147483646 w 696"/>
                  <a:gd name="T99" fmla="*/ 2147483646 h 6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96"/>
                  <a:gd name="T151" fmla="*/ 0 h 632"/>
                  <a:gd name="T152" fmla="*/ 696 w 696"/>
                  <a:gd name="T153" fmla="*/ 632 h 6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96" h="632">
                    <a:moveTo>
                      <a:pt x="80" y="224"/>
                    </a:moveTo>
                    <a:lnTo>
                      <a:pt x="136" y="248"/>
                    </a:lnTo>
                    <a:lnTo>
                      <a:pt x="136" y="280"/>
                    </a:lnTo>
                    <a:lnTo>
                      <a:pt x="200" y="312"/>
                    </a:lnTo>
                    <a:lnTo>
                      <a:pt x="264" y="296"/>
                    </a:lnTo>
                    <a:lnTo>
                      <a:pt x="280" y="256"/>
                    </a:lnTo>
                    <a:lnTo>
                      <a:pt x="344" y="280"/>
                    </a:lnTo>
                    <a:lnTo>
                      <a:pt x="384" y="232"/>
                    </a:lnTo>
                    <a:lnTo>
                      <a:pt x="432" y="216"/>
                    </a:lnTo>
                    <a:lnTo>
                      <a:pt x="432" y="120"/>
                    </a:lnTo>
                    <a:lnTo>
                      <a:pt x="488" y="112"/>
                    </a:lnTo>
                    <a:lnTo>
                      <a:pt x="488" y="80"/>
                    </a:lnTo>
                    <a:lnTo>
                      <a:pt x="536" y="80"/>
                    </a:lnTo>
                    <a:lnTo>
                      <a:pt x="544" y="8"/>
                    </a:lnTo>
                    <a:lnTo>
                      <a:pt x="616" y="0"/>
                    </a:lnTo>
                    <a:lnTo>
                      <a:pt x="624" y="40"/>
                    </a:lnTo>
                    <a:lnTo>
                      <a:pt x="584" y="72"/>
                    </a:lnTo>
                    <a:lnTo>
                      <a:pt x="576" y="128"/>
                    </a:lnTo>
                    <a:lnTo>
                      <a:pt x="616" y="128"/>
                    </a:lnTo>
                    <a:lnTo>
                      <a:pt x="680" y="208"/>
                    </a:lnTo>
                    <a:lnTo>
                      <a:pt x="664" y="272"/>
                    </a:lnTo>
                    <a:lnTo>
                      <a:pt x="696" y="312"/>
                    </a:lnTo>
                    <a:lnTo>
                      <a:pt x="688" y="384"/>
                    </a:lnTo>
                    <a:lnTo>
                      <a:pt x="656" y="408"/>
                    </a:lnTo>
                    <a:lnTo>
                      <a:pt x="664" y="432"/>
                    </a:lnTo>
                    <a:lnTo>
                      <a:pt x="632" y="432"/>
                    </a:lnTo>
                    <a:lnTo>
                      <a:pt x="664" y="472"/>
                    </a:lnTo>
                    <a:lnTo>
                      <a:pt x="632" y="488"/>
                    </a:lnTo>
                    <a:lnTo>
                      <a:pt x="616" y="520"/>
                    </a:lnTo>
                    <a:lnTo>
                      <a:pt x="576" y="520"/>
                    </a:lnTo>
                    <a:lnTo>
                      <a:pt x="600" y="592"/>
                    </a:lnTo>
                    <a:lnTo>
                      <a:pt x="544" y="608"/>
                    </a:lnTo>
                    <a:lnTo>
                      <a:pt x="496" y="584"/>
                    </a:lnTo>
                    <a:lnTo>
                      <a:pt x="456" y="632"/>
                    </a:lnTo>
                    <a:lnTo>
                      <a:pt x="440" y="608"/>
                    </a:lnTo>
                    <a:lnTo>
                      <a:pt x="448" y="568"/>
                    </a:lnTo>
                    <a:lnTo>
                      <a:pt x="392" y="576"/>
                    </a:lnTo>
                    <a:lnTo>
                      <a:pt x="368" y="552"/>
                    </a:lnTo>
                    <a:lnTo>
                      <a:pt x="272" y="544"/>
                    </a:lnTo>
                    <a:lnTo>
                      <a:pt x="248" y="536"/>
                    </a:lnTo>
                    <a:lnTo>
                      <a:pt x="184" y="568"/>
                    </a:lnTo>
                    <a:lnTo>
                      <a:pt x="144" y="480"/>
                    </a:lnTo>
                    <a:lnTo>
                      <a:pt x="88" y="488"/>
                    </a:lnTo>
                    <a:lnTo>
                      <a:pt x="72" y="472"/>
                    </a:lnTo>
                    <a:lnTo>
                      <a:pt x="64" y="424"/>
                    </a:lnTo>
                    <a:lnTo>
                      <a:pt x="0" y="360"/>
                    </a:lnTo>
                    <a:lnTo>
                      <a:pt x="56" y="344"/>
                    </a:lnTo>
                    <a:lnTo>
                      <a:pt x="88" y="288"/>
                    </a:lnTo>
                    <a:lnTo>
                      <a:pt x="56" y="256"/>
                    </a:lnTo>
                    <a:lnTo>
                      <a:pt x="80" y="224"/>
                    </a:lnTo>
                    <a:close/>
                  </a:path>
                </a:pathLst>
              </a:custGeom>
              <a:solidFill>
                <a:srgbClr val="8394E8"/>
              </a:solidFill>
              <a:ln w="9525">
                <a:solidFill>
                  <a:schemeClr val="bg1"/>
                </a:solidFill>
                <a:round/>
                <a:headEnd/>
                <a:tailEnd/>
              </a:ln>
            </p:spPr>
            <p:txBody>
              <a:bodyPr/>
              <a:lstStyle/>
              <a:p>
                <a:endParaRPr lang="en-US" sz="1050"/>
              </a:p>
            </p:txBody>
          </p:sp>
          <p:sp>
            <p:nvSpPr>
              <p:cNvPr id="108" name="Freeform 16"/>
              <p:cNvSpPr>
                <a:spLocks/>
              </p:cNvSpPr>
              <p:nvPr/>
            </p:nvSpPr>
            <p:spPr bwMode="auto">
              <a:xfrm>
                <a:off x="2096576" y="3424068"/>
                <a:ext cx="852807" cy="939047"/>
              </a:xfrm>
              <a:custGeom>
                <a:avLst/>
                <a:gdLst>
                  <a:gd name="T0" fmla="*/ 2147483646 w 712"/>
                  <a:gd name="T1" fmla="*/ 0 h 784"/>
                  <a:gd name="T2" fmla="*/ 2147483646 w 712"/>
                  <a:gd name="T3" fmla="*/ 2147483646 h 784"/>
                  <a:gd name="T4" fmla="*/ 2147483646 w 712"/>
                  <a:gd name="T5" fmla="*/ 2147483646 h 784"/>
                  <a:gd name="T6" fmla="*/ 2147483646 w 712"/>
                  <a:gd name="T7" fmla="*/ 2147483646 h 784"/>
                  <a:gd name="T8" fmla="*/ 2147483646 w 712"/>
                  <a:gd name="T9" fmla="*/ 2147483646 h 784"/>
                  <a:gd name="T10" fmla="*/ 2147483646 w 712"/>
                  <a:gd name="T11" fmla="*/ 2147483646 h 784"/>
                  <a:gd name="T12" fmla="*/ 2147483646 w 712"/>
                  <a:gd name="T13" fmla="*/ 2147483646 h 784"/>
                  <a:gd name="T14" fmla="*/ 2147483646 w 712"/>
                  <a:gd name="T15" fmla="*/ 2147483646 h 784"/>
                  <a:gd name="T16" fmla="*/ 2147483646 w 712"/>
                  <a:gd name="T17" fmla="*/ 2147483646 h 784"/>
                  <a:gd name="T18" fmla="*/ 2147483646 w 712"/>
                  <a:gd name="T19" fmla="*/ 2147483646 h 784"/>
                  <a:gd name="T20" fmla="*/ 2147483646 w 712"/>
                  <a:gd name="T21" fmla="*/ 2147483646 h 784"/>
                  <a:gd name="T22" fmla="*/ 2147483646 w 712"/>
                  <a:gd name="T23" fmla="*/ 2147483646 h 784"/>
                  <a:gd name="T24" fmla="*/ 2147483646 w 712"/>
                  <a:gd name="T25" fmla="*/ 2147483646 h 784"/>
                  <a:gd name="T26" fmla="*/ 2147483646 w 712"/>
                  <a:gd name="T27" fmla="*/ 2147483646 h 784"/>
                  <a:gd name="T28" fmla="*/ 2147483646 w 712"/>
                  <a:gd name="T29" fmla="*/ 2147483646 h 784"/>
                  <a:gd name="T30" fmla="*/ 2147483646 w 712"/>
                  <a:gd name="T31" fmla="*/ 2147483646 h 784"/>
                  <a:gd name="T32" fmla="*/ 2147483646 w 712"/>
                  <a:gd name="T33" fmla="*/ 2147483646 h 784"/>
                  <a:gd name="T34" fmla="*/ 2147483646 w 712"/>
                  <a:gd name="T35" fmla="*/ 2147483646 h 784"/>
                  <a:gd name="T36" fmla="*/ 2147483646 w 712"/>
                  <a:gd name="T37" fmla="*/ 2147483646 h 784"/>
                  <a:gd name="T38" fmla="*/ 2147483646 w 712"/>
                  <a:gd name="T39" fmla="*/ 2147483646 h 784"/>
                  <a:gd name="T40" fmla="*/ 2147483646 w 712"/>
                  <a:gd name="T41" fmla="*/ 2147483646 h 784"/>
                  <a:gd name="T42" fmla="*/ 2147483646 w 712"/>
                  <a:gd name="T43" fmla="*/ 2147483646 h 784"/>
                  <a:gd name="T44" fmla="*/ 2147483646 w 712"/>
                  <a:gd name="T45" fmla="*/ 2147483646 h 784"/>
                  <a:gd name="T46" fmla="*/ 2147483646 w 712"/>
                  <a:gd name="T47" fmla="*/ 2147483646 h 784"/>
                  <a:gd name="T48" fmla="*/ 2147483646 w 712"/>
                  <a:gd name="T49" fmla="*/ 2147483646 h 784"/>
                  <a:gd name="T50" fmla="*/ 2147483646 w 712"/>
                  <a:gd name="T51" fmla="*/ 2147483646 h 784"/>
                  <a:gd name="T52" fmla="*/ 2147483646 w 712"/>
                  <a:gd name="T53" fmla="*/ 2147483646 h 784"/>
                  <a:gd name="T54" fmla="*/ 2147483646 w 712"/>
                  <a:gd name="T55" fmla="*/ 2147483646 h 784"/>
                  <a:gd name="T56" fmla="*/ 2147483646 w 712"/>
                  <a:gd name="T57" fmla="*/ 2147483646 h 784"/>
                  <a:gd name="T58" fmla="*/ 2147483646 w 712"/>
                  <a:gd name="T59" fmla="*/ 2147483646 h 784"/>
                  <a:gd name="T60" fmla="*/ 2147483646 w 712"/>
                  <a:gd name="T61" fmla="*/ 2147483646 h 784"/>
                  <a:gd name="T62" fmla="*/ 2147483646 w 712"/>
                  <a:gd name="T63" fmla="*/ 2147483646 h 784"/>
                  <a:gd name="T64" fmla="*/ 2147483646 w 712"/>
                  <a:gd name="T65" fmla="*/ 2147483646 h 784"/>
                  <a:gd name="T66" fmla="*/ 2147483646 w 712"/>
                  <a:gd name="T67" fmla="*/ 2147483646 h 784"/>
                  <a:gd name="T68" fmla="*/ 2147483646 w 712"/>
                  <a:gd name="T69" fmla="*/ 2147483646 h 784"/>
                  <a:gd name="T70" fmla="*/ 2147483646 w 712"/>
                  <a:gd name="T71" fmla="*/ 2147483646 h 784"/>
                  <a:gd name="T72" fmla="*/ 2147483646 w 712"/>
                  <a:gd name="T73" fmla="*/ 2147483646 h 784"/>
                  <a:gd name="T74" fmla="*/ 2147483646 w 712"/>
                  <a:gd name="T75" fmla="*/ 2147483646 h 784"/>
                  <a:gd name="T76" fmla="*/ 2147483646 w 712"/>
                  <a:gd name="T77" fmla="*/ 2147483646 h 784"/>
                  <a:gd name="T78" fmla="*/ 2147483646 w 712"/>
                  <a:gd name="T79" fmla="*/ 2147483646 h 784"/>
                  <a:gd name="T80" fmla="*/ 2147483646 w 712"/>
                  <a:gd name="T81" fmla="*/ 2147483646 h 784"/>
                  <a:gd name="T82" fmla="*/ 2147483646 w 712"/>
                  <a:gd name="T83" fmla="*/ 2147483646 h 784"/>
                  <a:gd name="T84" fmla="*/ 2147483646 w 712"/>
                  <a:gd name="T85" fmla="*/ 2147483646 h 784"/>
                  <a:gd name="T86" fmla="*/ 2147483646 w 712"/>
                  <a:gd name="T87" fmla="*/ 2147483646 h 784"/>
                  <a:gd name="T88" fmla="*/ 2147483646 w 712"/>
                  <a:gd name="T89" fmla="*/ 2147483646 h 784"/>
                  <a:gd name="T90" fmla="*/ 0 w 712"/>
                  <a:gd name="T91" fmla="*/ 2147483646 h 784"/>
                  <a:gd name="T92" fmla="*/ 2147483646 w 712"/>
                  <a:gd name="T93" fmla="*/ 2147483646 h 784"/>
                  <a:gd name="T94" fmla="*/ 2147483646 w 712"/>
                  <a:gd name="T95" fmla="*/ 0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2"/>
                  <a:gd name="T145" fmla="*/ 0 h 784"/>
                  <a:gd name="T146" fmla="*/ 712 w 712"/>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2" h="784">
                    <a:moveTo>
                      <a:pt x="72" y="0"/>
                    </a:moveTo>
                    <a:lnTo>
                      <a:pt x="96" y="24"/>
                    </a:lnTo>
                    <a:lnTo>
                      <a:pt x="144" y="8"/>
                    </a:lnTo>
                    <a:lnTo>
                      <a:pt x="184" y="96"/>
                    </a:lnTo>
                    <a:lnTo>
                      <a:pt x="248" y="64"/>
                    </a:lnTo>
                    <a:lnTo>
                      <a:pt x="272" y="72"/>
                    </a:lnTo>
                    <a:lnTo>
                      <a:pt x="368" y="80"/>
                    </a:lnTo>
                    <a:lnTo>
                      <a:pt x="392" y="112"/>
                    </a:lnTo>
                    <a:lnTo>
                      <a:pt x="448" y="96"/>
                    </a:lnTo>
                    <a:lnTo>
                      <a:pt x="440" y="144"/>
                    </a:lnTo>
                    <a:lnTo>
                      <a:pt x="456" y="160"/>
                    </a:lnTo>
                    <a:lnTo>
                      <a:pt x="496" y="112"/>
                    </a:lnTo>
                    <a:lnTo>
                      <a:pt x="544" y="136"/>
                    </a:lnTo>
                    <a:lnTo>
                      <a:pt x="600" y="120"/>
                    </a:lnTo>
                    <a:lnTo>
                      <a:pt x="648" y="96"/>
                    </a:lnTo>
                    <a:lnTo>
                      <a:pt x="648" y="136"/>
                    </a:lnTo>
                    <a:lnTo>
                      <a:pt x="616" y="160"/>
                    </a:lnTo>
                    <a:lnTo>
                      <a:pt x="632" y="208"/>
                    </a:lnTo>
                    <a:lnTo>
                      <a:pt x="712" y="264"/>
                    </a:lnTo>
                    <a:lnTo>
                      <a:pt x="704" y="328"/>
                    </a:lnTo>
                    <a:lnTo>
                      <a:pt x="648" y="344"/>
                    </a:lnTo>
                    <a:lnTo>
                      <a:pt x="640" y="392"/>
                    </a:lnTo>
                    <a:lnTo>
                      <a:pt x="576" y="408"/>
                    </a:lnTo>
                    <a:lnTo>
                      <a:pt x="568" y="456"/>
                    </a:lnTo>
                    <a:lnTo>
                      <a:pt x="520" y="480"/>
                    </a:lnTo>
                    <a:lnTo>
                      <a:pt x="520" y="528"/>
                    </a:lnTo>
                    <a:lnTo>
                      <a:pt x="456" y="552"/>
                    </a:lnTo>
                    <a:lnTo>
                      <a:pt x="448" y="616"/>
                    </a:lnTo>
                    <a:lnTo>
                      <a:pt x="472" y="688"/>
                    </a:lnTo>
                    <a:lnTo>
                      <a:pt x="448" y="784"/>
                    </a:lnTo>
                    <a:lnTo>
                      <a:pt x="432" y="776"/>
                    </a:lnTo>
                    <a:lnTo>
                      <a:pt x="384" y="704"/>
                    </a:lnTo>
                    <a:lnTo>
                      <a:pt x="328" y="656"/>
                    </a:lnTo>
                    <a:lnTo>
                      <a:pt x="304" y="472"/>
                    </a:lnTo>
                    <a:lnTo>
                      <a:pt x="272" y="432"/>
                    </a:lnTo>
                    <a:lnTo>
                      <a:pt x="272" y="384"/>
                    </a:lnTo>
                    <a:lnTo>
                      <a:pt x="200" y="400"/>
                    </a:lnTo>
                    <a:lnTo>
                      <a:pt x="152" y="344"/>
                    </a:lnTo>
                    <a:lnTo>
                      <a:pt x="184" y="336"/>
                    </a:lnTo>
                    <a:lnTo>
                      <a:pt x="184" y="312"/>
                    </a:lnTo>
                    <a:lnTo>
                      <a:pt x="136" y="280"/>
                    </a:lnTo>
                    <a:lnTo>
                      <a:pt x="128" y="208"/>
                    </a:lnTo>
                    <a:lnTo>
                      <a:pt x="56" y="208"/>
                    </a:lnTo>
                    <a:lnTo>
                      <a:pt x="16" y="176"/>
                    </a:lnTo>
                    <a:lnTo>
                      <a:pt x="32" y="128"/>
                    </a:lnTo>
                    <a:lnTo>
                      <a:pt x="0" y="56"/>
                    </a:lnTo>
                    <a:lnTo>
                      <a:pt x="32" y="16"/>
                    </a:lnTo>
                    <a:lnTo>
                      <a:pt x="72" y="0"/>
                    </a:lnTo>
                    <a:close/>
                  </a:path>
                </a:pathLst>
              </a:custGeom>
              <a:solidFill>
                <a:srgbClr val="2B651B"/>
              </a:solidFill>
              <a:ln w="9525">
                <a:solidFill>
                  <a:schemeClr val="bg1"/>
                </a:solidFill>
                <a:round/>
                <a:headEnd/>
                <a:tailEnd/>
              </a:ln>
            </p:spPr>
            <p:txBody>
              <a:bodyPr/>
              <a:lstStyle/>
              <a:p>
                <a:endParaRPr lang="en-US" sz="1050"/>
              </a:p>
            </p:txBody>
          </p:sp>
          <p:sp>
            <p:nvSpPr>
              <p:cNvPr id="109" name="Freeform 17"/>
              <p:cNvSpPr>
                <a:spLocks/>
              </p:cNvSpPr>
              <p:nvPr/>
            </p:nvSpPr>
            <p:spPr bwMode="auto">
              <a:xfrm>
                <a:off x="2633266" y="3696391"/>
                <a:ext cx="709076" cy="661165"/>
              </a:xfrm>
              <a:custGeom>
                <a:avLst/>
                <a:gdLst>
                  <a:gd name="T0" fmla="*/ 0 w 592"/>
                  <a:gd name="T1" fmla="*/ 2147483646 h 552"/>
                  <a:gd name="T2" fmla="*/ 2147483646 w 592"/>
                  <a:gd name="T3" fmla="*/ 2147483646 h 552"/>
                  <a:gd name="T4" fmla="*/ 0 w 592"/>
                  <a:gd name="T5" fmla="*/ 2147483646 h 552"/>
                  <a:gd name="T6" fmla="*/ 2147483646 w 592"/>
                  <a:gd name="T7" fmla="*/ 2147483646 h 552"/>
                  <a:gd name="T8" fmla="*/ 2147483646 w 592"/>
                  <a:gd name="T9" fmla="*/ 2147483646 h 552"/>
                  <a:gd name="T10" fmla="*/ 2147483646 w 592"/>
                  <a:gd name="T11" fmla="*/ 2147483646 h 552"/>
                  <a:gd name="T12" fmla="*/ 2147483646 w 592"/>
                  <a:gd name="T13" fmla="*/ 2147483646 h 552"/>
                  <a:gd name="T14" fmla="*/ 2147483646 w 592"/>
                  <a:gd name="T15" fmla="*/ 2147483646 h 552"/>
                  <a:gd name="T16" fmla="*/ 2147483646 w 592"/>
                  <a:gd name="T17" fmla="*/ 2147483646 h 552"/>
                  <a:gd name="T18" fmla="*/ 2147483646 w 592"/>
                  <a:gd name="T19" fmla="*/ 2147483646 h 552"/>
                  <a:gd name="T20" fmla="*/ 2147483646 w 592"/>
                  <a:gd name="T21" fmla="*/ 2147483646 h 552"/>
                  <a:gd name="T22" fmla="*/ 2147483646 w 592"/>
                  <a:gd name="T23" fmla="*/ 2147483646 h 552"/>
                  <a:gd name="T24" fmla="*/ 2147483646 w 592"/>
                  <a:gd name="T25" fmla="*/ 2147483646 h 552"/>
                  <a:gd name="T26" fmla="*/ 2147483646 w 592"/>
                  <a:gd name="T27" fmla="*/ 2147483646 h 552"/>
                  <a:gd name="T28" fmla="*/ 2147483646 w 592"/>
                  <a:gd name="T29" fmla="*/ 0 h 552"/>
                  <a:gd name="T30" fmla="*/ 2147483646 w 592"/>
                  <a:gd name="T31" fmla="*/ 2147483646 h 552"/>
                  <a:gd name="T32" fmla="*/ 2147483646 w 592"/>
                  <a:gd name="T33" fmla="*/ 2147483646 h 552"/>
                  <a:gd name="T34" fmla="*/ 2147483646 w 592"/>
                  <a:gd name="T35" fmla="*/ 2147483646 h 552"/>
                  <a:gd name="T36" fmla="*/ 2147483646 w 592"/>
                  <a:gd name="T37" fmla="*/ 2147483646 h 552"/>
                  <a:gd name="T38" fmla="*/ 2147483646 w 592"/>
                  <a:gd name="T39" fmla="*/ 2147483646 h 552"/>
                  <a:gd name="T40" fmla="*/ 2147483646 w 592"/>
                  <a:gd name="T41" fmla="*/ 2147483646 h 552"/>
                  <a:gd name="T42" fmla="*/ 2147483646 w 592"/>
                  <a:gd name="T43" fmla="*/ 2147483646 h 552"/>
                  <a:gd name="T44" fmla="*/ 2147483646 w 592"/>
                  <a:gd name="T45" fmla="*/ 2147483646 h 552"/>
                  <a:gd name="T46" fmla="*/ 2147483646 w 592"/>
                  <a:gd name="T47" fmla="*/ 2147483646 h 552"/>
                  <a:gd name="T48" fmla="*/ 2147483646 w 592"/>
                  <a:gd name="T49" fmla="*/ 2147483646 h 552"/>
                  <a:gd name="T50" fmla="*/ 2147483646 w 592"/>
                  <a:gd name="T51" fmla="*/ 2147483646 h 552"/>
                  <a:gd name="T52" fmla="*/ 2147483646 w 592"/>
                  <a:gd name="T53" fmla="*/ 2147483646 h 552"/>
                  <a:gd name="T54" fmla="*/ 2147483646 w 592"/>
                  <a:gd name="T55" fmla="*/ 2147483646 h 552"/>
                  <a:gd name="T56" fmla="*/ 2147483646 w 592"/>
                  <a:gd name="T57" fmla="*/ 2147483646 h 552"/>
                  <a:gd name="T58" fmla="*/ 2147483646 w 592"/>
                  <a:gd name="T59" fmla="*/ 2147483646 h 552"/>
                  <a:gd name="T60" fmla="*/ 2147483646 w 592"/>
                  <a:gd name="T61" fmla="*/ 2147483646 h 552"/>
                  <a:gd name="T62" fmla="*/ 0 w 592"/>
                  <a:gd name="T63" fmla="*/ 2147483646 h 5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2"/>
                  <a:gd name="T97" fmla="*/ 0 h 552"/>
                  <a:gd name="T98" fmla="*/ 592 w 592"/>
                  <a:gd name="T99" fmla="*/ 552 h 5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2" h="552">
                    <a:moveTo>
                      <a:pt x="0" y="552"/>
                    </a:moveTo>
                    <a:lnTo>
                      <a:pt x="24" y="456"/>
                    </a:lnTo>
                    <a:lnTo>
                      <a:pt x="0" y="384"/>
                    </a:lnTo>
                    <a:lnTo>
                      <a:pt x="8" y="320"/>
                    </a:lnTo>
                    <a:lnTo>
                      <a:pt x="72" y="296"/>
                    </a:lnTo>
                    <a:lnTo>
                      <a:pt x="72" y="248"/>
                    </a:lnTo>
                    <a:lnTo>
                      <a:pt x="120" y="224"/>
                    </a:lnTo>
                    <a:lnTo>
                      <a:pt x="128" y="176"/>
                    </a:lnTo>
                    <a:lnTo>
                      <a:pt x="192" y="160"/>
                    </a:lnTo>
                    <a:lnTo>
                      <a:pt x="200" y="112"/>
                    </a:lnTo>
                    <a:lnTo>
                      <a:pt x="256" y="96"/>
                    </a:lnTo>
                    <a:lnTo>
                      <a:pt x="264" y="32"/>
                    </a:lnTo>
                    <a:lnTo>
                      <a:pt x="320" y="24"/>
                    </a:lnTo>
                    <a:lnTo>
                      <a:pt x="384" y="32"/>
                    </a:lnTo>
                    <a:lnTo>
                      <a:pt x="464" y="0"/>
                    </a:lnTo>
                    <a:lnTo>
                      <a:pt x="472" y="56"/>
                    </a:lnTo>
                    <a:lnTo>
                      <a:pt x="456" y="112"/>
                    </a:lnTo>
                    <a:lnTo>
                      <a:pt x="488" y="136"/>
                    </a:lnTo>
                    <a:lnTo>
                      <a:pt x="536" y="120"/>
                    </a:lnTo>
                    <a:lnTo>
                      <a:pt x="592" y="136"/>
                    </a:lnTo>
                    <a:lnTo>
                      <a:pt x="592" y="176"/>
                    </a:lnTo>
                    <a:lnTo>
                      <a:pt x="544" y="216"/>
                    </a:lnTo>
                    <a:lnTo>
                      <a:pt x="504" y="208"/>
                    </a:lnTo>
                    <a:lnTo>
                      <a:pt x="520" y="240"/>
                    </a:lnTo>
                    <a:lnTo>
                      <a:pt x="472" y="256"/>
                    </a:lnTo>
                    <a:lnTo>
                      <a:pt x="536" y="312"/>
                    </a:lnTo>
                    <a:lnTo>
                      <a:pt x="464" y="328"/>
                    </a:lnTo>
                    <a:lnTo>
                      <a:pt x="480" y="464"/>
                    </a:lnTo>
                    <a:lnTo>
                      <a:pt x="400" y="488"/>
                    </a:lnTo>
                    <a:lnTo>
                      <a:pt x="264" y="480"/>
                    </a:lnTo>
                    <a:lnTo>
                      <a:pt x="136" y="504"/>
                    </a:lnTo>
                    <a:lnTo>
                      <a:pt x="0" y="552"/>
                    </a:lnTo>
                    <a:close/>
                  </a:path>
                </a:pathLst>
              </a:custGeom>
              <a:solidFill>
                <a:srgbClr val="2B651B"/>
              </a:solidFill>
              <a:ln w="9525">
                <a:solidFill>
                  <a:schemeClr val="bg1"/>
                </a:solidFill>
                <a:round/>
                <a:headEnd/>
                <a:tailEnd/>
              </a:ln>
            </p:spPr>
            <p:txBody>
              <a:bodyPr/>
              <a:lstStyle/>
              <a:p>
                <a:endParaRPr lang="en-US" sz="1050"/>
              </a:p>
            </p:txBody>
          </p:sp>
          <p:sp>
            <p:nvSpPr>
              <p:cNvPr id="110" name="Freeform 18"/>
              <p:cNvSpPr>
                <a:spLocks/>
              </p:cNvSpPr>
              <p:nvPr/>
            </p:nvSpPr>
            <p:spPr bwMode="auto">
              <a:xfrm>
                <a:off x="3170619" y="3792645"/>
                <a:ext cx="804896" cy="632418"/>
              </a:xfrm>
              <a:custGeom>
                <a:avLst/>
                <a:gdLst>
                  <a:gd name="T0" fmla="*/ 2147483646 w 672"/>
                  <a:gd name="T1" fmla="*/ 2147483646 h 528"/>
                  <a:gd name="T2" fmla="*/ 0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0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2147483646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72"/>
                  <a:gd name="T118" fmla="*/ 0 h 528"/>
                  <a:gd name="T119" fmla="*/ 672 w 672"/>
                  <a:gd name="T120" fmla="*/ 528 h 5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72" h="528">
                    <a:moveTo>
                      <a:pt x="16" y="384"/>
                    </a:moveTo>
                    <a:lnTo>
                      <a:pt x="0" y="248"/>
                    </a:lnTo>
                    <a:lnTo>
                      <a:pt x="72" y="232"/>
                    </a:lnTo>
                    <a:lnTo>
                      <a:pt x="8" y="176"/>
                    </a:lnTo>
                    <a:lnTo>
                      <a:pt x="56" y="160"/>
                    </a:lnTo>
                    <a:lnTo>
                      <a:pt x="40" y="128"/>
                    </a:lnTo>
                    <a:lnTo>
                      <a:pt x="80" y="136"/>
                    </a:lnTo>
                    <a:lnTo>
                      <a:pt x="128" y="96"/>
                    </a:lnTo>
                    <a:lnTo>
                      <a:pt x="128" y="56"/>
                    </a:lnTo>
                    <a:lnTo>
                      <a:pt x="208" y="24"/>
                    </a:lnTo>
                    <a:lnTo>
                      <a:pt x="216" y="0"/>
                    </a:lnTo>
                    <a:lnTo>
                      <a:pt x="264" y="32"/>
                    </a:lnTo>
                    <a:lnTo>
                      <a:pt x="288" y="16"/>
                    </a:lnTo>
                    <a:lnTo>
                      <a:pt x="336" y="56"/>
                    </a:lnTo>
                    <a:lnTo>
                      <a:pt x="336" y="88"/>
                    </a:lnTo>
                    <a:lnTo>
                      <a:pt x="432" y="112"/>
                    </a:lnTo>
                    <a:lnTo>
                      <a:pt x="416" y="176"/>
                    </a:lnTo>
                    <a:lnTo>
                      <a:pt x="456" y="224"/>
                    </a:lnTo>
                    <a:lnTo>
                      <a:pt x="424" y="240"/>
                    </a:lnTo>
                    <a:lnTo>
                      <a:pt x="440" y="288"/>
                    </a:lnTo>
                    <a:lnTo>
                      <a:pt x="488" y="312"/>
                    </a:lnTo>
                    <a:lnTo>
                      <a:pt x="536" y="304"/>
                    </a:lnTo>
                    <a:lnTo>
                      <a:pt x="608" y="336"/>
                    </a:lnTo>
                    <a:lnTo>
                      <a:pt x="672" y="408"/>
                    </a:lnTo>
                    <a:lnTo>
                      <a:pt x="656" y="480"/>
                    </a:lnTo>
                    <a:lnTo>
                      <a:pt x="592" y="440"/>
                    </a:lnTo>
                    <a:lnTo>
                      <a:pt x="552" y="512"/>
                    </a:lnTo>
                    <a:lnTo>
                      <a:pt x="472" y="472"/>
                    </a:lnTo>
                    <a:lnTo>
                      <a:pt x="432" y="472"/>
                    </a:lnTo>
                    <a:lnTo>
                      <a:pt x="416" y="488"/>
                    </a:lnTo>
                    <a:lnTo>
                      <a:pt x="384" y="472"/>
                    </a:lnTo>
                    <a:lnTo>
                      <a:pt x="376" y="504"/>
                    </a:lnTo>
                    <a:lnTo>
                      <a:pt x="336" y="480"/>
                    </a:lnTo>
                    <a:lnTo>
                      <a:pt x="296" y="528"/>
                    </a:lnTo>
                    <a:lnTo>
                      <a:pt x="248" y="488"/>
                    </a:lnTo>
                    <a:lnTo>
                      <a:pt x="256" y="448"/>
                    </a:lnTo>
                    <a:lnTo>
                      <a:pt x="160" y="392"/>
                    </a:lnTo>
                    <a:lnTo>
                      <a:pt x="64" y="376"/>
                    </a:lnTo>
                    <a:lnTo>
                      <a:pt x="16" y="384"/>
                    </a:lnTo>
                    <a:close/>
                  </a:path>
                </a:pathLst>
              </a:custGeom>
              <a:solidFill>
                <a:srgbClr val="2B651B"/>
              </a:solidFill>
              <a:ln w="9525">
                <a:solidFill>
                  <a:schemeClr val="bg1"/>
                </a:solidFill>
                <a:round/>
                <a:headEnd/>
                <a:tailEnd/>
              </a:ln>
            </p:spPr>
            <p:txBody>
              <a:bodyPr/>
              <a:lstStyle/>
              <a:p>
                <a:endParaRPr lang="en-US" sz="1050"/>
              </a:p>
            </p:txBody>
          </p:sp>
          <p:sp>
            <p:nvSpPr>
              <p:cNvPr id="111" name="Freeform 19"/>
              <p:cNvSpPr>
                <a:spLocks/>
              </p:cNvSpPr>
              <p:nvPr/>
            </p:nvSpPr>
            <p:spPr bwMode="auto">
              <a:xfrm>
                <a:off x="3567674" y="3717655"/>
                <a:ext cx="555762" cy="565344"/>
              </a:xfrm>
              <a:custGeom>
                <a:avLst/>
                <a:gdLst>
                  <a:gd name="T0" fmla="*/ 2147483646 w 464"/>
                  <a:gd name="T1" fmla="*/ 2147483646 h 472"/>
                  <a:gd name="T2" fmla="*/ 2147483646 w 464"/>
                  <a:gd name="T3" fmla="*/ 2147483646 h 472"/>
                  <a:gd name="T4" fmla="*/ 2147483646 w 464"/>
                  <a:gd name="T5" fmla="*/ 2147483646 h 472"/>
                  <a:gd name="T6" fmla="*/ 2147483646 w 464"/>
                  <a:gd name="T7" fmla="*/ 2147483646 h 472"/>
                  <a:gd name="T8" fmla="*/ 2147483646 w 464"/>
                  <a:gd name="T9" fmla="*/ 2147483646 h 472"/>
                  <a:gd name="T10" fmla="*/ 2147483646 w 464"/>
                  <a:gd name="T11" fmla="*/ 2147483646 h 472"/>
                  <a:gd name="T12" fmla="*/ 2147483646 w 464"/>
                  <a:gd name="T13" fmla="*/ 2147483646 h 472"/>
                  <a:gd name="T14" fmla="*/ 2147483646 w 464"/>
                  <a:gd name="T15" fmla="*/ 2147483646 h 472"/>
                  <a:gd name="T16" fmla="*/ 2147483646 w 464"/>
                  <a:gd name="T17" fmla="*/ 2147483646 h 472"/>
                  <a:gd name="T18" fmla="*/ 0 w 464"/>
                  <a:gd name="T19" fmla="*/ 2147483646 h 472"/>
                  <a:gd name="T20" fmla="*/ 0 w 464"/>
                  <a:gd name="T21" fmla="*/ 2147483646 h 472"/>
                  <a:gd name="T22" fmla="*/ 2147483646 w 464"/>
                  <a:gd name="T23" fmla="*/ 2147483646 h 472"/>
                  <a:gd name="T24" fmla="*/ 2147483646 w 464"/>
                  <a:gd name="T25" fmla="*/ 0 h 472"/>
                  <a:gd name="T26" fmla="*/ 2147483646 w 464"/>
                  <a:gd name="T27" fmla="*/ 2147483646 h 472"/>
                  <a:gd name="T28" fmla="*/ 2147483646 w 464"/>
                  <a:gd name="T29" fmla="*/ 2147483646 h 472"/>
                  <a:gd name="T30" fmla="*/ 2147483646 w 464"/>
                  <a:gd name="T31" fmla="*/ 2147483646 h 472"/>
                  <a:gd name="T32" fmla="*/ 2147483646 w 464"/>
                  <a:gd name="T33" fmla="*/ 2147483646 h 472"/>
                  <a:gd name="T34" fmla="*/ 2147483646 w 464"/>
                  <a:gd name="T35" fmla="*/ 2147483646 h 472"/>
                  <a:gd name="T36" fmla="*/ 2147483646 w 464"/>
                  <a:gd name="T37" fmla="*/ 2147483646 h 472"/>
                  <a:gd name="T38" fmla="*/ 2147483646 w 464"/>
                  <a:gd name="T39" fmla="*/ 2147483646 h 472"/>
                  <a:gd name="T40" fmla="*/ 2147483646 w 464"/>
                  <a:gd name="T41" fmla="*/ 2147483646 h 472"/>
                  <a:gd name="T42" fmla="*/ 2147483646 w 464"/>
                  <a:gd name="T43" fmla="*/ 2147483646 h 472"/>
                  <a:gd name="T44" fmla="*/ 2147483646 w 464"/>
                  <a:gd name="T45" fmla="*/ 2147483646 h 472"/>
                  <a:gd name="T46" fmla="*/ 2147483646 w 464"/>
                  <a:gd name="T47" fmla="*/ 2147483646 h 472"/>
                  <a:gd name="T48" fmla="*/ 2147483646 w 464"/>
                  <a:gd name="T49" fmla="*/ 2147483646 h 472"/>
                  <a:gd name="T50" fmla="*/ 2147483646 w 464"/>
                  <a:gd name="T51" fmla="*/ 2147483646 h 472"/>
                  <a:gd name="T52" fmla="*/ 2147483646 w 464"/>
                  <a:gd name="T53" fmla="*/ 2147483646 h 472"/>
                  <a:gd name="T54" fmla="*/ 2147483646 w 464"/>
                  <a:gd name="T55" fmla="*/ 2147483646 h 472"/>
                  <a:gd name="T56" fmla="*/ 2147483646 w 464"/>
                  <a:gd name="T57" fmla="*/ 2147483646 h 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4"/>
                  <a:gd name="T88" fmla="*/ 0 h 472"/>
                  <a:gd name="T89" fmla="*/ 464 w 464"/>
                  <a:gd name="T90" fmla="*/ 472 h 4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4" h="472">
                    <a:moveTo>
                      <a:pt x="336" y="472"/>
                    </a:moveTo>
                    <a:lnTo>
                      <a:pt x="272" y="400"/>
                    </a:lnTo>
                    <a:lnTo>
                      <a:pt x="200" y="368"/>
                    </a:lnTo>
                    <a:lnTo>
                      <a:pt x="152" y="376"/>
                    </a:lnTo>
                    <a:lnTo>
                      <a:pt x="104" y="352"/>
                    </a:lnTo>
                    <a:lnTo>
                      <a:pt x="88" y="304"/>
                    </a:lnTo>
                    <a:lnTo>
                      <a:pt x="120" y="288"/>
                    </a:lnTo>
                    <a:lnTo>
                      <a:pt x="80" y="240"/>
                    </a:lnTo>
                    <a:lnTo>
                      <a:pt x="96" y="176"/>
                    </a:lnTo>
                    <a:lnTo>
                      <a:pt x="0" y="152"/>
                    </a:lnTo>
                    <a:lnTo>
                      <a:pt x="0" y="120"/>
                    </a:lnTo>
                    <a:lnTo>
                      <a:pt x="56" y="32"/>
                    </a:lnTo>
                    <a:lnTo>
                      <a:pt x="112" y="0"/>
                    </a:lnTo>
                    <a:lnTo>
                      <a:pt x="136" y="80"/>
                    </a:lnTo>
                    <a:lnTo>
                      <a:pt x="184" y="128"/>
                    </a:lnTo>
                    <a:lnTo>
                      <a:pt x="360" y="112"/>
                    </a:lnTo>
                    <a:lnTo>
                      <a:pt x="392" y="48"/>
                    </a:lnTo>
                    <a:lnTo>
                      <a:pt x="424" y="48"/>
                    </a:lnTo>
                    <a:lnTo>
                      <a:pt x="432" y="112"/>
                    </a:lnTo>
                    <a:lnTo>
                      <a:pt x="464" y="152"/>
                    </a:lnTo>
                    <a:lnTo>
                      <a:pt x="456" y="216"/>
                    </a:lnTo>
                    <a:lnTo>
                      <a:pt x="464" y="320"/>
                    </a:lnTo>
                    <a:lnTo>
                      <a:pt x="464" y="384"/>
                    </a:lnTo>
                    <a:lnTo>
                      <a:pt x="432" y="400"/>
                    </a:lnTo>
                    <a:lnTo>
                      <a:pt x="440" y="456"/>
                    </a:lnTo>
                    <a:lnTo>
                      <a:pt x="408" y="472"/>
                    </a:lnTo>
                    <a:lnTo>
                      <a:pt x="400" y="416"/>
                    </a:lnTo>
                    <a:lnTo>
                      <a:pt x="376" y="464"/>
                    </a:lnTo>
                    <a:lnTo>
                      <a:pt x="336" y="472"/>
                    </a:lnTo>
                    <a:close/>
                  </a:path>
                </a:pathLst>
              </a:custGeom>
              <a:solidFill>
                <a:srgbClr val="2B651B"/>
              </a:solidFill>
              <a:ln w="9525">
                <a:solidFill>
                  <a:schemeClr val="bg1"/>
                </a:solidFill>
                <a:round/>
                <a:headEnd/>
                <a:tailEnd/>
              </a:ln>
            </p:spPr>
            <p:txBody>
              <a:bodyPr/>
              <a:lstStyle/>
              <a:p>
                <a:endParaRPr lang="en-US" sz="1050"/>
              </a:p>
            </p:txBody>
          </p:sp>
          <p:sp>
            <p:nvSpPr>
              <p:cNvPr id="112" name="Freeform 20"/>
              <p:cNvSpPr>
                <a:spLocks/>
              </p:cNvSpPr>
              <p:nvPr/>
            </p:nvSpPr>
            <p:spPr bwMode="auto">
              <a:xfrm>
                <a:off x="4112543" y="3788776"/>
                <a:ext cx="651583" cy="642002"/>
              </a:xfrm>
              <a:custGeom>
                <a:avLst/>
                <a:gdLst>
                  <a:gd name="T0" fmla="*/ 2147483646 w 544"/>
                  <a:gd name="T1" fmla="*/ 2147483646 h 536"/>
                  <a:gd name="T2" fmla="*/ 0 w 544"/>
                  <a:gd name="T3" fmla="*/ 2147483646 h 536"/>
                  <a:gd name="T4" fmla="*/ 2147483646 w 544"/>
                  <a:gd name="T5" fmla="*/ 2147483646 h 536"/>
                  <a:gd name="T6" fmla="*/ 2147483646 w 544"/>
                  <a:gd name="T7" fmla="*/ 2147483646 h 536"/>
                  <a:gd name="T8" fmla="*/ 2147483646 w 544"/>
                  <a:gd name="T9" fmla="*/ 2147483646 h 536"/>
                  <a:gd name="T10" fmla="*/ 2147483646 w 544"/>
                  <a:gd name="T11" fmla="*/ 2147483646 h 536"/>
                  <a:gd name="T12" fmla="*/ 2147483646 w 544"/>
                  <a:gd name="T13" fmla="*/ 2147483646 h 536"/>
                  <a:gd name="T14" fmla="*/ 2147483646 w 544"/>
                  <a:gd name="T15" fmla="*/ 2147483646 h 536"/>
                  <a:gd name="T16" fmla="*/ 2147483646 w 544"/>
                  <a:gd name="T17" fmla="*/ 2147483646 h 536"/>
                  <a:gd name="T18" fmla="*/ 2147483646 w 544"/>
                  <a:gd name="T19" fmla="*/ 0 h 536"/>
                  <a:gd name="T20" fmla="*/ 2147483646 w 544"/>
                  <a:gd name="T21" fmla="*/ 2147483646 h 536"/>
                  <a:gd name="T22" fmla="*/ 2147483646 w 544"/>
                  <a:gd name="T23" fmla="*/ 2147483646 h 536"/>
                  <a:gd name="T24" fmla="*/ 2147483646 w 544"/>
                  <a:gd name="T25" fmla="*/ 2147483646 h 536"/>
                  <a:gd name="T26" fmla="*/ 2147483646 w 544"/>
                  <a:gd name="T27" fmla="*/ 2147483646 h 536"/>
                  <a:gd name="T28" fmla="*/ 2147483646 w 544"/>
                  <a:gd name="T29" fmla="*/ 2147483646 h 536"/>
                  <a:gd name="T30" fmla="*/ 2147483646 w 544"/>
                  <a:gd name="T31" fmla="*/ 2147483646 h 536"/>
                  <a:gd name="T32" fmla="*/ 2147483646 w 544"/>
                  <a:gd name="T33" fmla="*/ 2147483646 h 536"/>
                  <a:gd name="T34" fmla="*/ 2147483646 w 544"/>
                  <a:gd name="T35" fmla="*/ 2147483646 h 536"/>
                  <a:gd name="T36" fmla="*/ 2147483646 w 544"/>
                  <a:gd name="T37" fmla="*/ 2147483646 h 536"/>
                  <a:gd name="T38" fmla="*/ 2147483646 w 544"/>
                  <a:gd name="T39" fmla="*/ 2147483646 h 536"/>
                  <a:gd name="T40" fmla="*/ 2147483646 w 544"/>
                  <a:gd name="T41" fmla="*/ 2147483646 h 536"/>
                  <a:gd name="T42" fmla="*/ 2147483646 w 544"/>
                  <a:gd name="T43" fmla="*/ 2147483646 h 536"/>
                  <a:gd name="T44" fmla="*/ 2147483646 w 544"/>
                  <a:gd name="T45" fmla="*/ 2147483646 h 536"/>
                  <a:gd name="T46" fmla="*/ 2147483646 w 544"/>
                  <a:gd name="T47" fmla="*/ 2147483646 h 536"/>
                  <a:gd name="T48" fmla="*/ 2147483646 w 544"/>
                  <a:gd name="T49" fmla="*/ 2147483646 h 536"/>
                  <a:gd name="T50" fmla="*/ 2147483646 w 544"/>
                  <a:gd name="T51" fmla="*/ 2147483646 h 536"/>
                  <a:gd name="T52" fmla="*/ 2147483646 w 544"/>
                  <a:gd name="T53" fmla="*/ 2147483646 h 536"/>
                  <a:gd name="T54" fmla="*/ 2147483646 w 544"/>
                  <a:gd name="T55" fmla="*/ 2147483646 h 536"/>
                  <a:gd name="T56" fmla="*/ 2147483646 w 544"/>
                  <a:gd name="T57" fmla="*/ 2147483646 h 536"/>
                  <a:gd name="T58" fmla="*/ 2147483646 w 544"/>
                  <a:gd name="T59" fmla="*/ 2147483646 h 536"/>
                  <a:gd name="T60" fmla="*/ 2147483646 w 544"/>
                  <a:gd name="T61" fmla="*/ 2147483646 h 536"/>
                  <a:gd name="T62" fmla="*/ 2147483646 w 544"/>
                  <a:gd name="T63" fmla="*/ 2147483646 h 536"/>
                  <a:gd name="T64" fmla="*/ 2147483646 w 544"/>
                  <a:gd name="T65" fmla="*/ 2147483646 h 536"/>
                  <a:gd name="T66" fmla="*/ 2147483646 w 544"/>
                  <a:gd name="T67" fmla="*/ 2147483646 h 536"/>
                  <a:gd name="T68" fmla="*/ 2147483646 w 544"/>
                  <a:gd name="T69" fmla="*/ 2147483646 h 536"/>
                  <a:gd name="T70" fmla="*/ 2147483646 w 544"/>
                  <a:gd name="T71" fmla="*/ 2147483646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8" y="256"/>
                    </a:moveTo>
                    <a:lnTo>
                      <a:pt x="0" y="152"/>
                    </a:lnTo>
                    <a:lnTo>
                      <a:pt x="8" y="88"/>
                    </a:lnTo>
                    <a:lnTo>
                      <a:pt x="88" y="104"/>
                    </a:lnTo>
                    <a:lnTo>
                      <a:pt x="152" y="64"/>
                    </a:lnTo>
                    <a:lnTo>
                      <a:pt x="256" y="80"/>
                    </a:lnTo>
                    <a:lnTo>
                      <a:pt x="328" y="32"/>
                    </a:lnTo>
                    <a:lnTo>
                      <a:pt x="392" y="8"/>
                    </a:lnTo>
                    <a:lnTo>
                      <a:pt x="440" y="24"/>
                    </a:lnTo>
                    <a:lnTo>
                      <a:pt x="464" y="0"/>
                    </a:lnTo>
                    <a:lnTo>
                      <a:pt x="512" y="8"/>
                    </a:lnTo>
                    <a:lnTo>
                      <a:pt x="512" y="48"/>
                    </a:lnTo>
                    <a:lnTo>
                      <a:pt x="464" y="48"/>
                    </a:lnTo>
                    <a:lnTo>
                      <a:pt x="456" y="72"/>
                    </a:lnTo>
                    <a:lnTo>
                      <a:pt x="384" y="104"/>
                    </a:lnTo>
                    <a:lnTo>
                      <a:pt x="408" y="224"/>
                    </a:lnTo>
                    <a:lnTo>
                      <a:pt x="456" y="288"/>
                    </a:lnTo>
                    <a:lnTo>
                      <a:pt x="456" y="336"/>
                    </a:lnTo>
                    <a:lnTo>
                      <a:pt x="528" y="384"/>
                    </a:lnTo>
                    <a:lnTo>
                      <a:pt x="544" y="456"/>
                    </a:lnTo>
                    <a:lnTo>
                      <a:pt x="480" y="488"/>
                    </a:lnTo>
                    <a:lnTo>
                      <a:pt x="472" y="536"/>
                    </a:lnTo>
                    <a:lnTo>
                      <a:pt x="448" y="520"/>
                    </a:lnTo>
                    <a:lnTo>
                      <a:pt x="424" y="536"/>
                    </a:lnTo>
                    <a:lnTo>
                      <a:pt x="424" y="496"/>
                    </a:lnTo>
                    <a:lnTo>
                      <a:pt x="360" y="520"/>
                    </a:lnTo>
                    <a:lnTo>
                      <a:pt x="352" y="480"/>
                    </a:lnTo>
                    <a:lnTo>
                      <a:pt x="312" y="488"/>
                    </a:lnTo>
                    <a:lnTo>
                      <a:pt x="288" y="464"/>
                    </a:lnTo>
                    <a:lnTo>
                      <a:pt x="248" y="440"/>
                    </a:lnTo>
                    <a:lnTo>
                      <a:pt x="216" y="464"/>
                    </a:lnTo>
                    <a:lnTo>
                      <a:pt x="168" y="392"/>
                    </a:lnTo>
                    <a:lnTo>
                      <a:pt x="96" y="416"/>
                    </a:lnTo>
                    <a:lnTo>
                      <a:pt x="48" y="328"/>
                    </a:lnTo>
                    <a:lnTo>
                      <a:pt x="48" y="272"/>
                    </a:lnTo>
                    <a:lnTo>
                      <a:pt x="8" y="256"/>
                    </a:lnTo>
                    <a:close/>
                  </a:path>
                </a:pathLst>
              </a:custGeom>
              <a:solidFill>
                <a:srgbClr val="898593"/>
              </a:solidFill>
              <a:ln w="9525">
                <a:solidFill>
                  <a:schemeClr val="bg1"/>
                </a:solidFill>
                <a:round/>
                <a:headEnd/>
                <a:tailEnd/>
              </a:ln>
            </p:spPr>
            <p:txBody>
              <a:bodyPr/>
              <a:lstStyle/>
              <a:p>
                <a:endParaRPr lang="en-US" sz="1050"/>
              </a:p>
            </p:txBody>
          </p:sp>
          <p:sp>
            <p:nvSpPr>
              <p:cNvPr id="113" name="Freeform 21"/>
              <p:cNvSpPr>
                <a:spLocks/>
              </p:cNvSpPr>
              <p:nvPr/>
            </p:nvSpPr>
            <p:spPr bwMode="auto">
              <a:xfrm>
                <a:off x="4571289" y="3796653"/>
                <a:ext cx="555762" cy="642002"/>
              </a:xfrm>
              <a:custGeom>
                <a:avLst/>
                <a:gdLst>
                  <a:gd name="T0" fmla="*/ 2147483646 w 464"/>
                  <a:gd name="T1" fmla="*/ 2147483646 h 536"/>
                  <a:gd name="T2" fmla="*/ 2147483646 w 464"/>
                  <a:gd name="T3" fmla="*/ 2147483646 h 536"/>
                  <a:gd name="T4" fmla="*/ 2147483646 w 464"/>
                  <a:gd name="T5" fmla="*/ 2147483646 h 536"/>
                  <a:gd name="T6" fmla="*/ 2147483646 w 464"/>
                  <a:gd name="T7" fmla="*/ 2147483646 h 536"/>
                  <a:gd name="T8" fmla="*/ 2147483646 w 464"/>
                  <a:gd name="T9" fmla="*/ 2147483646 h 536"/>
                  <a:gd name="T10" fmla="*/ 0 w 464"/>
                  <a:gd name="T11" fmla="*/ 2147483646 h 536"/>
                  <a:gd name="T12" fmla="*/ 2147483646 w 464"/>
                  <a:gd name="T13" fmla="*/ 2147483646 h 536"/>
                  <a:gd name="T14" fmla="*/ 2147483646 w 464"/>
                  <a:gd name="T15" fmla="*/ 2147483646 h 536"/>
                  <a:gd name="T16" fmla="*/ 2147483646 w 464"/>
                  <a:gd name="T17" fmla="*/ 2147483646 h 536"/>
                  <a:gd name="T18" fmla="*/ 2147483646 w 464"/>
                  <a:gd name="T19" fmla="*/ 2147483646 h 536"/>
                  <a:gd name="T20" fmla="*/ 2147483646 w 464"/>
                  <a:gd name="T21" fmla="*/ 2147483646 h 536"/>
                  <a:gd name="T22" fmla="*/ 2147483646 w 464"/>
                  <a:gd name="T23" fmla="*/ 2147483646 h 536"/>
                  <a:gd name="T24" fmla="*/ 2147483646 w 464"/>
                  <a:gd name="T25" fmla="*/ 2147483646 h 536"/>
                  <a:gd name="T26" fmla="*/ 2147483646 w 464"/>
                  <a:gd name="T27" fmla="*/ 2147483646 h 536"/>
                  <a:gd name="T28" fmla="*/ 2147483646 w 464"/>
                  <a:gd name="T29" fmla="*/ 2147483646 h 536"/>
                  <a:gd name="T30" fmla="*/ 2147483646 w 464"/>
                  <a:gd name="T31" fmla="*/ 0 h 536"/>
                  <a:gd name="T32" fmla="*/ 2147483646 w 464"/>
                  <a:gd name="T33" fmla="*/ 2147483646 h 536"/>
                  <a:gd name="T34" fmla="*/ 2147483646 w 464"/>
                  <a:gd name="T35" fmla="*/ 2147483646 h 536"/>
                  <a:gd name="T36" fmla="*/ 2147483646 w 464"/>
                  <a:gd name="T37" fmla="*/ 2147483646 h 536"/>
                  <a:gd name="T38" fmla="*/ 2147483646 w 464"/>
                  <a:gd name="T39" fmla="*/ 2147483646 h 536"/>
                  <a:gd name="T40" fmla="*/ 2147483646 w 464"/>
                  <a:gd name="T41" fmla="*/ 2147483646 h 536"/>
                  <a:gd name="T42" fmla="*/ 2147483646 w 464"/>
                  <a:gd name="T43" fmla="*/ 2147483646 h 536"/>
                  <a:gd name="T44" fmla="*/ 2147483646 w 464"/>
                  <a:gd name="T45" fmla="*/ 2147483646 h 536"/>
                  <a:gd name="T46" fmla="*/ 2147483646 w 464"/>
                  <a:gd name="T47" fmla="*/ 2147483646 h 536"/>
                  <a:gd name="T48" fmla="*/ 2147483646 w 464"/>
                  <a:gd name="T49" fmla="*/ 2147483646 h 536"/>
                  <a:gd name="T50" fmla="*/ 2147483646 w 464"/>
                  <a:gd name="T51" fmla="*/ 2147483646 h 536"/>
                  <a:gd name="T52" fmla="*/ 2147483646 w 464"/>
                  <a:gd name="T53" fmla="*/ 2147483646 h 536"/>
                  <a:gd name="T54" fmla="*/ 2147483646 w 464"/>
                  <a:gd name="T55" fmla="*/ 2147483646 h 536"/>
                  <a:gd name="T56" fmla="*/ 2147483646 w 464"/>
                  <a:gd name="T57" fmla="*/ 2147483646 h 536"/>
                  <a:gd name="T58" fmla="*/ 2147483646 w 464"/>
                  <a:gd name="T59" fmla="*/ 2147483646 h 536"/>
                  <a:gd name="T60" fmla="*/ 2147483646 w 464"/>
                  <a:gd name="T61" fmla="*/ 2147483646 h 536"/>
                  <a:gd name="T62" fmla="*/ 2147483646 w 464"/>
                  <a:gd name="T63" fmla="*/ 2147483646 h 536"/>
                  <a:gd name="T64" fmla="*/ 2147483646 w 464"/>
                  <a:gd name="T65" fmla="*/ 2147483646 h 536"/>
                  <a:gd name="T66" fmla="*/ 2147483646 w 464"/>
                  <a:gd name="T67" fmla="*/ 2147483646 h 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536"/>
                  <a:gd name="T104" fmla="*/ 464 w 464"/>
                  <a:gd name="T105" fmla="*/ 536 h 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536">
                    <a:moveTo>
                      <a:pt x="160" y="456"/>
                    </a:moveTo>
                    <a:lnTo>
                      <a:pt x="144" y="384"/>
                    </a:lnTo>
                    <a:lnTo>
                      <a:pt x="72" y="336"/>
                    </a:lnTo>
                    <a:lnTo>
                      <a:pt x="72" y="288"/>
                    </a:lnTo>
                    <a:lnTo>
                      <a:pt x="24" y="224"/>
                    </a:lnTo>
                    <a:lnTo>
                      <a:pt x="0" y="104"/>
                    </a:lnTo>
                    <a:lnTo>
                      <a:pt x="72" y="72"/>
                    </a:lnTo>
                    <a:lnTo>
                      <a:pt x="80" y="48"/>
                    </a:lnTo>
                    <a:lnTo>
                      <a:pt x="128" y="48"/>
                    </a:lnTo>
                    <a:lnTo>
                      <a:pt x="152" y="56"/>
                    </a:lnTo>
                    <a:lnTo>
                      <a:pt x="152" y="88"/>
                    </a:lnTo>
                    <a:lnTo>
                      <a:pt x="152" y="120"/>
                    </a:lnTo>
                    <a:lnTo>
                      <a:pt x="200" y="88"/>
                    </a:lnTo>
                    <a:lnTo>
                      <a:pt x="208" y="40"/>
                    </a:lnTo>
                    <a:lnTo>
                      <a:pt x="280" y="32"/>
                    </a:lnTo>
                    <a:lnTo>
                      <a:pt x="312" y="0"/>
                    </a:lnTo>
                    <a:lnTo>
                      <a:pt x="344" y="32"/>
                    </a:lnTo>
                    <a:lnTo>
                      <a:pt x="424" y="40"/>
                    </a:lnTo>
                    <a:lnTo>
                      <a:pt x="400" y="96"/>
                    </a:lnTo>
                    <a:lnTo>
                      <a:pt x="432" y="200"/>
                    </a:lnTo>
                    <a:lnTo>
                      <a:pt x="408" y="232"/>
                    </a:lnTo>
                    <a:lnTo>
                      <a:pt x="440" y="280"/>
                    </a:lnTo>
                    <a:lnTo>
                      <a:pt x="440" y="360"/>
                    </a:lnTo>
                    <a:lnTo>
                      <a:pt x="392" y="400"/>
                    </a:lnTo>
                    <a:lnTo>
                      <a:pt x="448" y="424"/>
                    </a:lnTo>
                    <a:lnTo>
                      <a:pt x="464" y="480"/>
                    </a:lnTo>
                    <a:lnTo>
                      <a:pt x="464" y="512"/>
                    </a:lnTo>
                    <a:lnTo>
                      <a:pt x="432" y="504"/>
                    </a:lnTo>
                    <a:lnTo>
                      <a:pt x="384" y="528"/>
                    </a:lnTo>
                    <a:lnTo>
                      <a:pt x="320" y="512"/>
                    </a:lnTo>
                    <a:lnTo>
                      <a:pt x="304" y="536"/>
                    </a:lnTo>
                    <a:lnTo>
                      <a:pt x="248" y="520"/>
                    </a:lnTo>
                    <a:lnTo>
                      <a:pt x="232" y="496"/>
                    </a:lnTo>
                    <a:lnTo>
                      <a:pt x="160" y="456"/>
                    </a:lnTo>
                    <a:close/>
                  </a:path>
                </a:pathLst>
              </a:custGeom>
              <a:solidFill>
                <a:srgbClr val="898593"/>
              </a:solidFill>
              <a:ln w="9525">
                <a:solidFill>
                  <a:schemeClr val="bg1"/>
                </a:solidFill>
                <a:round/>
                <a:headEnd/>
                <a:tailEnd/>
              </a:ln>
            </p:spPr>
            <p:txBody>
              <a:bodyPr/>
              <a:lstStyle/>
              <a:p>
                <a:endParaRPr lang="en-US" sz="1050"/>
              </a:p>
            </p:txBody>
          </p:sp>
          <p:sp>
            <p:nvSpPr>
              <p:cNvPr id="114" name="Freeform 22"/>
              <p:cNvSpPr>
                <a:spLocks/>
              </p:cNvSpPr>
              <p:nvPr/>
            </p:nvSpPr>
            <p:spPr bwMode="auto">
              <a:xfrm>
                <a:off x="1901372" y="3635170"/>
                <a:ext cx="728239" cy="891135"/>
              </a:xfrm>
              <a:custGeom>
                <a:avLst/>
                <a:gdLst>
                  <a:gd name="T0" fmla="*/ 2147483646 w 608"/>
                  <a:gd name="T1" fmla="*/ 0 h 744"/>
                  <a:gd name="T2" fmla="*/ 2147483646 w 608"/>
                  <a:gd name="T3" fmla="*/ 2147483646 h 744"/>
                  <a:gd name="T4" fmla="*/ 2147483646 w 608"/>
                  <a:gd name="T5" fmla="*/ 2147483646 h 744"/>
                  <a:gd name="T6" fmla="*/ 2147483646 w 608"/>
                  <a:gd name="T7" fmla="*/ 2147483646 h 744"/>
                  <a:gd name="T8" fmla="*/ 2147483646 w 608"/>
                  <a:gd name="T9" fmla="*/ 2147483646 h 744"/>
                  <a:gd name="T10" fmla="*/ 2147483646 w 608"/>
                  <a:gd name="T11" fmla="*/ 2147483646 h 744"/>
                  <a:gd name="T12" fmla="*/ 2147483646 w 608"/>
                  <a:gd name="T13" fmla="*/ 2147483646 h 744"/>
                  <a:gd name="T14" fmla="*/ 2147483646 w 608"/>
                  <a:gd name="T15" fmla="*/ 2147483646 h 744"/>
                  <a:gd name="T16" fmla="*/ 2147483646 w 608"/>
                  <a:gd name="T17" fmla="*/ 2147483646 h 744"/>
                  <a:gd name="T18" fmla="*/ 2147483646 w 608"/>
                  <a:gd name="T19" fmla="*/ 2147483646 h 744"/>
                  <a:gd name="T20" fmla="*/ 2147483646 w 608"/>
                  <a:gd name="T21" fmla="*/ 2147483646 h 744"/>
                  <a:gd name="T22" fmla="*/ 2147483646 w 608"/>
                  <a:gd name="T23" fmla="*/ 2147483646 h 744"/>
                  <a:gd name="T24" fmla="*/ 2147483646 w 608"/>
                  <a:gd name="T25" fmla="*/ 2147483646 h 744"/>
                  <a:gd name="T26" fmla="*/ 2147483646 w 608"/>
                  <a:gd name="T27" fmla="*/ 2147483646 h 744"/>
                  <a:gd name="T28" fmla="*/ 2147483646 w 608"/>
                  <a:gd name="T29" fmla="*/ 2147483646 h 744"/>
                  <a:gd name="T30" fmla="*/ 2147483646 w 608"/>
                  <a:gd name="T31" fmla="*/ 2147483646 h 744"/>
                  <a:gd name="T32" fmla="*/ 2147483646 w 608"/>
                  <a:gd name="T33" fmla="*/ 2147483646 h 744"/>
                  <a:gd name="T34" fmla="*/ 2147483646 w 608"/>
                  <a:gd name="T35" fmla="*/ 2147483646 h 744"/>
                  <a:gd name="T36" fmla="*/ 2147483646 w 608"/>
                  <a:gd name="T37" fmla="*/ 2147483646 h 744"/>
                  <a:gd name="T38" fmla="*/ 2147483646 w 608"/>
                  <a:gd name="T39" fmla="*/ 2147483646 h 744"/>
                  <a:gd name="T40" fmla="*/ 2147483646 w 608"/>
                  <a:gd name="T41" fmla="*/ 2147483646 h 744"/>
                  <a:gd name="T42" fmla="*/ 2147483646 w 608"/>
                  <a:gd name="T43" fmla="*/ 2147483646 h 744"/>
                  <a:gd name="T44" fmla="*/ 2147483646 w 608"/>
                  <a:gd name="T45" fmla="*/ 2147483646 h 744"/>
                  <a:gd name="T46" fmla="*/ 2147483646 w 608"/>
                  <a:gd name="T47" fmla="*/ 2147483646 h 744"/>
                  <a:gd name="T48" fmla="*/ 2147483646 w 608"/>
                  <a:gd name="T49" fmla="*/ 2147483646 h 744"/>
                  <a:gd name="T50" fmla="*/ 2147483646 w 608"/>
                  <a:gd name="T51" fmla="*/ 2147483646 h 744"/>
                  <a:gd name="T52" fmla="*/ 2147483646 w 608"/>
                  <a:gd name="T53" fmla="*/ 2147483646 h 744"/>
                  <a:gd name="T54" fmla="*/ 2147483646 w 608"/>
                  <a:gd name="T55" fmla="*/ 2147483646 h 744"/>
                  <a:gd name="T56" fmla="*/ 2147483646 w 608"/>
                  <a:gd name="T57" fmla="*/ 2147483646 h 744"/>
                  <a:gd name="T58" fmla="*/ 0 w 608"/>
                  <a:gd name="T59" fmla="*/ 2147483646 h 744"/>
                  <a:gd name="T60" fmla="*/ 2147483646 w 608"/>
                  <a:gd name="T61" fmla="*/ 2147483646 h 744"/>
                  <a:gd name="T62" fmla="*/ 2147483646 w 608"/>
                  <a:gd name="T63" fmla="*/ 2147483646 h 744"/>
                  <a:gd name="T64" fmla="*/ 2147483646 w 608"/>
                  <a:gd name="T65" fmla="*/ 2147483646 h 744"/>
                  <a:gd name="T66" fmla="*/ 2147483646 w 608"/>
                  <a:gd name="T67" fmla="*/ 2147483646 h 744"/>
                  <a:gd name="T68" fmla="*/ 2147483646 w 608"/>
                  <a:gd name="T69" fmla="*/ 2147483646 h 744"/>
                  <a:gd name="T70" fmla="*/ 2147483646 w 608"/>
                  <a:gd name="T71" fmla="*/ 2147483646 h 744"/>
                  <a:gd name="T72" fmla="*/ 2147483646 w 608"/>
                  <a:gd name="T73" fmla="*/ 0 h 7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744"/>
                  <a:gd name="T113" fmla="*/ 608 w 608"/>
                  <a:gd name="T114" fmla="*/ 744 h 7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744">
                    <a:moveTo>
                      <a:pt x="184" y="0"/>
                    </a:moveTo>
                    <a:lnTo>
                      <a:pt x="224" y="32"/>
                    </a:lnTo>
                    <a:lnTo>
                      <a:pt x="296" y="32"/>
                    </a:lnTo>
                    <a:lnTo>
                      <a:pt x="304" y="104"/>
                    </a:lnTo>
                    <a:lnTo>
                      <a:pt x="352" y="136"/>
                    </a:lnTo>
                    <a:lnTo>
                      <a:pt x="352" y="160"/>
                    </a:lnTo>
                    <a:lnTo>
                      <a:pt x="320" y="168"/>
                    </a:lnTo>
                    <a:lnTo>
                      <a:pt x="368" y="224"/>
                    </a:lnTo>
                    <a:lnTo>
                      <a:pt x="440" y="208"/>
                    </a:lnTo>
                    <a:lnTo>
                      <a:pt x="440" y="256"/>
                    </a:lnTo>
                    <a:lnTo>
                      <a:pt x="472" y="296"/>
                    </a:lnTo>
                    <a:lnTo>
                      <a:pt x="496" y="480"/>
                    </a:lnTo>
                    <a:lnTo>
                      <a:pt x="552" y="528"/>
                    </a:lnTo>
                    <a:lnTo>
                      <a:pt x="600" y="600"/>
                    </a:lnTo>
                    <a:lnTo>
                      <a:pt x="608" y="672"/>
                    </a:lnTo>
                    <a:lnTo>
                      <a:pt x="552" y="704"/>
                    </a:lnTo>
                    <a:lnTo>
                      <a:pt x="424" y="704"/>
                    </a:lnTo>
                    <a:lnTo>
                      <a:pt x="312" y="744"/>
                    </a:lnTo>
                    <a:lnTo>
                      <a:pt x="200" y="712"/>
                    </a:lnTo>
                    <a:lnTo>
                      <a:pt x="152" y="720"/>
                    </a:lnTo>
                    <a:lnTo>
                      <a:pt x="144" y="640"/>
                    </a:lnTo>
                    <a:lnTo>
                      <a:pt x="184" y="608"/>
                    </a:lnTo>
                    <a:lnTo>
                      <a:pt x="120" y="512"/>
                    </a:lnTo>
                    <a:lnTo>
                      <a:pt x="96" y="472"/>
                    </a:lnTo>
                    <a:lnTo>
                      <a:pt x="56" y="456"/>
                    </a:lnTo>
                    <a:lnTo>
                      <a:pt x="104" y="392"/>
                    </a:lnTo>
                    <a:lnTo>
                      <a:pt x="72" y="336"/>
                    </a:lnTo>
                    <a:lnTo>
                      <a:pt x="32" y="328"/>
                    </a:lnTo>
                    <a:lnTo>
                      <a:pt x="32" y="280"/>
                    </a:lnTo>
                    <a:lnTo>
                      <a:pt x="0" y="272"/>
                    </a:lnTo>
                    <a:lnTo>
                      <a:pt x="16" y="240"/>
                    </a:lnTo>
                    <a:lnTo>
                      <a:pt x="48" y="224"/>
                    </a:lnTo>
                    <a:lnTo>
                      <a:pt x="48" y="200"/>
                    </a:lnTo>
                    <a:lnTo>
                      <a:pt x="88" y="176"/>
                    </a:lnTo>
                    <a:lnTo>
                      <a:pt x="96" y="104"/>
                    </a:lnTo>
                    <a:lnTo>
                      <a:pt x="144" y="104"/>
                    </a:lnTo>
                    <a:lnTo>
                      <a:pt x="184" y="0"/>
                    </a:lnTo>
                    <a:close/>
                  </a:path>
                </a:pathLst>
              </a:custGeom>
              <a:solidFill>
                <a:srgbClr val="CABC80"/>
              </a:solidFill>
              <a:ln w="9525">
                <a:solidFill>
                  <a:schemeClr val="bg1"/>
                </a:solidFill>
                <a:round/>
                <a:headEnd/>
                <a:tailEnd/>
              </a:ln>
            </p:spPr>
            <p:txBody>
              <a:bodyPr/>
              <a:lstStyle/>
              <a:p>
                <a:endParaRPr lang="en-US" sz="1050"/>
              </a:p>
            </p:txBody>
          </p:sp>
          <p:sp>
            <p:nvSpPr>
              <p:cNvPr id="115" name="Freeform 23"/>
              <p:cNvSpPr>
                <a:spLocks/>
              </p:cNvSpPr>
              <p:nvPr/>
            </p:nvSpPr>
            <p:spPr bwMode="auto">
              <a:xfrm>
                <a:off x="5004812" y="4335816"/>
                <a:ext cx="958210" cy="689911"/>
              </a:xfrm>
              <a:custGeom>
                <a:avLst/>
                <a:gdLst>
                  <a:gd name="T0" fmla="*/ 2147483646 w 800"/>
                  <a:gd name="T1" fmla="*/ 2147483646 h 576"/>
                  <a:gd name="T2" fmla="*/ 0 w 800"/>
                  <a:gd name="T3" fmla="*/ 2147483646 h 576"/>
                  <a:gd name="T4" fmla="*/ 2147483646 w 800"/>
                  <a:gd name="T5" fmla="*/ 2147483646 h 576"/>
                  <a:gd name="T6" fmla="*/ 2147483646 w 800"/>
                  <a:gd name="T7" fmla="*/ 2147483646 h 576"/>
                  <a:gd name="T8" fmla="*/ 2147483646 w 800"/>
                  <a:gd name="T9" fmla="*/ 2147483646 h 576"/>
                  <a:gd name="T10" fmla="*/ 2147483646 w 800"/>
                  <a:gd name="T11" fmla="*/ 2147483646 h 576"/>
                  <a:gd name="T12" fmla="*/ 2147483646 w 800"/>
                  <a:gd name="T13" fmla="*/ 2147483646 h 576"/>
                  <a:gd name="T14" fmla="*/ 2147483646 w 800"/>
                  <a:gd name="T15" fmla="*/ 2147483646 h 576"/>
                  <a:gd name="T16" fmla="*/ 2147483646 w 800"/>
                  <a:gd name="T17" fmla="*/ 2147483646 h 576"/>
                  <a:gd name="T18" fmla="*/ 2147483646 w 800"/>
                  <a:gd name="T19" fmla="*/ 2147483646 h 576"/>
                  <a:gd name="T20" fmla="*/ 2147483646 w 800"/>
                  <a:gd name="T21" fmla="*/ 2147483646 h 576"/>
                  <a:gd name="T22" fmla="*/ 2147483646 w 800"/>
                  <a:gd name="T23" fmla="*/ 2147483646 h 576"/>
                  <a:gd name="T24" fmla="*/ 2147483646 w 800"/>
                  <a:gd name="T25" fmla="*/ 2147483646 h 576"/>
                  <a:gd name="T26" fmla="*/ 2147483646 w 800"/>
                  <a:gd name="T27" fmla="*/ 2147483646 h 576"/>
                  <a:gd name="T28" fmla="*/ 2147483646 w 800"/>
                  <a:gd name="T29" fmla="*/ 2147483646 h 576"/>
                  <a:gd name="T30" fmla="*/ 2147483646 w 800"/>
                  <a:gd name="T31" fmla="*/ 2147483646 h 576"/>
                  <a:gd name="T32" fmla="*/ 2147483646 w 800"/>
                  <a:gd name="T33" fmla="*/ 2147483646 h 576"/>
                  <a:gd name="T34" fmla="*/ 2147483646 w 800"/>
                  <a:gd name="T35" fmla="*/ 2147483646 h 576"/>
                  <a:gd name="T36" fmla="*/ 2147483646 w 800"/>
                  <a:gd name="T37" fmla="*/ 2147483646 h 576"/>
                  <a:gd name="T38" fmla="*/ 2147483646 w 800"/>
                  <a:gd name="T39" fmla="*/ 2147483646 h 576"/>
                  <a:gd name="T40" fmla="*/ 2147483646 w 800"/>
                  <a:gd name="T41" fmla="*/ 2147483646 h 576"/>
                  <a:gd name="T42" fmla="*/ 2147483646 w 800"/>
                  <a:gd name="T43" fmla="*/ 2147483646 h 576"/>
                  <a:gd name="T44" fmla="*/ 2147483646 w 800"/>
                  <a:gd name="T45" fmla="*/ 2147483646 h 576"/>
                  <a:gd name="T46" fmla="*/ 2147483646 w 800"/>
                  <a:gd name="T47" fmla="*/ 2147483646 h 576"/>
                  <a:gd name="T48" fmla="*/ 2147483646 w 800"/>
                  <a:gd name="T49" fmla="*/ 2147483646 h 576"/>
                  <a:gd name="T50" fmla="*/ 2147483646 w 800"/>
                  <a:gd name="T51" fmla="*/ 2147483646 h 576"/>
                  <a:gd name="T52" fmla="*/ 2147483646 w 800"/>
                  <a:gd name="T53" fmla="*/ 2147483646 h 576"/>
                  <a:gd name="T54" fmla="*/ 2147483646 w 800"/>
                  <a:gd name="T55" fmla="*/ 2147483646 h 576"/>
                  <a:gd name="T56" fmla="*/ 2147483646 w 800"/>
                  <a:gd name="T57" fmla="*/ 2147483646 h 576"/>
                  <a:gd name="T58" fmla="*/ 2147483646 w 800"/>
                  <a:gd name="T59" fmla="*/ 2147483646 h 576"/>
                  <a:gd name="T60" fmla="*/ 2147483646 w 800"/>
                  <a:gd name="T61" fmla="*/ 2147483646 h 576"/>
                  <a:gd name="T62" fmla="*/ 2147483646 w 800"/>
                  <a:gd name="T63" fmla="*/ 2147483646 h 576"/>
                  <a:gd name="T64" fmla="*/ 2147483646 w 800"/>
                  <a:gd name="T65" fmla="*/ 2147483646 h 576"/>
                  <a:gd name="T66" fmla="*/ 2147483646 w 800"/>
                  <a:gd name="T67" fmla="*/ 0 h 576"/>
                  <a:gd name="T68" fmla="*/ 2147483646 w 800"/>
                  <a:gd name="T69" fmla="*/ 2147483646 h 576"/>
                  <a:gd name="T70" fmla="*/ 2147483646 w 800"/>
                  <a:gd name="T71" fmla="*/ 2147483646 h 576"/>
                  <a:gd name="T72" fmla="*/ 2147483646 w 800"/>
                  <a:gd name="T73" fmla="*/ 2147483646 h 576"/>
                  <a:gd name="T74" fmla="*/ 2147483646 w 800"/>
                  <a:gd name="T75" fmla="*/ 2147483646 h 576"/>
                  <a:gd name="T76" fmla="*/ 2147483646 w 800"/>
                  <a:gd name="T77" fmla="*/ 2147483646 h 576"/>
                  <a:gd name="T78" fmla="*/ 2147483646 w 800"/>
                  <a:gd name="T79" fmla="*/ 2147483646 h 576"/>
                  <a:gd name="T80" fmla="*/ 2147483646 w 800"/>
                  <a:gd name="T81" fmla="*/ 2147483646 h 576"/>
                  <a:gd name="T82" fmla="*/ 2147483646 w 800"/>
                  <a:gd name="T83" fmla="*/ 2147483646 h 576"/>
                  <a:gd name="T84" fmla="*/ 2147483646 w 800"/>
                  <a:gd name="T85" fmla="*/ 2147483646 h 576"/>
                  <a:gd name="T86" fmla="*/ 2147483646 w 800"/>
                  <a:gd name="T87" fmla="*/ 2147483646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0"/>
                  <a:gd name="T133" fmla="*/ 0 h 576"/>
                  <a:gd name="T134" fmla="*/ 800 w 800"/>
                  <a:gd name="T135" fmla="*/ 576 h 5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0" h="576">
                    <a:moveTo>
                      <a:pt x="96" y="48"/>
                    </a:moveTo>
                    <a:lnTo>
                      <a:pt x="64" y="40"/>
                    </a:lnTo>
                    <a:lnTo>
                      <a:pt x="16" y="64"/>
                    </a:lnTo>
                    <a:lnTo>
                      <a:pt x="0" y="136"/>
                    </a:lnTo>
                    <a:lnTo>
                      <a:pt x="40" y="168"/>
                    </a:lnTo>
                    <a:lnTo>
                      <a:pt x="80" y="160"/>
                    </a:lnTo>
                    <a:lnTo>
                      <a:pt x="56" y="208"/>
                    </a:lnTo>
                    <a:lnTo>
                      <a:pt x="104" y="240"/>
                    </a:lnTo>
                    <a:lnTo>
                      <a:pt x="72" y="256"/>
                    </a:lnTo>
                    <a:lnTo>
                      <a:pt x="88" y="392"/>
                    </a:lnTo>
                    <a:lnTo>
                      <a:pt x="56" y="464"/>
                    </a:lnTo>
                    <a:lnTo>
                      <a:pt x="104" y="496"/>
                    </a:lnTo>
                    <a:lnTo>
                      <a:pt x="168" y="488"/>
                    </a:lnTo>
                    <a:lnTo>
                      <a:pt x="208" y="576"/>
                    </a:lnTo>
                    <a:lnTo>
                      <a:pt x="232" y="512"/>
                    </a:lnTo>
                    <a:lnTo>
                      <a:pt x="264" y="552"/>
                    </a:lnTo>
                    <a:lnTo>
                      <a:pt x="288" y="536"/>
                    </a:lnTo>
                    <a:lnTo>
                      <a:pt x="400" y="544"/>
                    </a:lnTo>
                    <a:lnTo>
                      <a:pt x="400" y="512"/>
                    </a:lnTo>
                    <a:lnTo>
                      <a:pt x="456" y="464"/>
                    </a:lnTo>
                    <a:lnTo>
                      <a:pt x="464" y="424"/>
                    </a:lnTo>
                    <a:lnTo>
                      <a:pt x="432" y="392"/>
                    </a:lnTo>
                    <a:lnTo>
                      <a:pt x="424" y="352"/>
                    </a:lnTo>
                    <a:lnTo>
                      <a:pt x="456" y="312"/>
                    </a:lnTo>
                    <a:lnTo>
                      <a:pt x="496" y="304"/>
                    </a:lnTo>
                    <a:lnTo>
                      <a:pt x="544" y="320"/>
                    </a:lnTo>
                    <a:lnTo>
                      <a:pt x="504" y="352"/>
                    </a:lnTo>
                    <a:lnTo>
                      <a:pt x="512" y="416"/>
                    </a:lnTo>
                    <a:lnTo>
                      <a:pt x="536" y="408"/>
                    </a:lnTo>
                    <a:lnTo>
                      <a:pt x="544" y="392"/>
                    </a:lnTo>
                    <a:lnTo>
                      <a:pt x="560" y="424"/>
                    </a:lnTo>
                    <a:lnTo>
                      <a:pt x="536" y="456"/>
                    </a:lnTo>
                    <a:lnTo>
                      <a:pt x="496" y="480"/>
                    </a:lnTo>
                    <a:lnTo>
                      <a:pt x="496" y="504"/>
                    </a:lnTo>
                    <a:lnTo>
                      <a:pt x="472" y="512"/>
                    </a:lnTo>
                    <a:lnTo>
                      <a:pt x="456" y="504"/>
                    </a:lnTo>
                    <a:lnTo>
                      <a:pt x="440" y="520"/>
                    </a:lnTo>
                    <a:lnTo>
                      <a:pt x="424" y="544"/>
                    </a:lnTo>
                    <a:lnTo>
                      <a:pt x="400" y="552"/>
                    </a:lnTo>
                    <a:lnTo>
                      <a:pt x="400" y="568"/>
                    </a:lnTo>
                    <a:lnTo>
                      <a:pt x="432" y="552"/>
                    </a:lnTo>
                    <a:lnTo>
                      <a:pt x="456" y="528"/>
                    </a:lnTo>
                    <a:lnTo>
                      <a:pt x="472" y="520"/>
                    </a:lnTo>
                    <a:lnTo>
                      <a:pt x="488" y="528"/>
                    </a:lnTo>
                    <a:lnTo>
                      <a:pt x="472" y="544"/>
                    </a:lnTo>
                    <a:lnTo>
                      <a:pt x="488" y="544"/>
                    </a:lnTo>
                    <a:lnTo>
                      <a:pt x="496" y="520"/>
                    </a:lnTo>
                    <a:lnTo>
                      <a:pt x="512" y="496"/>
                    </a:lnTo>
                    <a:lnTo>
                      <a:pt x="528" y="480"/>
                    </a:lnTo>
                    <a:lnTo>
                      <a:pt x="552" y="456"/>
                    </a:lnTo>
                    <a:lnTo>
                      <a:pt x="576" y="448"/>
                    </a:lnTo>
                    <a:lnTo>
                      <a:pt x="632" y="432"/>
                    </a:lnTo>
                    <a:lnTo>
                      <a:pt x="704" y="424"/>
                    </a:lnTo>
                    <a:lnTo>
                      <a:pt x="744" y="416"/>
                    </a:lnTo>
                    <a:lnTo>
                      <a:pt x="768" y="408"/>
                    </a:lnTo>
                    <a:lnTo>
                      <a:pt x="776" y="376"/>
                    </a:lnTo>
                    <a:lnTo>
                      <a:pt x="784" y="344"/>
                    </a:lnTo>
                    <a:lnTo>
                      <a:pt x="800" y="272"/>
                    </a:lnTo>
                    <a:lnTo>
                      <a:pt x="800" y="232"/>
                    </a:lnTo>
                    <a:lnTo>
                      <a:pt x="800" y="192"/>
                    </a:lnTo>
                    <a:lnTo>
                      <a:pt x="792" y="184"/>
                    </a:lnTo>
                    <a:lnTo>
                      <a:pt x="768" y="152"/>
                    </a:lnTo>
                    <a:lnTo>
                      <a:pt x="800" y="136"/>
                    </a:lnTo>
                    <a:lnTo>
                      <a:pt x="800" y="88"/>
                    </a:lnTo>
                    <a:lnTo>
                      <a:pt x="776" y="56"/>
                    </a:lnTo>
                    <a:lnTo>
                      <a:pt x="736" y="16"/>
                    </a:lnTo>
                    <a:lnTo>
                      <a:pt x="656" y="8"/>
                    </a:lnTo>
                    <a:lnTo>
                      <a:pt x="608" y="0"/>
                    </a:lnTo>
                    <a:lnTo>
                      <a:pt x="576" y="16"/>
                    </a:lnTo>
                    <a:lnTo>
                      <a:pt x="552" y="48"/>
                    </a:lnTo>
                    <a:lnTo>
                      <a:pt x="496" y="72"/>
                    </a:lnTo>
                    <a:lnTo>
                      <a:pt x="488" y="96"/>
                    </a:lnTo>
                    <a:lnTo>
                      <a:pt x="464" y="88"/>
                    </a:lnTo>
                    <a:lnTo>
                      <a:pt x="448" y="128"/>
                    </a:lnTo>
                    <a:lnTo>
                      <a:pt x="392" y="96"/>
                    </a:lnTo>
                    <a:lnTo>
                      <a:pt x="376" y="88"/>
                    </a:lnTo>
                    <a:lnTo>
                      <a:pt x="376" y="120"/>
                    </a:lnTo>
                    <a:lnTo>
                      <a:pt x="368" y="128"/>
                    </a:lnTo>
                    <a:lnTo>
                      <a:pt x="392" y="152"/>
                    </a:lnTo>
                    <a:lnTo>
                      <a:pt x="368" y="168"/>
                    </a:lnTo>
                    <a:lnTo>
                      <a:pt x="312" y="152"/>
                    </a:lnTo>
                    <a:lnTo>
                      <a:pt x="272" y="152"/>
                    </a:lnTo>
                    <a:lnTo>
                      <a:pt x="200" y="112"/>
                    </a:lnTo>
                    <a:lnTo>
                      <a:pt x="168" y="104"/>
                    </a:lnTo>
                    <a:lnTo>
                      <a:pt x="136" y="56"/>
                    </a:lnTo>
                    <a:lnTo>
                      <a:pt x="136" y="16"/>
                    </a:lnTo>
                    <a:lnTo>
                      <a:pt x="96" y="32"/>
                    </a:lnTo>
                    <a:lnTo>
                      <a:pt x="96" y="48"/>
                    </a:lnTo>
                    <a:close/>
                  </a:path>
                </a:pathLst>
              </a:custGeom>
              <a:solidFill>
                <a:srgbClr val="898593"/>
              </a:solidFill>
              <a:ln w="9525">
                <a:solidFill>
                  <a:schemeClr val="bg1"/>
                </a:solidFill>
                <a:round/>
                <a:headEnd/>
                <a:tailEnd/>
              </a:ln>
            </p:spPr>
            <p:txBody>
              <a:bodyPr/>
              <a:lstStyle/>
              <a:p>
                <a:endParaRPr lang="en-US" sz="1050"/>
              </a:p>
            </p:txBody>
          </p:sp>
          <p:sp>
            <p:nvSpPr>
              <p:cNvPr id="116" name="Freeform 24"/>
              <p:cNvSpPr>
                <a:spLocks/>
              </p:cNvSpPr>
              <p:nvPr/>
            </p:nvSpPr>
            <p:spPr bwMode="auto">
              <a:xfrm>
                <a:off x="4457060" y="4327699"/>
                <a:ext cx="670747" cy="603672"/>
              </a:xfrm>
              <a:custGeom>
                <a:avLst/>
                <a:gdLst>
                  <a:gd name="T0" fmla="*/ 2147483646 w 560"/>
                  <a:gd name="T1" fmla="*/ 2147483646 h 504"/>
                  <a:gd name="T2" fmla="*/ 2147483646 w 560"/>
                  <a:gd name="T3" fmla="*/ 2147483646 h 504"/>
                  <a:gd name="T4" fmla="*/ 2147483646 w 560"/>
                  <a:gd name="T5" fmla="*/ 2147483646 h 504"/>
                  <a:gd name="T6" fmla="*/ 2147483646 w 560"/>
                  <a:gd name="T7" fmla="*/ 2147483646 h 504"/>
                  <a:gd name="T8" fmla="*/ 2147483646 w 560"/>
                  <a:gd name="T9" fmla="*/ 2147483646 h 504"/>
                  <a:gd name="T10" fmla="*/ 2147483646 w 560"/>
                  <a:gd name="T11" fmla="*/ 2147483646 h 504"/>
                  <a:gd name="T12" fmla="*/ 2147483646 w 560"/>
                  <a:gd name="T13" fmla="*/ 2147483646 h 504"/>
                  <a:gd name="T14" fmla="*/ 2147483646 w 560"/>
                  <a:gd name="T15" fmla="*/ 2147483646 h 504"/>
                  <a:gd name="T16" fmla="*/ 2147483646 w 560"/>
                  <a:gd name="T17" fmla="*/ 2147483646 h 504"/>
                  <a:gd name="T18" fmla="*/ 2147483646 w 560"/>
                  <a:gd name="T19" fmla="*/ 2147483646 h 504"/>
                  <a:gd name="T20" fmla="*/ 2147483646 w 560"/>
                  <a:gd name="T21" fmla="*/ 2147483646 h 504"/>
                  <a:gd name="T22" fmla="*/ 2147483646 w 560"/>
                  <a:gd name="T23" fmla="*/ 2147483646 h 504"/>
                  <a:gd name="T24" fmla="*/ 2147483646 w 560"/>
                  <a:gd name="T25" fmla="*/ 2147483646 h 504"/>
                  <a:gd name="T26" fmla="*/ 2147483646 w 560"/>
                  <a:gd name="T27" fmla="*/ 0 h 504"/>
                  <a:gd name="T28" fmla="*/ 2147483646 w 560"/>
                  <a:gd name="T29" fmla="*/ 2147483646 h 504"/>
                  <a:gd name="T30" fmla="*/ 2147483646 w 560"/>
                  <a:gd name="T31" fmla="*/ 2147483646 h 504"/>
                  <a:gd name="T32" fmla="*/ 2147483646 w 560"/>
                  <a:gd name="T33" fmla="*/ 2147483646 h 504"/>
                  <a:gd name="T34" fmla="*/ 2147483646 w 560"/>
                  <a:gd name="T35" fmla="*/ 2147483646 h 504"/>
                  <a:gd name="T36" fmla="*/ 2147483646 w 560"/>
                  <a:gd name="T37" fmla="*/ 2147483646 h 504"/>
                  <a:gd name="T38" fmla="*/ 2147483646 w 560"/>
                  <a:gd name="T39" fmla="*/ 2147483646 h 504"/>
                  <a:gd name="T40" fmla="*/ 2147483646 w 560"/>
                  <a:gd name="T41" fmla="*/ 2147483646 h 504"/>
                  <a:gd name="T42" fmla="*/ 0 w 560"/>
                  <a:gd name="T43" fmla="*/ 2147483646 h 504"/>
                  <a:gd name="T44" fmla="*/ 2147483646 w 560"/>
                  <a:gd name="T45" fmla="*/ 2147483646 h 504"/>
                  <a:gd name="T46" fmla="*/ 2147483646 w 560"/>
                  <a:gd name="T47" fmla="*/ 2147483646 h 504"/>
                  <a:gd name="T48" fmla="*/ 2147483646 w 560"/>
                  <a:gd name="T49" fmla="*/ 2147483646 h 504"/>
                  <a:gd name="T50" fmla="*/ 2147483646 w 560"/>
                  <a:gd name="T51" fmla="*/ 2147483646 h 504"/>
                  <a:gd name="T52" fmla="*/ 2147483646 w 560"/>
                  <a:gd name="T53" fmla="*/ 2147483646 h 504"/>
                  <a:gd name="T54" fmla="*/ 2147483646 w 560"/>
                  <a:gd name="T55" fmla="*/ 2147483646 h 504"/>
                  <a:gd name="T56" fmla="*/ 2147483646 w 560"/>
                  <a:gd name="T57" fmla="*/ 2147483646 h 504"/>
                  <a:gd name="T58" fmla="*/ 2147483646 w 560"/>
                  <a:gd name="T59" fmla="*/ 2147483646 h 504"/>
                  <a:gd name="T60" fmla="*/ 2147483646 w 560"/>
                  <a:gd name="T61" fmla="*/ 2147483646 h 504"/>
                  <a:gd name="T62" fmla="*/ 2147483646 w 560"/>
                  <a:gd name="T63" fmla="*/ 2147483646 h 504"/>
                  <a:gd name="T64" fmla="*/ 2147483646 w 560"/>
                  <a:gd name="T65" fmla="*/ 2147483646 h 504"/>
                  <a:gd name="T66" fmla="*/ 2147483646 w 560"/>
                  <a:gd name="T67" fmla="*/ 2147483646 h 504"/>
                  <a:gd name="T68" fmla="*/ 2147483646 w 560"/>
                  <a:gd name="T69" fmla="*/ 2147483646 h 504"/>
                  <a:gd name="T70" fmla="*/ 2147483646 w 560"/>
                  <a:gd name="T71" fmla="*/ 2147483646 h 504"/>
                  <a:gd name="T72" fmla="*/ 2147483646 w 560"/>
                  <a:gd name="T73" fmla="*/ 2147483646 h 504"/>
                  <a:gd name="T74" fmla="*/ 2147483646 w 560"/>
                  <a:gd name="T75" fmla="*/ 2147483646 h 504"/>
                  <a:gd name="T76" fmla="*/ 2147483646 w 560"/>
                  <a:gd name="T77" fmla="*/ 2147483646 h 504"/>
                  <a:gd name="T78" fmla="*/ 2147483646 w 560"/>
                  <a:gd name="T79" fmla="*/ 2147483646 h 5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0"/>
                  <a:gd name="T121" fmla="*/ 0 h 504"/>
                  <a:gd name="T122" fmla="*/ 560 w 560"/>
                  <a:gd name="T123" fmla="*/ 504 h 5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0" h="504">
                    <a:moveTo>
                      <a:pt x="512" y="472"/>
                    </a:moveTo>
                    <a:lnTo>
                      <a:pt x="544" y="400"/>
                    </a:lnTo>
                    <a:lnTo>
                      <a:pt x="528" y="264"/>
                    </a:lnTo>
                    <a:lnTo>
                      <a:pt x="560" y="248"/>
                    </a:lnTo>
                    <a:lnTo>
                      <a:pt x="512" y="216"/>
                    </a:lnTo>
                    <a:lnTo>
                      <a:pt x="536" y="168"/>
                    </a:lnTo>
                    <a:lnTo>
                      <a:pt x="496" y="176"/>
                    </a:lnTo>
                    <a:lnTo>
                      <a:pt x="456" y="144"/>
                    </a:lnTo>
                    <a:lnTo>
                      <a:pt x="472" y="72"/>
                    </a:lnTo>
                    <a:lnTo>
                      <a:pt x="408" y="56"/>
                    </a:lnTo>
                    <a:lnTo>
                      <a:pt x="392" y="80"/>
                    </a:lnTo>
                    <a:lnTo>
                      <a:pt x="336" y="64"/>
                    </a:lnTo>
                    <a:lnTo>
                      <a:pt x="320" y="40"/>
                    </a:lnTo>
                    <a:lnTo>
                      <a:pt x="248" y="0"/>
                    </a:lnTo>
                    <a:lnTo>
                      <a:pt x="184" y="32"/>
                    </a:lnTo>
                    <a:lnTo>
                      <a:pt x="176" y="80"/>
                    </a:lnTo>
                    <a:lnTo>
                      <a:pt x="168" y="136"/>
                    </a:lnTo>
                    <a:lnTo>
                      <a:pt x="144" y="152"/>
                    </a:lnTo>
                    <a:lnTo>
                      <a:pt x="160" y="200"/>
                    </a:lnTo>
                    <a:lnTo>
                      <a:pt x="136" y="216"/>
                    </a:lnTo>
                    <a:lnTo>
                      <a:pt x="64" y="184"/>
                    </a:lnTo>
                    <a:lnTo>
                      <a:pt x="0" y="256"/>
                    </a:lnTo>
                    <a:lnTo>
                      <a:pt x="24" y="280"/>
                    </a:lnTo>
                    <a:lnTo>
                      <a:pt x="64" y="256"/>
                    </a:lnTo>
                    <a:lnTo>
                      <a:pt x="80" y="328"/>
                    </a:lnTo>
                    <a:lnTo>
                      <a:pt x="120" y="360"/>
                    </a:lnTo>
                    <a:lnTo>
                      <a:pt x="88" y="432"/>
                    </a:lnTo>
                    <a:lnTo>
                      <a:pt x="104" y="496"/>
                    </a:lnTo>
                    <a:lnTo>
                      <a:pt x="144" y="488"/>
                    </a:lnTo>
                    <a:lnTo>
                      <a:pt x="152" y="456"/>
                    </a:lnTo>
                    <a:lnTo>
                      <a:pt x="184" y="448"/>
                    </a:lnTo>
                    <a:lnTo>
                      <a:pt x="216" y="488"/>
                    </a:lnTo>
                    <a:lnTo>
                      <a:pt x="232" y="448"/>
                    </a:lnTo>
                    <a:lnTo>
                      <a:pt x="272" y="480"/>
                    </a:lnTo>
                    <a:lnTo>
                      <a:pt x="344" y="496"/>
                    </a:lnTo>
                    <a:lnTo>
                      <a:pt x="392" y="456"/>
                    </a:lnTo>
                    <a:lnTo>
                      <a:pt x="408" y="496"/>
                    </a:lnTo>
                    <a:lnTo>
                      <a:pt x="464" y="480"/>
                    </a:lnTo>
                    <a:lnTo>
                      <a:pt x="496" y="504"/>
                    </a:lnTo>
                    <a:lnTo>
                      <a:pt x="512" y="472"/>
                    </a:lnTo>
                    <a:close/>
                  </a:path>
                </a:pathLst>
              </a:custGeom>
              <a:solidFill>
                <a:srgbClr val="898593"/>
              </a:solidFill>
              <a:ln w="9525">
                <a:solidFill>
                  <a:schemeClr val="bg1"/>
                </a:solidFill>
                <a:round/>
                <a:headEnd/>
                <a:tailEnd/>
              </a:ln>
            </p:spPr>
            <p:txBody>
              <a:bodyPr/>
              <a:lstStyle/>
              <a:p>
                <a:endParaRPr lang="en-US" sz="1050"/>
              </a:p>
            </p:txBody>
          </p:sp>
          <p:sp>
            <p:nvSpPr>
              <p:cNvPr id="117" name="Freeform 25"/>
              <p:cNvSpPr>
                <a:spLocks/>
              </p:cNvSpPr>
              <p:nvPr/>
            </p:nvSpPr>
            <p:spPr bwMode="auto">
              <a:xfrm>
                <a:off x="3947263" y="4095770"/>
                <a:ext cx="728240" cy="862390"/>
              </a:xfrm>
              <a:custGeom>
                <a:avLst/>
                <a:gdLst>
                  <a:gd name="T0" fmla="*/ 2147483646 w 608"/>
                  <a:gd name="T1" fmla="*/ 2147483646 h 720"/>
                  <a:gd name="T2" fmla="*/ 2147483646 w 608"/>
                  <a:gd name="T3" fmla="*/ 2147483646 h 720"/>
                  <a:gd name="T4" fmla="*/ 2147483646 w 608"/>
                  <a:gd name="T5" fmla="*/ 2147483646 h 720"/>
                  <a:gd name="T6" fmla="*/ 2147483646 w 608"/>
                  <a:gd name="T7" fmla="*/ 2147483646 h 720"/>
                  <a:gd name="T8" fmla="*/ 2147483646 w 608"/>
                  <a:gd name="T9" fmla="*/ 2147483646 h 720"/>
                  <a:gd name="T10" fmla="*/ 2147483646 w 608"/>
                  <a:gd name="T11" fmla="*/ 2147483646 h 720"/>
                  <a:gd name="T12" fmla="*/ 2147483646 w 608"/>
                  <a:gd name="T13" fmla="*/ 2147483646 h 720"/>
                  <a:gd name="T14" fmla="*/ 2147483646 w 608"/>
                  <a:gd name="T15" fmla="*/ 2147483646 h 720"/>
                  <a:gd name="T16" fmla="*/ 2147483646 w 608"/>
                  <a:gd name="T17" fmla="*/ 2147483646 h 720"/>
                  <a:gd name="T18" fmla="*/ 2147483646 w 608"/>
                  <a:gd name="T19" fmla="*/ 2147483646 h 720"/>
                  <a:gd name="T20" fmla="*/ 2147483646 w 608"/>
                  <a:gd name="T21" fmla="*/ 2147483646 h 720"/>
                  <a:gd name="T22" fmla="*/ 2147483646 w 608"/>
                  <a:gd name="T23" fmla="*/ 2147483646 h 720"/>
                  <a:gd name="T24" fmla="*/ 2147483646 w 608"/>
                  <a:gd name="T25" fmla="*/ 2147483646 h 720"/>
                  <a:gd name="T26" fmla="*/ 2147483646 w 608"/>
                  <a:gd name="T27" fmla="*/ 2147483646 h 720"/>
                  <a:gd name="T28" fmla="*/ 2147483646 w 608"/>
                  <a:gd name="T29" fmla="*/ 2147483646 h 720"/>
                  <a:gd name="T30" fmla="*/ 2147483646 w 608"/>
                  <a:gd name="T31" fmla="*/ 2147483646 h 720"/>
                  <a:gd name="T32" fmla="*/ 2147483646 w 608"/>
                  <a:gd name="T33" fmla="*/ 2147483646 h 720"/>
                  <a:gd name="T34" fmla="*/ 2147483646 w 608"/>
                  <a:gd name="T35" fmla="*/ 2147483646 h 720"/>
                  <a:gd name="T36" fmla="*/ 2147483646 w 608"/>
                  <a:gd name="T37" fmla="*/ 2147483646 h 720"/>
                  <a:gd name="T38" fmla="*/ 2147483646 w 608"/>
                  <a:gd name="T39" fmla="*/ 2147483646 h 720"/>
                  <a:gd name="T40" fmla="*/ 2147483646 w 608"/>
                  <a:gd name="T41" fmla="*/ 2147483646 h 720"/>
                  <a:gd name="T42" fmla="*/ 2147483646 w 608"/>
                  <a:gd name="T43" fmla="*/ 2147483646 h 720"/>
                  <a:gd name="T44" fmla="*/ 2147483646 w 608"/>
                  <a:gd name="T45" fmla="*/ 2147483646 h 720"/>
                  <a:gd name="T46" fmla="*/ 2147483646 w 608"/>
                  <a:gd name="T47" fmla="*/ 2147483646 h 720"/>
                  <a:gd name="T48" fmla="*/ 2147483646 w 608"/>
                  <a:gd name="T49" fmla="*/ 2147483646 h 720"/>
                  <a:gd name="T50" fmla="*/ 2147483646 w 608"/>
                  <a:gd name="T51" fmla="*/ 2147483646 h 720"/>
                  <a:gd name="T52" fmla="*/ 2147483646 w 608"/>
                  <a:gd name="T53" fmla="*/ 0 h 720"/>
                  <a:gd name="T54" fmla="*/ 2147483646 w 608"/>
                  <a:gd name="T55" fmla="*/ 2147483646 h 720"/>
                  <a:gd name="T56" fmla="*/ 2147483646 w 608"/>
                  <a:gd name="T57" fmla="*/ 2147483646 h 720"/>
                  <a:gd name="T58" fmla="*/ 2147483646 w 608"/>
                  <a:gd name="T59" fmla="*/ 2147483646 h 720"/>
                  <a:gd name="T60" fmla="*/ 2147483646 w 608"/>
                  <a:gd name="T61" fmla="*/ 2147483646 h 720"/>
                  <a:gd name="T62" fmla="*/ 2147483646 w 608"/>
                  <a:gd name="T63" fmla="*/ 2147483646 h 720"/>
                  <a:gd name="T64" fmla="*/ 2147483646 w 608"/>
                  <a:gd name="T65" fmla="*/ 2147483646 h 720"/>
                  <a:gd name="T66" fmla="*/ 2147483646 w 608"/>
                  <a:gd name="T67" fmla="*/ 2147483646 h 720"/>
                  <a:gd name="T68" fmla="*/ 0 w 608"/>
                  <a:gd name="T69" fmla="*/ 2147483646 h 720"/>
                  <a:gd name="T70" fmla="*/ 2147483646 w 608"/>
                  <a:gd name="T71" fmla="*/ 2147483646 h 720"/>
                  <a:gd name="T72" fmla="*/ 2147483646 w 608"/>
                  <a:gd name="T73" fmla="*/ 2147483646 h 720"/>
                  <a:gd name="T74" fmla="*/ 2147483646 w 608"/>
                  <a:gd name="T75" fmla="*/ 2147483646 h 720"/>
                  <a:gd name="T76" fmla="*/ 2147483646 w 608"/>
                  <a:gd name="T77" fmla="*/ 2147483646 h 720"/>
                  <a:gd name="T78" fmla="*/ 2147483646 w 608"/>
                  <a:gd name="T79" fmla="*/ 2147483646 h 720"/>
                  <a:gd name="T80" fmla="*/ 2147483646 w 608"/>
                  <a:gd name="T81" fmla="*/ 2147483646 h 720"/>
                  <a:gd name="T82" fmla="*/ 2147483646 w 608"/>
                  <a:gd name="T83" fmla="*/ 2147483646 h 720"/>
                  <a:gd name="T84" fmla="*/ 2147483646 w 608"/>
                  <a:gd name="T85" fmla="*/ 2147483646 h 720"/>
                  <a:gd name="T86" fmla="*/ 2147483646 w 608"/>
                  <a:gd name="T87" fmla="*/ 2147483646 h 720"/>
                  <a:gd name="T88" fmla="*/ 2147483646 w 608"/>
                  <a:gd name="T89" fmla="*/ 2147483646 h 720"/>
                  <a:gd name="T90" fmla="*/ 2147483646 w 608"/>
                  <a:gd name="T91" fmla="*/ 2147483646 h 720"/>
                  <a:gd name="T92" fmla="*/ 2147483646 w 608"/>
                  <a:gd name="T93" fmla="*/ 2147483646 h 720"/>
                  <a:gd name="T94" fmla="*/ 2147483646 w 608"/>
                  <a:gd name="T95" fmla="*/ 2147483646 h 720"/>
                  <a:gd name="T96" fmla="*/ 2147483646 w 608"/>
                  <a:gd name="T97" fmla="*/ 2147483646 h 720"/>
                  <a:gd name="T98" fmla="*/ 2147483646 w 608"/>
                  <a:gd name="T99" fmla="*/ 2147483646 h 720"/>
                  <a:gd name="T100" fmla="*/ 2147483646 w 608"/>
                  <a:gd name="T101" fmla="*/ 2147483646 h 720"/>
                  <a:gd name="T102" fmla="*/ 2147483646 w 608"/>
                  <a:gd name="T103" fmla="*/ 2147483646 h 720"/>
                  <a:gd name="T104" fmla="*/ 2147483646 w 608"/>
                  <a:gd name="T105" fmla="*/ 2147483646 h 720"/>
                  <a:gd name="T106" fmla="*/ 2147483646 w 608"/>
                  <a:gd name="T107" fmla="*/ 2147483646 h 7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8"/>
                  <a:gd name="T163" fmla="*/ 0 h 720"/>
                  <a:gd name="T164" fmla="*/ 608 w 608"/>
                  <a:gd name="T165" fmla="*/ 720 h 7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8" h="720">
                    <a:moveTo>
                      <a:pt x="544" y="696"/>
                    </a:moveTo>
                    <a:lnTo>
                      <a:pt x="520" y="640"/>
                    </a:lnTo>
                    <a:lnTo>
                      <a:pt x="552" y="560"/>
                    </a:lnTo>
                    <a:lnTo>
                      <a:pt x="512" y="536"/>
                    </a:lnTo>
                    <a:lnTo>
                      <a:pt x="496" y="456"/>
                    </a:lnTo>
                    <a:lnTo>
                      <a:pt x="456" y="480"/>
                    </a:lnTo>
                    <a:lnTo>
                      <a:pt x="432" y="456"/>
                    </a:lnTo>
                    <a:lnTo>
                      <a:pt x="496" y="384"/>
                    </a:lnTo>
                    <a:lnTo>
                      <a:pt x="576" y="416"/>
                    </a:lnTo>
                    <a:lnTo>
                      <a:pt x="592" y="400"/>
                    </a:lnTo>
                    <a:lnTo>
                      <a:pt x="576" y="352"/>
                    </a:lnTo>
                    <a:lnTo>
                      <a:pt x="600" y="336"/>
                    </a:lnTo>
                    <a:lnTo>
                      <a:pt x="608" y="280"/>
                    </a:lnTo>
                    <a:lnTo>
                      <a:pt x="592" y="264"/>
                    </a:lnTo>
                    <a:lnTo>
                      <a:pt x="560" y="280"/>
                    </a:lnTo>
                    <a:lnTo>
                      <a:pt x="560" y="240"/>
                    </a:lnTo>
                    <a:lnTo>
                      <a:pt x="496" y="264"/>
                    </a:lnTo>
                    <a:lnTo>
                      <a:pt x="488" y="224"/>
                    </a:lnTo>
                    <a:lnTo>
                      <a:pt x="456" y="240"/>
                    </a:lnTo>
                    <a:lnTo>
                      <a:pt x="432" y="208"/>
                    </a:lnTo>
                    <a:lnTo>
                      <a:pt x="384" y="184"/>
                    </a:lnTo>
                    <a:lnTo>
                      <a:pt x="352" y="208"/>
                    </a:lnTo>
                    <a:lnTo>
                      <a:pt x="304" y="136"/>
                    </a:lnTo>
                    <a:lnTo>
                      <a:pt x="240" y="160"/>
                    </a:lnTo>
                    <a:lnTo>
                      <a:pt x="184" y="72"/>
                    </a:lnTo>
                    <a:lnTo>
                      <a:pt x="192" y="16"/>
                    </a:lnTo>
                    <a:lnTo>
                      <a:pt x="144" y="0"/>
                    </a:lnTo>
                    <a:lnTo>
                      <a:pt x="144" y="64"/>
                    </a:lnTo>
                    <a:lnTo>
                      <a:pt x="112" y="80"/>
                    </a:lnTo>
                    <a:lnTo>
                      <a:pt x="120" y="136"/>
                    </a:lnTo>
                    <a:lnTo>
                      <a:pt x="88" y="152"/>
                    </a:lnTo>
                    <a:lnTo>
                      <a:pt x="80" y="96"/>
                    </a:lnTo>
                    <a:lnTo>
                      <a:pt x="56" y="144"/>
                    </a:lnTo>
                    <a:lnTo>
                      <a:pt x="16" y="152"/>
                    </a:lnTo>
                    <a:lnTo>
                      <a:pt x="0" y="224"/>
                    </a:lnTo>
                    <a:lnTo>
                      <a:pt x="32" y="256"/>
                    </a:lnTo>
                    <a:lnTo>
                      <a:pt x="40" y="320"/>
                    </a:lnTo>
                    <a:lnTo>
                      <a:pt x="72" y="344"/>
                    </a:lnTo>
                    <a:lnTo>
                      <a:pt x="72" y="408"/>
                    </a:lnTo>
                    <a:lnTo>
                      <a:pt x="112" y="416"/>
                    </a:lnTo>
                    <a:lnTo>
                      <a:pt x="112" y="448"/>
                    </a:lnTo>
                    <a:lnTo>
                      <a:pt x="168" y="440"/>
                    </a:lnTo>
                    <a:lnTo>
                      <a:pt x="184" y="512"/>
                    </a:lnTo>
                    <a:lnTo>
                      <a:pt x="232" y="528"/>
                    </a:lnTo>
                    <a:lnTo>
                      <a:pt x="248" y="568"/>
                    </a:lnTo>
                    <a:lnTo>
                      <a:pt x="216" y="576"/>
                    </a:lnTo>
                    <a:lnTo>
                      <a:pt x="256" y="640"/>
                    </a:lnTo>
                    <a:lnTo>
                      <a:pt x="288" y="688"/>
                    </a:lnTo>
                    <a:lnTo>
                      <a:pt x="368" y="664"/>
                    </a:lnTo>
                    <a:lnTo>
                      <a:pt x="440" y="696"/>
                    </a:lnTo>
                    <a:lnTo>
                      <a:pt x="472" y="664"/>
                    </a:lnTo>
                    <a:lnTo>
                      <a:pt x="504" y="672"/>
                    </a:lnTo>
                    <a:lnTo>
                      <a:pt x="504" y="720"/>
                    </a:lnTo>
                    <a:lnTo>
                      <a:pt x="544" y="696"/>
                    </a:lnTo>
                    <a:close/>
                  </a:path>
                </a:pathLst>
              </a:custGeom>
              <a:solidFill>
                <a:srgbClr val="898593"/>
              </a:solidFill>
              <a:ln w="9525">
                <a:solidFill>
                  <a:schemeClr val="bg1"/>
                </a:solidFill>
                <a:round/>
                <a:headEnd/>
                <a:tailEnd/>
              </a:ln>
            </p:spPr>
            <p:txBody>
              <a:bodyPr/>
              <a:lstStyle/>
              <a:p>
                <a:endParaRPr lang="en-US" sz="1050"/>
              </a:p>
            </p:txBody>
          </p:sp>
          <p:sp>
            <p:nvSpPr>
              <p:cNvPr id="118" name="Freeform 26"/>
              <p:cNvSpPr>
                <a:spLocks/>
              </p:cNvSpPr>
              <p:nvPr/>
            </p:nvSpPr>
            <p:spPr bwMode="auto">
              <a:xfrm>
                <a:off x="4603631" y="4881727"/>
                <a:ext cx="948627" cy="833642"/>
              </a:xfrm>
              <a:custGeom>
                <a:avLst/>
                <a:gdLst>
                  <a:gd name="T0" fmla="*/ 2147483646 w 792"/>
                  <a:gd name="T1" fmla="*/ 2147483646 h 696"/>
                  <a:gd name="T2" fmla="*/ 2147483646 w 792"/>
                  <a:gd name="T3" fmla="*/ 2147483646 h 696"/>
                  <a:gd name="T4" fmla="*/ 2147483646 w 792"/>
                  <a:gd name="T5" fmla="*/ 2147483646 h 696"/>
                  <a:gd name="T6" fmla="*/ 2147483646 w 792"/>
                  <a:gd name="T7" fmla="*/ 2147483646 h 696"/>
                  <a:gd name="T8" fmla="*/ 2147483646 w 792"/>
                  <a:gd name="T9" fmla="*/ 2147483646 h 696"/>
                  <a:gd name="T10" fmla="*/ 2147483646 w 792"/>
                  <a:gd name="T11" fmla="*/ 2147483646 h 696"/>
                  <a:gd name="T12" fmla="*/ 2147483646 w 792"/>
                  <a:gd name="T13" fmla="*/ 2147483646 h 696"/>
                  <a:gd name="T14" fmla="*/ 2147483646 w 792"/>
                  <a:gd name="T15" fmla="*/ 0 h 696"/>
                  <a:gd name="T16" fmla="*/ 2147483646 w 792"/>
                  <a:gd name="T17" fmla="*/ 2147483646 h 696"/>
                  <a:gd name="T18" fmla="*/ 2147483646 w 792"/>
                  <a:gd name="T19" fmla="*/ 2147483646 h 696"/>
                  <a:gd name="T20" fmla="*/ 2147483646 w 792"/>
                  <a:gd name="T21" fmla="*/ 2147483646 h 696"/>
                  <a:gd name="T22" fmla="*/ 2147483646 w 792"/>
                  <a:gd name="T23" fmla="*/ 2147483646 h 696"/>
                  <a:gd name="T24" fmla="*/ 2147483646 w 792"/>
                  <a:gd name="T25" fmla="*/ 2147483646 h 696"/>
                  <a:gd name="T26" fmla="*/ 2147483646 w 792"/>
                  <a:gd name="T27" fmla="*/ 2147483646 h 696"/>
                  <a:gd name="T28" fmla="*/ 2147483646 w 792"/>
                  <a:gd name="T29" fmla="*/ 2147483646 h 696"/>
                  <a:gd name="T30" fmla="*/ 2147483646 w 792"/>
                  <a:gd name="T31" fmla="*/ 2147483646 h 696"/>
                  <a:gd name="T32" fmla="*/ 2147483646 w 792"/>
                  <a:gd name="T33" fmla="*/ 2147483646 h 696"/>
                  <a:gd name="T34" fmla="*/ 2147483646 w 792"/>
                  <a:gd name="T35" fmla="*/ 2147483646 h 696"/>
                  <a:gd name="T36" fmla="*/ 2147483646 w 792"/>
                  <a:gd name="T37" fmla="*/ 2147483646 h 696"/>
                  <a:gd name="T38" fmla="*/ 2147483646 w 792"/>
                  <a:gd name="T39" fmla="*/ 2147483646 h 696"/>
                  <a:gd name="T40" fmla="*/ 2147483646 w 792"/>
                  <a:gd name="T41" fmla="*/ 2147483646 h 696"/>
                  <a:gd name="T42" fmla="*/ 2147483646 w 792"/>
                  <a:gd name="T43" fmla="*/ 2147483646 h 696"/>
                  <a:gd name="T44" fmla="*/ 2147483646 w 792"/>
                  <a:gd name="T45" fmla="*/ 2147483646 h 696"/>
                  <a:gd name="T46" fmla="*/ 0 w 792"/>
                  <a:gd name="T47" fmla="*/ 2147483646 h 696"/>
                  <a:gd name="T48" fmla="*/ 2147483646 w 792"/>
                  <a:gd name="T49" fmla="*/ 2147483646 h 696"/>
                  <a:gd name="T50" fmla="*/ 2147483646 w 792"/>
                  <a:gd name="T51" fmla="*/ 2147483646 h 696"/>
                  <a:gd name="T52" fmla="*/ 2147483646 w 792"/>
                  <a:gd name="T53" fmla="*/ 2147483646 h 696"/>
                  <a:gd name="T54" fmla="*/ 2147483646 w 792"/>
                  <a:gd name="T55" fmla="*/ 2147483646 h 696"/>
                  <a:gd name="T56" fmla="*/ 2147483646 w 792"/>
                  <a:gd name="T57" fmla="*/ 2147483646 h 696"/>
                  <a:gd name="T58" fmla="*/ 2147483646 w 792"/>
                  <a:gd name="T59" fmla="*/ 2147483646 h 696"/>
                  <a:gd name="T60" fmla="*/ 2147483646 w 792"/>
                  <a:gd name="T61" fmla="*/ 2147483646 h 696"/>
                  <a:gd name="T62" fmla="*/ 2147483646 w 792"/>
                  <a:gd name="T63" fmla="*/ 2147483646 h 696"/>
                  <a:gd name="T64" fmla="*/ 2147483646 w 792"/>
                  <a:gd name="T65" fmla="*/ 2147483646 h 696"/>
                  <a:gd name="T66" fmla="*/ 2147483646 w 792"/>
                  <a:gd name="T67" fmla="*/ 2147483646 h 696"/>
                  <a:gd name="T68" fmla="*/ 2147483646 w 792"/>
                  <a:gd name="T69" fmla="*/ 2147483646 h 696"/>
                  <a:gd name="T70" fmla="*/ 2147483646 w 792"/>
                  <a:gd name="T71" fmla="*/ 2147483646 h 696"/>
                  <a:gd name="T72" fmla="*/ 2147483646 w 792"/>
                  <a:gd name="T73" fmla="*/ 2147483646 h 696"/>
                  <a:gd name="T74" fmla="*/ 2147483646 w 792"/>
                  <a:gd name="T75" fmla="*/ 2147483646 h 696"/>
                  <a:gd name="T76" fmla="*/ 2147483646 w 792"/>
                  <a:gd name="T77" fmla="*/ 2147483646 h 696"/>
                  <a:gd name="T78" fmla="*/ 2147483646 w 792"/>
                  <a:gd name="T79" fmla="*/ 2147483646 h 696"/>
                  <a:gd name="T80" fmla="*/ 2147483646 w 792"/>
                  <a:gd name="T81" fmla="*/ 2147483646 h 696"/>
                  <a:gd name="T82" fmla="*/ 2147483646 w 792"/>
                  <a:gd name="T83" fmla="*/ 2147483646 h 696"/>
                  <a:gd name="T84" fmla="*/ 2147483646 w 792"/>
                  <a:gd name="T85" fmla="*/ 2147483646 h 696"/>
                  <a:gd name="T86" fmla="*/ 2147483646 w 792"/>
                  <a:gd name="T87" fmla="*/ 2147483646 h 696"/>
                  <a:gd name="T88" fmla="*/ 2147483646 w 792"/>
                  <a:gd name="T89" fmla="*/ 2147483646 h 696"/>
                  <a:gd name="T90" fmla="*/ 2147483646 w 792"/>
                  <a:gd name="T91" fmla="*/ 2147483646 h 696"/>
                  <a:gd name="T92" fmla="*/ 2147483646 w 792"/>
                  <a:gd name="T93" fmla="*/ 2147483646 h 696"/>
                  <a:gd name="T94" fmla="*/ 2147483646 w 792"/>
                  <a:gd name="T95" fmla="*/ 2147483646 h 696"/>
                  <a:gd name="T96" fmla="*/ 2147483646 w 792"/>
                  <a:gd name="T97" fmla="*/ 2147483646 h 696"/>
                  <a:gd name="T98" fmla="*/ 2147483646 w 792"/>
                  <a:gd name="T99" fmla="*/ 2147483646 h 696"/>
                  <a:gd name="T100" fmla="*/ 2147483646 w 792"/>
                  <a:gd name="T101" fmla="*/ 2147483646 h 696"/>
                  <a:gd name="T102" fmla="*/ 2147483646 w 792"/>
                  <a:gd name="T103" fmla="*/ 2147483646 h 696"/>
                  <a:gd name="T104" fmla="*/ 2147483646 w 792"/>
                  <a:gd name="T105" fmla="*/ 2147483646 h 696"/>
                  <a:gd name="T106" fmla="*/ 2147483646 w 792"/>
                  <a:gd name="T107" fmla="*/ 2147483646 h 696"/>
                  <a:gd name="T108" fmla="*/ 2147483646 w 792"/>
                  <a:gd name="T109" fmla="*/ 2147483646 h 696"/>
                  <a:gd name="T110" fmla="*/ 2147483646 w 792"/>
                  <a:gd name="T111" fmla="*/ 2147483646 h 696"/>
                  <a:gd name="T112" fmla="*/ 2147483646 w 792"/>
                  <a:gd name="T113" fmla="*/ 2147483646 h 696"/>
                  <a:gd name="T114" fmla="*/ 2147483646 w 792"/>
                  <a:gd name="T115" fmla="*/ 2147483646 h 696"/>
                  <a:gd name="T116" fmla="*/ 2147483646 w 792"/>
                  <a:gd name="T117" fmla="*/ 2147483646 h 696"/>
                  <a:gd name="T118" fmla="*/ 2147483646 w 792"/>
                  <a:gd name="T119" fmla="*/ 2147483646 h 696"/>
                  <a:gd name="T120" fmla="*/ 2147483646 w 792"/>
                  <a:gd name="T121" fmla="*/ 2147483646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696"/>
                  <a:gd name="T185" fmla="*/ 792 w 792"/>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696">
                    <a:moveTo>
                      <a:pt x="728" y="80"/>
                    </a:moveTo>
                    <a:lnTo>
                      <a:pt x="616" y="72"/>
                    </a:lnTo>
                    <a:lnTo>
                      <a:pt x="592" y="88"/>
                    </a:lnTo>
                    <a:lnTo>
                      <a:pt x="560" y="48"/>
                    </a:lnTo>
                    <a:lnTo>
                      <a:pt x="536" y="112"/>
                    </a:lnTo>
                    <a:lnTo>
                      <a:pt x="496" y="24"/>
                    </a:lnTo>
                    <a:lnTo>
                      <a:pt x="432" y="32"/>
                    </a:lnTo>
                    <a:lnTo>
                      <a:pt x="384" y="0"/>
                    </a:lnTo>
                    <a:lnTo>
                      <a:pt x="368" y="32"/>
                    </a:lnTo>
                    <a:lnTo>
                      <a:pt x="336" y="8"/>
                    </a:lnTo>
                    <a:lnTo>
                      <a:pt x="280" y="24"/>
                    </a:lnTo>
                    <a:lnTo>
                      <a:pt x="320" y="88"/>
                    </a:lnTo>
                    <a:lnTo>
                      <a:pt x="368" y="96"/>
                    </a:lnTo>
                    <a:lnTo>
                      <a:pt x="360" y="184"/>
                    </a:lnTo>
                    <a:lnTo>
                      <a:pt x="400" y="192"/>
                    </a:lnTo>
                    <a:lnTo>
                      <a:pt x="416" y="240"/>
                    </a:lnTo>
                    <a:lnTo>
                      <a:pt x="360" y="304"/>
                    </a:lnTo>
                    <a:lnTo>
                      <a:pt x="344" y="368"/>
                    </a:lnTo>
                    <a:lnTo>
                      <a:pt x="256" y="376"/>
                    </a:lnTo>
                    <a:lnTo>
                      <a:pt x="224" y="408"/>
                    </a:lnTo>
                    <a:lnTo>
                      <a:pt x="168" y="408"/>
                    </a:lnTo>
                    <a:lnTo>
                      <a:pt x="104" y="448"/>
                    </a:lnTo>
                    <a:lnTo>
                      <a:pt x="24" y="448"/>
                    </a:lnTo>
                    <a:lnTo>
                      <a:pt x="0" y="480"/>
                    </a:lnTo>
                    <a:lnTo>
                      <a:pt x="72" y="512"/>
                    </a:lnTo>
                    <a:lnTo>
                      <a:pt x="80" y="528"/>
                    </a:lnTo>
                    <a:lnTo>
                      <a:pt x="184" y="528"/>
                    </a:lnTo>
                    <a:lnTo>
                      <a:pt x="200" y="496"/>
                    </a:lnTo>
                    <a:lnTo>
                      <a:pt x="224" y="536"/>
                    </a:lnTo>
                    <a:lnTo>
                      <a:pt x="240" y="560"/>
                    </a:lnTo>
                    <a:lnTo>
                      <a:pt x="296" y="552"/>
                    </a:lnTo>
                    <a:lnTo>
                      <a:pt x="328" y="528"/>
                    </a:lnTo>
                    <a:lnTo>
                      <a:pt x="352" y="560"/>
                    </a:lnTo>
                    <a:lnTo>
                      <a:pt x="360" y="616"/>
                    </a:lnTo>
                    <a:lnTo>
                      <a:pt x="416" y="656"/>
                    </a:lnTo>
                    <a:lnTo>
                      <a:pt x="488" y="688"/>
                    </a:lnTo>
                    <a:lnTo>
                      <a:pt x="560" y="688"/>
                    </a:lnTo>
                    <a:lnTo>
                      <a:pt x="656" y="696"/>
                    </a:lnTo>
                    <a:lnTo>
                      <a:pt x="656" y="648"/>
                    </a:lnTo>
                    <a:lnTo>
                      <a:pt x="672" y="576"/>
                    </a:lnTo>
                    <a:lnTo>
                      <a:pt x="688" y="512"/>
                    </a:lnTo>
                    <a:lnTo>
                      <a:pt x="664" y="448"/>
                    </a:lnTo>
                    <a:lnTo>
                      <a:pt x="688" y="408"/>
                    </a:lnTo>
                    <a:lnTo>
                      <a:pt x="696" y="376"/>
                    </a:lnTo>
                    <a:lnTo>
                      <a:pt x="656" y="360"/>
                    </a:lnTo>
                    <a:lnTo>
                      <a:pt x="656" y="312"/>
                    </a:lnTo>
                    <a:lnTo>
                      <a:pt x="688" y="288"/>
                    </a:lnTo>
                    <a:lnTo>
                      <a:pt x="696" y="264"/>
                    </a:lnTo>
                    <a:lnTo>
                      <a:pt x="720" y="232"/>
                    </a:lnTo>
                    <a:lnTo>
                      <a:pt x="752" y="192"/>
                    </a:lnTo>
                    <a:lnTo>
                      <a:pt x="768" y="144"/>
                    </a:lnTo>
                    <a:lnTo>
                      <a:pt x="792" y="112"/>
                    </a:lnTo>
                    <a:lnTo>
                      <a:pt x="768" y="128"/>
                    </a:lnTo>
                    <a:lnTo>
                      <a:pt x="736" y="168"/>
                    </a:lnTo>
                    <a:lnTo>
                      <a:pt x="712" y="208"/>
                    </a:lnTo>
                    <a:lnTo>
                      <a:pt x="712" y="152"/>
                    </a:lnTo>
                    <a:lnTo>
                      <a:pt x="696" y="144"/>
                    </a:lnTo>
                    <a:lnTo>
                      <a:pt x="720" y="128"/>
                    </a:lnTo>
                    <a:lnTo>
                      <a:pt x="704" y="96"/>
                    </a:lnTo>
                    <a:lnTo>
                      <a:pt x="720" y="96"/>
                    </a:lnTo>
                    <a:lnTo>
                      <a:pt x="728" y="80"/>
                    </a:lnTo>
                    <a:close/>
                  </a:path>
                </a:pathLst>
              </a:custGeom>
              <a:solidFill>
                <a:srgbClr val="898593"/>
              </a:solidFill>
              <a:ln w="9525">
                <a:solidFill>
                  <a:schemeClr val="bg1"/>
                </a:solidFill>
                <a:round/>
                <a:headEnd/>
                <a:tailEnd/>
              </a:ln>
            </p:spPr>
            <p:txBody>
              <a:bodyPr/>
              <a:lstStyle/>
              <a:p>
                <a:endParaRPr lang="en-US" sz="1050"/>
              </a:p>
            </p:txBody>
          </p:sp>
          <p:sp>
            <p:nvSpPr>
              <p:cNvPr id="119" name="Freeform 27"/>
              <p:cNvSpPr>
                <a:spLocks/>
              </p:cNvSpPr>
              <p:nvPr/>
            </p:nvSpPr>
            <p:spPr bwMode="auto">
              <a:xfrm>
                <a:off x="4036003" y="4857454"/>
                <a:ext cx="1073195" cy="402448"/>
              </a:xfrm>
              <a:custGeom>
                <a:avLst/>
                <a:gdLst>
                  <a:gd name="T0" fmla="*/ 2147483646 w 896"/>
                  <a:gd name="T1" fmla="*/ 2147483646 h 336"/>
                  <a:gd name="T2" fmla="*/ 2147483646 w 896"/>
                  <a:gd name="T3" fmla="*/ 2147483646 h 336"/>
                  <a:gd name="T4" fmla="*/ 2147483646 w 896"/>
                  <a:gd name="T5" fmla="*/ 2147483646 h 336"/>
                  <a:gd name="T6" fmla="*/ 2147483646 w 896"/>
                  <a:gd name="T7" fmla="*/ 2147483646 h 336"/>
                  <a:gd name="T8" fmla="*/ 2147483646 w 896"/>
                  <a:gd name="T9" fmla="*/ 2147483646 h 336"/>
                  <a:gd name="T10" fmla="*/ 2147483646 w 896"/>
                  <a:gd name="T11" fmla="*/ 2147483646 h 336"/>
                  <a:gd name="T12" fmla="*/ 2147483646 w 896"/>
                  <a:gd name="T13" fmla="*/ 2147483646 h 336"/>
                  <a:gd name="T14" fmla="*/ 2147483646 w 896"/>
                  <a:gd name="T15" fmla="*/ 2147483646 h 336"/>
                  <a:gd name="T16" fmla="*/ 2147483646 w 896"/>
                  <a:gd name="T17" fmla="*/ 2147483646 h 336"/>
                  <a:gd name="T18" fmla="*/ 2147483646 w 896"/>
                  <a:gd name="T19" fmla="*/ 2147483646 h 336"/>
                  <a:gd name="T20" fmla="*/ 2147483646 w 896"/>
                  <a:gd name="T21" fmla="*/ 2147483646 h 336"/>
                  <a:gd name="T22" fmla="*/ 2147483646 w 896"/>
                  <a:gd name="T23" fmla="*/ 2147483646 h 336"/>
                  <a:gd name="T24" fmla="*/ 2147483646 w 896"/>
                  <a:gd name="T25" fmla="*/ 2147483646 h 336"/>
                  <a:gd name="T26" fmla="*/ 2147483646 w 896"/>
                  <a:gd name="T27" fmla="*/ 2147483646 h 336"/>
                  <a:gd name="T28" fmla="*/ 2147483646 w 896"/>
                  <a:gd name="T29" fmla="*/ 2147483646 h 336"/>
                  <a:gd name="T30" fmla="*/ 2147483646 w 896"/>
                  <a:gd name="T31" fmla="*/ 2147483646 h 336"/>
                  <a:gd name="T32" fmla="*/ 2147483646 w 896"/>
                  <a:gd name="T33" fmla="*/ 2147483646 h 336"/>
                  <a:gd name="T34" fmla="*/ 2147483646 w 896"/>
                  <a:gd name="T35" fmla="*/ 2147483646 h 336"/>
                  <a:gd name="T36" fmla="*/ 2147483646 w 896"/>
                  <a:gd name="T37" fmla="*/ 2147483646 h 336"/>
                  <a:gd name="T38" fmla="*/ 2147483646 w 896"/>
                  <a:gd name="T39" fmla="*/ 2147483646 h 336"/>
                  <a:gd name="T40" fmla="*/ 2147483646 w 896"/>
                  <a:gd name="T41" fmla="*/ 2147483646 h 336"/>
                  <a:gd name="T42" fmla="*/ 2147483646 w 896"/>
                  <a:gd name="T43" fmla="*/ 2147483646 h 336"/>
                  <a:gd name="T44" fmla="*/ 2147483646 w 896"/>
                  <a:gd name="T45" fmla="*/ 0 h 336"/>
                  <a:gd name="T46" fmla="*/ 2147483646 w 896"/>
                  <a:gd name="T47" fmla="*/ 2147483646 h 336"/>
                  <a:gd name="T48" fmla="*/ 2147483646 w 896"/>
                  <a:gd name="T49" fmla="*/ 2147483646 h 336"/>
                  <a:gd name="T50" fmla="*/ 2147483646 w 896"/>
                  <a:gd name="T51" fmla="*/ 2147483646 h 336"/>
                  <a:gd name="T52" fmla="*/ 0 w 896"/>
                  <a:gd name="T53" fmla="*/ 2147483646 h 336"/>
                  <a:gd name="T54" fmla="*/ 2147483646 w 896"/>
                  <a:gd name="T55" fmla="*/ 2147483646 h 336"/>
                  <a:gd name="T56" fmla="*/ 2147483646 w 896"/>
                  <a:gd name="T57" fmla="*/ 2147483646 h 336"/>
                  <a:gd name="T58" fmla="*/ 2147483646 w 896"/>
                  <a:gd name="T59" fmla="*/ 2147483646 h 336"/>
                  <a:gd name="T60" fmla="*/ 2147483646 w 896"/>
                  <a:gd name="T61" fmla="*/ 2147483646 h 336"/>
                  <a:gd name="T62" fmla="*/ 2147483646 w 896"/>
                  <a:gd name="T63" fmla="*/ 2147483646 h 336"/>
                  <a:gd name="T64" fmla="*/ 2147483646 w 896"/>
                  <a:gd name="T65" fmla="*/ 2147483646 h 336"/>
                  <a:gd name="T66" fmla="*/ 2147483646 w 896"/>
                  <a:gd name="T67" fmla="*/ 2147483646 h 336"/>
                  <a:gd name="T68" fmla="*/ 2147483646 w 896"/>
                  <a:gd name="T69" fmla="*/ 2147483646 h 336"/>
                  <a:gd name="T70" fmla="*/ 2147483646 w 896"/>
                  <a:gd name="T71" fmla="*/ 2147483646 h 336"/>
                  <a:gd name="T72" fmla="*/ 2147483646 w 896"/>
                  <a:gd name="T73" fmla="*/ 2147483646 h 336"/>
                  <a:gd name="T74" fmla="*/ 2147483646 w 896"/>
                  <a:gd name="T75" fmla="*/ 2147483646 h 336"/>
                  <a:gd name="T76" fmla="*/ 2147483646 w 896"/>
                  <a:gd name="T77" fmla="*/ 2147483646 h 336"/>
                  <a:gd name="T78" fmla="*/ 2147483646 w 896"/>
                  <a:gd name="T79" fmla="*/ 2147483646 h 336"/>
                  <a:gd name="T80" fmla="*/ 2147483646 w 896"/>
                  <a:gd name="T81" fmla="*/ 2147483646 h 336"/>
                  <a:gd name="T82" fmla="*/ 2147483646 w 896"/>
                  <a:gd name="T83" fmla="*/ 2147483646 h 336"/>
                  <a:gd name="T84" fmla="*/ 2147483646 w 896"/>
                  <a:gd name="T85" fmla="*/ 2147483646 h 336"/>
                  <a:gd name="T86" fmla="*/ 2147483646 w 896"/>
                  <a:gd name="T87" fmla="*/ 2147483646 h 336"/>
                  <a:gd name="T88" fmla="*/ 2147483646 w 896"/>
                  <a:gd name="T89" fmla="*/ 2147483646 h 336"/>
                  <a:gd name="T90" fmla="*/ 2147483646 w 896"/>
                  <a:gd name="T91" fmla="*/ 2147483646 h 336"/>
                  <a:gd name="T92" fmla="*/ 2147483646 w 896"/>
                  <a:gd name="T93" fmla="*/ 2147483646 h 336"/>
                  <a:gd name="T94" fmla="*/ 2147483646 w 896"/>
                  <a:gd name="T95" fmla="*/ 2147483646 h 336"/>
                  <a:gd name="T96" fmla="*/ 2147483646 w 896"/>
                  <a:gd name="T97" fmla="*/ 2147483646 h 3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6"/>
                  <a:gd name="T148" fmla="*/ 0 h 336"/>
                  <a:gd name="T149" fmla="*/ 896 w 896"/>
                  <a:gd name="T150" fmla="*/ 336 h 3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6" h="336">
                    <a:moveTo>
                      <a:pt x="840" y="336"/>
                    </a:moveTo>
                    <a:lnTo>
                      <a:pt x="896" y="272"/>
                    </a:lnTo>
                    <a:lnTo>
                      <a:pt x="880" y="224"/>
                    </a:lnTo>
                    <a:lnTo>
                      <a:pt x="840" y="216"/>
                    </a:lnTo>
                    <a:lnTo>
                      <a:pt x="848" y="128"/>
                    </a:lnTo>
                    <a:lnTo>
                      <a:pt x="800" y="120"/>
                    </a:lnTo>
                    <a:lnTo>
                      <a:pt x="760" y="56"/>
                    </a:lnTo>
                    <a:lnTo>
                      <a:pt x="744" y="16"/>
                    </a:lnTo>
                    <a:lnTo>
                      <a:pt x="696" y="56"/>
                    </a:lnTo>
                    <a:lnTo>
                      <a:pt x="624" y="40"/>
                    </a:lnTo>
                    <a:lnTo>
                      <a:pt x="584" y="8"/>
                    </a:lnTo>
                    <a:lnTo>
                      <a:pt x="568" y="48"/>
                    </a:lnTo>
                    <a:lnTo>
                      <a:pt x="536" y="8"/>
                    </a:lnTo>
                    <a:lnTo>
                      <a:pt x="504" y="16"/>
                    </a:lnTo>
                    <a:lnTo>
                      <a:pt x="496" y="48"/>
                    </a:lnTo>
                    <a:lnTo>
                      <a:pt x="456" y="56"/>
                    </a:lnTo>
                    <a:lnTo>
                      <a:pt x="424" y="80"/>
                    </a:lnTo>
                    <a:lnTo>
                      <a:pt x="424" y="32"/>
                    </a:lnTo>
                    <a:lnTo>
                      <a:pt x="392" y="24"/>
                    </a:lnTo>
                    <a:lnTo>
                      <a:pt x="360" y="56"/>
                    </a:lnTo>
                    <a:lnTo>
                      <a:pt x="280" y="24"/>
                    </a:lnTo>
                    <a:lnTo>
                      <a:pt x="208" y="48"/>
                    </a:lnTo>
                    <a:lnTo>
                      <a:pt x="176" y="0"/>
                    </a:lnTo>
                    <a:lnTo>
                      <a:pt x="136" y="8"/>
                    </a:lnTo>
                    <a:lnTo>
                      <a:pt x="120" y="40"/>
                    </a:lnTo>
                    <a:lnTo>
                      <a:pt x="32" y="48"/>
                    </a:lnTo>
                    <a:lnTo>
                      <a:pt x="0" y="88"/>
                    </a:lnTo>
                    <a:lnTo>
                      <a:pt x="24" y="136"/>
                    </a:lnTo>
                    <a:lnTo>
                      <a:pt x="24" y="192"/>
                    </a:lnTo>
                    <a:lnTo>
                      <a:pt x="64" y="208"/>
                    </a:lnTo>
                    <a:lnTo>
                      <a:pt x="128" y="200"/>
                    </a:lnTo>
                    <a:lnTo>
                      <a:pt x="160" y="216"/>
                    </a:lnTo>
                    <a:lnTo>
                      <a:pt x="176" y="272"/>
                    </a:lnTo>
                    <a:lnTo>
                      <a:pt x="256" y="248"/>
                    </a:lnTo>
                    <a:lnTo>
                      <a:pt x="296" y="192"/>
                    </a:lnTo>
                    <a:lnTo>
                      <a:pt x="312" y="224"/>
                    </a:lnTo>
                    <a:lnTo>
                      <a:pt x="392" y="208"/>
                    </a:lnTo>
                    <a:lnTo>
                      <a:pt x="400" y="248"/>
                    </a:lnTo>
                    <a:lnTo>
                      <a:pt x="480" y="240"/>
                    </a:lnTo>
                    <a:lnTo>
                      <a:pt x="512" y="256"/>
                    </a:lnTo>
                    <a:lnTo>
                      <a:pt x="536" y="224"/>
                    </a:lnTo>
                    <a:lnTo>
                      <a:pt x="576" y="264"/>
                    </a:lnTo>
                    <a:lnTo>
                      <a:pt x="616" y="224"/>
                    </a:lnTo>
                    <a:lnTo>
                      <a:pt x="624" y="272"/>
                    </a:lnTo>
                    <a:lnTo>
                      <a:pt x="656" y="256"/>
                    </a:lnTo>
                    <a:lnTo>
                      <a:pt x="704" y="288"/>
                    </a:lnTo>
                    <a:lnTo>
                      <a:pt x="760" y="328"/>
                    </a:lnTo>
                    <a:lnTo>
                      <a:pt x="776" y="312"/>
                    </a:lnTo>
                    <a:lnTo>
                      <a:pt x="840" y="336"/>
                    </a:lnTo>
                    <a:close/>
                  </a:path>
                </a:pathLst>
              </a:custGeom>
              <a:solidFill>
                <a:srgbClr val="FFB900"/>
              </a:solidFill>
              <a:ln w="9525">
                <a:solidFill>
                  <a:schemeClr val="bg2"/>
                </a:solidFill>
                <a:round/>
                <a:headEnd/>
                <a:tailEnd/>
              </a:ln>
            </p:spPr>
            <p:txBody>
              <a:bodyPr/>
              <a:lstStyle/>
              <a:p>
                <a:endParaRPr lang="en-US" sz="1050"/>
              </a:p>
            </p:txBody>
          </p:sp>
          <p:sp>
            <p:nvSpPr>
              <p:cNvPr id="120" name="Freeform 28"/>
              <p:cNvSpPr>
                <a:spLocks/>
              </p:cNvSpPr>
              <p:nvPr/>
            </p:nvSpPr>
            <p:spPr bwMode="auto">
              <a:xfrm>
                <a:off x="4039492" y="5076530"/>
                <a:ext cx="996537" cy="431194"/>
              </a:xfrm>
              <a:custGeom>
                <a:avLst/>
                <a:gdLst>
                  <a:gd name="T0" fmla="*/ 2147483646 w 832"/>
                  <a:gd name="T1" fmla="*/ 2147483646 h 360"/>
                  <a:gd name="T2" fmla="*/ 2147483646 w 832"/>
                  <a:gd name="T3" fmla="*/ 2147483646 h 360"/>
                  <a:gd name="T4" fmla="*/ 2147483646 w 832"/>
                  <a:gd name="T5" fmla="*/ 2147483646 h 360"/>
                  <a:gd name="T6" fmla="*/ 2147483646 w 832"/>
                  <a:gd name="T7" fmla="*/ 2147483646 h 360"/>
                  <a:gd name="T8" fmla="*/ 2147483646 w 832"/>
                  <a:gd name="T9" fmla="*/ 2147483646 h 360"/>
                  <a:gd name="T10" fmla="*/ 2147483646 w 832"/>
                  <a:gd name="T11" fmla="*/ 2147483646 h 360"/>
                  <a:gd name="T12" fmla="*/ 2147483646 w 832"/>
                  <a:gd name="T13" fmla="*/ 2147483646 h 360"/>
                  <a:gd name="T14" fmla="*/ 2147483646 w 832"/>
                  <a:gd name="T15" fmla="*/ 2147483646 h 360"/>
                  <a:gd name="T16" fmla="*/ 2147483646 w 832"/>
                  <a:gd name="T17" fmla="*/ 2147483646 h 360"/>
                  <a:gd name="T18" fmla="*/ 2147483646 w 832"/>
                  <a:gd name="T19" fmla="*/ 2147483646 h 360"/>
                  <a:gd name="T20" fmla="*/ 2147483646 w 832"/>
                  <a:gd name="T21" fmla="*/ 2147483646 h 360"/>
                  <a:gd name="T22" fmla="*/ 2147483646 w 832"/>
                  <a:gd name="T23" fmla="*/ 2147483646 h 360"/>
                  <a:gd name="T24" fmla="*/ 2147483646 w 832"/>
                  <a:gd name="T25" fmla="*/ 2147483646 h 360"/>
                  <a:gd name="T26" fmla="*/ 2147483646 w 832"/>
                  <a:gd name="T27" fmla="*/ 2147483646 h 360"/>
                  <a:gd name="T28" fmla="*/ 2147483646 w 832"/>
                  <a:gd name="T29" fmla="*/ 2147483646 h 360"/>
                  <a:gd name="T30" fmla="*/ 2147483646 w 832"/>
                  <a:gd name="T31" fmla="*/ 2147483646 h 360"/>
                  <a:gd name="T32" fmla="*/ 2147483646 w 832"/>
                  <a:gd name="T33" fmla="*/ 2147483646 h 360"/>
                  <a:gd name="T34" fmla="*/ 2147483646 w 832"/>
                  <a:gd name="T35" fmla="*/ 2147483646 h 360"/>
                  <a:gd name="T36" fmla="*/ 2147483646 w 832"/>
                  <a:gd name="T37" fmla="*/ 2147483646 h 360"/>
                  <a:gd name="T38" fmla="*/ 2147483646 w 832"/>
                  <a:gd name="T39" fmla="*/ 2147483646 h 360"/>
                  <a:gd name="T40" fmla="*/ 2147483646 w 832"/>
                  <a:gd name="T41" fmla="*/ 0 h 360"/>
                  <a:gd name="T42" fmla="*/ 2147483646 w 832"/>
                  <a:gd name="T43" fmla="*/ 2147483646 h 360"/>
                  <a:gd name="T44" fmla="*/ 2147483646 w 832"/>
                  <a:gd name="T45" fmla="*/ 2147483646 h 360"/>
                  <a:gd name="T46" fmla="*/ 2147483646 w 832"/>
                  <a:gd name="T47" fmla="*/ 2147483646 h 360"/>
                  <a:gd name="T48" fmla="*/ 2147483646 w 832"/>
                  <a:gd name="T49" fmla="*/ 2147483646 h 360"/>
                  <a:gd name="T50" fmla="*/ 2147483646 w 832"/>
                  <a:gd name="T51" fmla="*/ 2147483646 h 360"/>
                  <a:gd name="T52" fmla="*/ 2147483646 w 832"/>
                  <a:gd name="T53" fmla="*/ 2147483646 h 360"/>
                  <a:gd name="T54" fmla="*/ 2147483646 w 832"/>
                  <a:gd name="T55" fmla="*/ 2147483646 h 360"/>
                  <a:gd name="T56" fmla="*/ 2147483646 w 832"/>
                  <a:gd name="T57" fmla="*/ 2147483646 h 360"/>
                  <a:gd name="T58" fmla="*/ 0 w 832"/>
                  <a:gd name="T59" fmla="*/ 2147483646 h 360"/>
                  <a:gd name="T60" fmla="*/ 2147483646 w 832"/>
                  <a:gd name="T61" fmla="*/ 2147483646 h 360"/>
                  <a:gd name="T62" fmla="*/ 2147483646 w 832"/>
                  <a:gd name="T63" fmla="*/ 2147483646 h 360"/>
                  <a:gd name="T64" fmla="*/ 2147483646 w 832"/>
                  <a:gd name="T65" fmla="*/ 2147483646 h 360"/>
                  <a:gd name="T66" fmla="*/ 2147483646 w 832"/>
                  <a:gd name="T67" fmla="*/ 2147483646 h 360"/>
                  <a:gd name="T68" fmla="*/ 2147483646 w 832"/>
                  <a:gd name="T69" fmla="*/ 2147483646 h 360"/>
                  <a:gd name="T70" fmla="*/ 2147483646 w 832"/>
                  <a:gd name="T71" fmla="*/ 2147483646 h 360"/>
                  <a:gd name="T72" fmla="*/ 2147483646 w 832"/>
                  <a:gd name="T73" fmla="*/ 2147483646 h 360"/>
                  <a:gd name="T74" fmla="*/ 2147483646 w 832"/>
                  <a:gd name="T75" fmla="*/ 2147483646 h 360"/>
                  <a:gd name="T76" fmla="*/ 2147483646 w 832"/>
                  <a:gd name="T77" fmla="*/ 2147483646 h 360"/>
                  <a:gd name="T78" fmla="*/ 2147483646 w 832"/>
                  <a:gd name="T79" fmla="*/ 2147483646 h 360"/>
                  <a:gd name="T80" fmla="*/ 2147483646 w 832"/>
                  <a:gd name="T81" fmla="*/ 2147483646 h 360"/>
                  <a:gd name="T82" fmla="*/ 2147483646 w 832"/>
                  <a:gd name="T83" fmla="*/ 2147483646 h 3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2"/>
                  <a:gd name="T127" fmla="*/ 0 h 360"/>
                  <a:gd name="T128" fmla="*/ 832 w 832"/>
                  <a:gd name="T129" fmla="*/ 360 h 3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2" h="360">
                    <a:moveTo>
                      <a:pt x="472" y="320"/>
                    </a:moveTo>
                    <a:lnTo>
                      <a:pt x="496" y="288"/>
                    </a:lnTo>
                    <a:lnTo>
                      <a:pt x="576" y="288"/>
                    </a:lnTo>
                    <a:lnTo>
                      <a:pt x="640" y="248"/>
                    </a:lnTo>
                    <a:lnTo>
                      <a:pt x="696" y="248"/>
                    </a:lnTo>
                    <a:lnTo>
                      <a:pt x="728" y="216"/>
                    </a:lnTo>
                    <a:lnTo>
                      <a:pt x="816" y="208"/>
                    </a:lnTo>
                    <a:lnTo>
                      <a:pt x="832" y="144"/>
                    </a:lnTo>
                    <a:lnTo>
                      <a:pt x="768" y="120"/>
                    </a:lnTo>
                    <a:lnTo>
                      <a:pt x="752" y="136"/>
                    </a:lnTo>
                    <a:lnTo>
                      <a:pt x="648" y="64"/>
                    </a:lnTo>
                    <a:lnTo>
                      <a:pt x="616" y="80"/>
                    </a:lnTo>
                    <a:lnTo>
                      <a:pt x="608" y="32"/>
                    </a:lnTo>
                    <a:lnTo>
                      <a:pt x="568" y="72"/>
                    </a:lnTo>
                    <a:lnTo>
                      <a:pt x="528" y="32"/>
                    </a:lnTo>
                    <a:lnTo>
                      <a:pt x="504" y="64"/>
                    </a:lnTo>
                    <a:lnTo>
                      <a:pt x="472" y="48"/>
                    </a:lnTo>
                    <a:lnTo>
                      <a:pt x="392" y="56"/>
                    </a:lnTo>
                    <a:lnTo>
                      <a:pt x="384" y="16"/>
                    </a:lnTo>
                    <a:lnTo>
                      <a:pt x="304" y="32"/>
                    </a:lnTo>
                    <a:lnTo>
                      <a:pt x="288" y="0"/>
                    </a:lnTo>
                    <a:lnTo>
                      <a:pt x="248" y="56"/>
                    </a:lnTo>
                    <a:lnTo>
                      <a:pt x="168" y="80"/>
                    </a:lnTo>
                    <a:lnTo>
                      <a:pt x="152" y="24"/>
                    </a:lnTo>
                    <a:lnTo>
                      <a:pt x="120" y="8"/>
                    </a:lnTo>
                    <a:lnTo>
                      <a:pt x="40" y="8"/>
                    </a:lnTo>
                    <a:lnTo>
                      <a:pt x="56" y="48"/>
                    </a:lnTo>
                    <a:lnTo>
                      <a:pt x="96" y="80"/>
                    </a:lnTo>
                    <a:lnTo>
                      <a:pt x="32" y="120"/>
                    </a:lnTo>
                    <a:lnTo>
                      <a:pt x="0" y="160"/>
                    </a:lnTo>
                    <a:lnTo>
                      <a:pt x="16" y="200"/>
                    </a:lnTo>
                    <a:lnTo>
                      <a:pt x="48" y="192"/>
                    </a:lnTo>
                    <a:lnTo>
                      <a:pt x="112" y="272"/>
                    </a:lnTo>
                    <a:lnTo>
                      <a:pt x="64" y="360"/>
                    </a:lnTo>
                    <a:lnTo>
                      <a:pt x="160" y="352"/>
                    </a:lnTo>
                    <a:lnTo>
                      <a:pt x="224" y="328"/>
                    </a:lnTo>
                    <a:lnTo>
                      <a:pt x="248" y="336"/>
                    </a:lnTo>
                    <a:lnTo>
                      <a:pt x="288" y="304"/>
                    </a:lnTo>
                    <a:lnTo>
                      <a:pt x="328" y="288"/>
                    </a:lnTo>
                    <a:lnTo>
                      <a:pt x="384" y="288"/>
                    </a:lnTo>
                    <a:lnTo>
                      <a:pt x="440" y="296"/>
                    </a:lnTo>
                    <a:lnTo>
                      <a:pt x="472" y="320"/>
                    </a:lnTo>
                    <a:close/>
                  </a:path>
                </a:pathLst>
              </a:custGeom>
              <a:solidFill>
                <a:srgbClr val="FFB900"/>
              </a:solidFill>
              <a:ln w="9525">
                <a:solidFill>
                  <a:schemeClr val="bg2"/>
                </a:solidFill>
                <a:round/>
                <a:headEnd/>
                <a:tailEnd/>
              </a:ln>
            </p:spPr>
            <p:txBody>
              <a:bodyPr/>
              <a:lstStyle/>
              <a:p>
                <a:endParaRPr lang="en-US" sz="1050"/>
              </a:p>
            </p:txBody>
          </p:sp>
          <p:sp>
            <p:nvSpPr>
              <p:cNvPr id="121" name="Freeform 29"/>
              <p:cNvSpPr>
                <a:spLocks/>
              </p:cNvSpPr>
              <p:nvPr/>
            </p:nvSpPr>
            <p:spPr bwMode="auto">
              <a:xfrm>
                <a:off x="3831249" y="4933409"/>
                <a:ext cx="325791" cy="373702"/>
              </a:xfrm>
              <a:custGeom>
                <a:avLst/>
                <a:gdLst>
                  <a:gd name="T0" fmla="*/ 2147483646 w 272"/>
                  <a:gd name="T1" fmla="*/ 2147483646 h 312"/>
                  <a:gd name="T2" fmla="*/ 2147483646 w 272"/>
                  <a:gd name="T3" fmla="*/ 2147483646 h 312"/>
                  <a:gd name="T4" fmla="*/ 2147483646 w 272"/>
                  <a:gd name="T5" fmla="*/ 2147483646 h 312"/>
                  <a:gd name="T6" fmla="*/ 2147483646 w 272"/>
                  <a:gd name="T7" fmla="*/ 2147483646 h 312"/>
                  <a:gd name="T8" fmla="*/ 2147483646 w 272"/>
                  <a:gd name="T9" fmla="*/ 2147483646 h 312"/>
                  <a:gd name="T10" fmla="*/ 2147483646 w 272"/>
                  <a:gd name="T11" fmla="*/ 2147483646 h 312"/>
                  <a:gd name="T12" fmla="*/ 2147483646 w 272"/>
                  <a:gd name="T13" fmla="*/ 2147483646 h 312"/>
                  <a:gd name="T14" fmla="*/ 2147483646 w 272"/>
                  <a:gd name="T15" fmla="*/ 2147483646 h 312"/>
                  <a:gd name="T16" fmla="*/ 2147483646 w 272"/>
                  <a:gd name="T17" fmla="*/ 0 h 312"/>
                  <a:gd name="T18" fmla="*/ 2147483646 w 272"/>
                  <a:gd name="T19" fmla="*/ 2147483646 h 312"/>
                  <a:gd name="T20" fmla="*/ 2147483646 w 272"/>
                  <a:gd name="T21" fmla="*/ 2147483646 h 312"/>
                  <a:gd name="T22" fmla="*/ 2147483646 w 272"/>
                  <a:gd name="T23" fmla="*/ 2147483646 h 312"/>
                  <a:gd name="T24" fmla="*/ 2147483646 w 272"/>
                  <a:gd name="T25" fmla="*/ 2147483646 h 312"/>
                  <a:gd name="T26" fmla="*/ 2147483646 w 272"/>
                  <a:gd name="T27" fmla="*/ 2147483646 h 312"/>
                  <a:gd name="T28" fmla="*/ 0 w 272"/>
                  <a:gd name="T29" fmla="*/ 2147483646 h 312"/>
                  <a:gd name="T30" fmla="*/ 2147483646 w 272"/>
                  <a:gd name="T31" fmla="*/ 2147483646 h 312"/>
                  <a:gd name="T32" fmla="*/ 2147483646 w 272"/>
                  <a:gd name="T33" fmla="*/ 2147483646 h 312"/>
                  <a:gd name="T34" fmla="*/ 2147483646 w 272"/>
                  <a:gd name="T35" fmla="*/ 2147483646 h 312"/>
                  <a:gd name="T36" fmla="*/ 2147483646 w 272"/>
                  <a:gd name="T37" fmla="*/ 2147483646 h 312"/>
                  <a:gd name="T38" fmla="*/ 2147483646 w 272"/>
                  <a:gd name="T39" fmla="*/ 2147483646 h 312"/>
                  <a:gd name="T40" fmla="*/ 2147483646 w 272"/>
                  <a:gd name="T41" fmla="*/ 2147483646 h 312"/>
                  <a:gd name="T42" fmla="*/ 2147483646 w 272"/>
                  <a:gd name="T43" fmla="*/ 2147483646 h 312"/>
                  <a:gd name="T44" fmla="*/ 2147483646 w 272"/>
                  <a:gd name="T45" fmla="*/ 2147483646 h 312"/>
                  <a:gd name="T46" fmla="*/ 2147483646 w 272"/>
                  <a:gd name="T47" fmla="*/ 2147483646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2"/>
                  <a:gd name="T73" fmla="*/ 0 h 312"/>
                  <a:gd name="T74" fmla="*/ 272 w 272"/>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2" h="312">
                    <a:moveTo>
                      <a:pt x="184" y="288"/>
                    </a:moveTo>
                    <a:lnTo>
                      <a:pt x="216" y="240"/>
                    </a:lnTo>
                    <a:lnTo>
                      <a:pt x="272" y="200"/>
                    </a:lnTo>
                    <a:lnTo>
                      <a:pt x="232" y="176"/>
                    </a:lnTo>
                    <a:lnTo>
                      <a:pt x="216" y="136"/>
                    </a:lnTo>
                    <a:lnTo>
                      <a:pt x="200" y="120"/>
                    </a:lnTo>
                    <a:lnTo>
                      <a:pt x="192" y="72"/>
                    </a:lnTo>
                    <a:lnTo>
                      <a:pt x="168" y="16"/>
                    </a:lnTo>
                    <a:lnTo>
                      <a:pt x="136" y="0"/>
                    </a:lnTo>
                    <a:lnTo>
                      <a:pt x="112" y="16"/>
                    </a:lnTo>
                    <a:lnTo>
                      <a:pt x="24" y="24"/>
                    </a:lnTo>
                    <a:lnTo>
                      <a:pt x="32" y="56"/>
                    </a:lnTo>
                    <a:lnTo>
                      <a:pt x="8" y="64"/>
                    </a:lnTo>
                    <a:lnTo>
                      <a:pt x="32" y="104"/>
                    </a:lnTo>
                    <a:lnTo>
                      <a:pt x="0" y="144"/>
                    </a:lnTo>
                    <a:lnTo>
                      <a:pt x="40" y="184"/>
                    </a:lnTo>
                    <a:lnTo>
                      <a:pt x="64" y="200"/>
                    </a:lnTo>
                    <a:lnTo>
                      <a:pt x="40" y="216"/>
                    </a:lnTo>
                    <a:lnTo>
                      <a:pt x="32" y="280"/>
                    </a:lnTo>
                    <a:lnTo>
                      <a:pt x="80" y="280"/>
                    </a:lnTo>
                    <a:lnTo>
                      <a:pt x="96" y="312"/>
                    </a:lnTo>
                    <a:lnTo>
                      <a:pt x="128" y="280"/>
                    </a:lnTo>
                    <a:lnTo>
                      <a:pt x="152" y="304"/>
                    </a:lnTo>
                    <a:lnTo>
                      <a:pt x="184" y="288"/>
                    </a:lnTo>
                    <a:close/>
                  </a:path>
                </a:pathLst>
              </a:custGeom>
              <a:solidFill>
                <a:schemeClr val="folHlink"/>
              </a:solidFill>
              <a:ln w="9525">
                <a:solidFill>
                  <a:schemeClr val="bg1"/>
                </a:solidFill>
                <a:round/>
                <a:headEnd/>
                <a:tailEnd/>
              </a:ln>
            </p:spPr>
            <p:txBody>
              <a:bodyPr/>
              <a:lstStyle/>
              <a:p>
                <a:endParaRPr lang="en-US" sz="1050"/>
              </a:p>
            </p:txBody>
          </p:sp>
          <p:sp>
            <p:nvSpPr>
              <p:cNvPr id="122" name="Freeform 30"/>
              <p:cNvSpPr>
                <a:spLocks/>
              </p:cNvSpPr>
              <p:nvPr/>
            </p:nvSpPr>
            <p:spPr bwMode="auto">
              <a:xfrm>
                <a:off x="3399628" y="4367548"/>
                <a:ext cx="488687" cy="795314"/>
              </a:xfrm>
              <a:custGeom>
                <a:avLst/>
                <a:gdLst>
                  <a:gd name="T0" fmla="*/ 2147483646 w 408"/>
                  <a:gd name="T1" fmla="*/ 2147483646 h 664"/>
                  <a:gd name="T2" fmla="*/ 2147483646 w 408"/>
                  <a:gd name="T3" fmla="*/ 2147483646 h 664"/>
                  <a:gd name="T4" fmla="*/ 2147483646 w 408"/>
                  <a:gd name="T5" fmla="*/ 2147483646 h 664"/>
                  <a:gd name="T6" fmla="*/ 2147483646 w 408"/>
                  <a:gd name="T7" fmla="*/ 2147483646 h 664"/>
                  <a:gd name="T8" fmla="*/ 2147483646 w 408"/>
                  <a:gd name="T9" fmla="*/ 2147483646 h 664"/>
                  <a:gd name="T10" fmla="*/ 2147483646 w 408"/>
                  <a:gd name="T11" fmla="*/ 2147483646 h 664"/>
                  <a:gd name="T12" fmla="*/ 2147483646 w 408"/>
                  <a:gd name="T13" fmla="*/ 2147483646 h 664"/>
                  <a:gd name="T14" fmla="*/ 2147483646 w 408"/>
                  <a:gd name="T15" fmla="*/ 2147483646 h 664"/>
                  <a:gd name="T16" fmla="*/ 2147483646 w 408"/>
                  <a:gd name="T17" fmla="*/ 2147483646 h 664"/>
                  <a:gd name="T18" fmla="*/ 2147483646 w 408"/>
                  <a:gd name="T19" fmla="*/ 2147483646 h 664"/>
                  <a:gd name="T20" fmla="*/ 2147483646 w 408"/>
                  <a:gd name="T21" fmla="*/ 2147483646 h 664"/>
                  <a:gd name="T22" fmla="*/ 2147483646 w 408"/>
                  <a:gd name="T23" fmla="*/ 2147483646 h 664"/>
                  <a:gd name="T24" fmla="*/ 2147483646 w 408"/>
                  <a:gd name="T25" fmla="*/ 2147483646 h 664"/>
                  <a:gd name="T26" fmla="*/ 2147483646 w 408"/>
                  <a:gd name="T27" fmla="*/ 2147483646 h 664"/>
                  <a:gd name="T28" fmla="*/ 2147483646 w 408"/>
                  <a:gd name="T29" fmla="*/ 2147483646 h 664"/>
                  <a:gd name="T30" fmla="*/ 2147483646 w 408"/>
                  <a:gd name="T31" fmla="*/ 0 h 664"/>
                  <a:gd name="T32" fmla="*/ 2147483646 w 408"/>
                  <a:gd name="T33" fmla="*/ 2147483646 h 664"/>
                  <a:gd name="T34" fmla="*/ 2147483646 w 408"/>
                  <a:gd name="T35" fmla="*/ 2147483646 h 664"/>
                  <a:gd name="T36" fmla="*/ 2147483646 w 408"/>
                  <a:gd name="T37" fmla="*/ 2147483646 h 664"/>
                  <a:gd name="T38" fmla="*/ 2147483646 w 408"/>
                  <a:gd name="T39" fmla="*/ 2147483646 h 664"/>
                  <a:gd name="T40" fmla="*/ 2147483646 w 408"/>
                  <a:gd name="T41" fmla="*/ 2147483646 h 664"/>
                  <a:gd name="T42" fmla="*/ 2147483646 w 408"/>
                  <a:gd name="T43" fmla="*/ 2147483646 h 664"/>
                  <a:gd name="T44" fmla="*/ 0 w 408"/>
                  <a:gd name="T45" fmla="*/ 2147483646 h 664"/>
                  <a:gd name="T46" fmla="*/ 2147483646 w 408"/>
                  <a:gd name="T47" fmla="*/ 2147483646 h 664"/>
                  <a:gd name="T48" fmla="*/ 2147483646 w 408"/>
                  <a:gd name="T49" fmla="*/ 2147483646 h 664"/>
                  <a:gd name="T50" fmla="*/ 2147483646 w 408"/>
                  <a:gd name="T51" fmla="*/ 2147483646 h 664"/>
                  <a:gd name="T52" fmla="*/ 2147483646 w 408"/>
                  <a:gd name="T53" fmla="*/ 2147483646 h 664"/>
                  <a:gd name="T54" fmla="*/ 2147483646 w 408"/>
                  <a:gd name="T55" fmla="*/ 2147483646 h 664"/>
                  <a:gd name="T56" fmla="*/ 2147483646 w 408"/>
                  <a:gd name="T57" fmla="*/ 2147483646 h 664"/>
                  <a:gd name="T58" fmla="*/ 2147483646 w 408"/>
                  <a:gd name="T59" fmla="*/ 2147483646 h 664"/>
                  <a:gd name="T60" fmla="*/ 2147483646 w 408"/>
                  <a:gd name="T61" fmla="*/ 2147483646 h 664"/>
                  <a:gd name="T62" fmla="*/ 2147483646 w 408"/>
                  <a:gd name="T63" fmla="*/ 2147483646 h 664"/>
                  <a:gd name="T64" fmla="*/ 2147483646 w 408"/>
                  <a:gd name="T65" fmla="*/ 2147483646 h 664"/>
                  <a:gd name="T66" fmla="*/ 2147483646 w 408"/>
                  <a:gd name="T67" fmla="*/ 2147483646 h 664"/>
                  <a:gd name="T68" fmla="*/ 2147483646 w 408"/>
                  <a:gd name="T69" fmla="*/ 2147483646 h 664"/>
                  <a:gd name="T70" fmla="*/ 2147483646 w 408"/>
                  <a:gd name="T71" fmla="*/ 2147483646 h 664"/>
                  <a:gd name="T72" fmla="*/ 2147483646 w 408"/>
                  <a:gd name="T73" fmla="*/ 2147483646 h 664"/>
                  <a:gd name="T74" fmla="*/ 2147483646 w 408"/>
                  <a:gd name="T75" fmla="*/ 2147483646 h 664"/>
                  <a:gd name="T76" fmla="*/ 2147483646 w 408"/>
                  <a:gd name="T77" fmla="*/ 2147483646 h 664"/>
                  <a:gd name="T78" fmla="*/ 2147483646 w 408"/>
                  <a:gd name="T79" fmla="*/ 2147483646 h 664"/>
                  <a:gd name="T80" fmla="*/ 2147483646 w 408"/>
                  <a:gd name="T81" fmla="*/ 2147483646 h 6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664"/>
                  <a:gd name="T125" fmla="*/ 408 w 408"/>
                  <a:gd name="T126" fmla="*/ 664 h 66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664">
                    <a:moveTo>
                      <a:pt x="376" y="632"/>
                    </a:moveTo>
                    <a:lnTo>
                      <a:pt x="408" y="592"/>
                    </a:lnTo>
                    <a:lnTo>
                      <a:pt x="384" y="552"/>
                    </a:lnTo>
                    <a:lnTo>
                      <a:pt x="408" y="544"/>
                    </a:lnTo>
                    <a:lnTo>
                      <a:pt x="400" y="504"/>
                    </a:lnTo>
                    <a:lnTo>
                      <a:pt x="400" y="480"/>
                    </a:lnTo>
                    <a:lnTo>
                      <a:pt x="368" y="440"/>
                    </a:lnTo>
                    <a:lnTo>
                      <a:pt x="336" y="440"/>
                    </a:lnTo>
                    <a:lnTo>
                      <a:pt x="336" y="344"/>
                    </a:lnTo>
                    <a:lnTo>
                      <a:pt x="280" y="328"/>
                    </a:lnTo>
                    <a:lnTo>
                      <a:pt x="288" y="264"/>
                    </a:lnTo>
                    <a:lnTo>
                      <a:pt x="208" y="184"/>
                    </a:lnTo>
                    <a:lnTo>
                      <a:pt x="240" y="136"/>
                    </a:lnTo>
                    <a:lnTo>
                      <a:pt x="176" y="80"/>
                    </a:lnTo>
                    <a:lnTo>
                      <a:pt x="184" y="24"/>
                    </a:lnTo>
                    <a:lnTo>
                      <a:pt x="144" y="0"/>
                    </a:lnTo>
                    <a:lnTo>
                      <a:pt x="104" y="48"/>
                    </a:lnTo>
                    <a:lnTo>
                      <a:pt x="96" y="128"/>
                    </a:lnTo>
                    <a:lnTo>
                      <a:pt x="64" y="160"/>
                    </a:lnTo>
                    <a:lnTo>
                      <a:pt x="72" y="200"/>
                    </a:lnTo>
                    <a:lnTo>
                      <a:pt x="32" y="224"/>
                    </a:lnTo>
                    <a:lnTo>
                      <a:pt x="16" y="200"/>
                    </a:lnTo>
                    <a:lnTo>
                      <a:pt x="0" y="264"/>
                    </a:lnTo>
                    <a:lnTo>
                      <a:pt x="64" y="368"/>
                    </a:lnTo>
                    <a:lnTo>
                      <a:pt x="48" y="448"/>
                    </a:lnTo>
                    <a:lnTo>
                      <a:pt x="72" y="472"/>
                    </a:lnTo>
                    <a:lnTo>
                      <a:pt x="56" y="512"/>
                    </a:lnTo>
                    <a:lnTo>
                      <a:pt x="80" y="560"/>
                    </a:lnTo>
                    <a:lnTo>
                      <a:pt x="112" y="568"/>
                    </a:lnTo>
                    <a:lnTo>
                      <a:pt x="88" y="600"/>
                    </a:lnTo>
                    <a:lnTo>
                      <a:pt x="96" y="640"/>
                    </a:lnTo>
                    <a:lnTo>
                      <a:pt x="64" y="664"/>
                    </a:lnTo>
                    <a:lnTo>
                      <a:pt x="104" y="664"/>
                    </a:lnTo>
                    <a:lnTo>
                      <a:pt x="168" y="632"/>
                    </a:lnTo>
                    <a:lnTo>
                      <a:pt x="200" y="656"/>
                    </a:lnTo>
                    <a:lnTo>
                      <a:pt x="200" y="624"/>
                    </a:lnTo>
                    <a:lnTo>
                      <a:pt x="240" y="632"/>
                    </a:lnTo>
                    <a:lnTo>
                      <a:pt x="280" y="600"/>
                    </a:lnTo>
                    <a:lnTo>
                      <a:pt x="320" y="600"/>
                    </a:lnTo>
                    <a:lnTo>
                      <a:pt x="344" y="632"/>
                    </a:lnTo>
                    <a:lnTo>
                      <a:pt x="376" y="632"/>
                    </a:lnTo>
                    <a:close/>
                  </a:path>
                </a:pathLst>
              </a:custGeom>
              <a:solidFill>
                <a:srgbClr val="FFB900"/>
              </a:solidFill>
              <a:ln w="9525">
                <a:solidFill>
                  <a:schemeClr val="bg2"/>
                </a:solidFill>
                <a:round/>
                <a:headEnd/>
                <a:tailEnd/>
              </a:ln>
            </p:spPr>
            <p:txBody>
              <a:bodyPr/>
              <a:lstStyle/>
              <a:p>
                <a:endParaRPr lang="en-US" sz="1050"/>
              </a:p>
            </p:txBody>
          </p:sp>
          <p:sp>
            <p:nvSpPr>
              <p:cNvPr id="124" name="Freeform 31"/>
              <p:cNvSpPr>
                <a:spLocks/>
              </p:cNvSpPr>
              <p:nvPr/>
            </p:nvSpPr>
            <p:spPr bwMode="auto">
              <a:xfrm>
                <a:off x="3033030" y="4239391"/>
                <a:ext cx="498269" cy="986956"/>
              </a:xfrm>
              <a:custGeom>
                <a:avLst/>
                <a:gdLst>
                  <a:gd name="T0" fmla="*/ 2147483646 w 416"/>
                  <a:gd name="T1" fmla="*/ 2147483646 h 824"/>
                  <a:gd name="T2" fmla="*/ 2147483646 w 416"/>
                  <a:gd name="T3" fmla="*/ 2147483646 h 824"/>
                  <a:gd name="T4" fmla="*/ 2147483646 w 416"/>
                  <a:gd name="T5" fmla="*/ 2147483646 h 824"/>
                  <a:gd name="T6" fmla="*/ 2147483646 w 416"/>
                  <a:gd name="T7" fmla="*/ 2147483646 h 824"/>
                  <a:gd name="T8" fmla="*/ 2147483646 w 416"/>
                  <a:gd name="T9" fmla="*/ 2147483646 h 824"/>
                  <a:gd name="T10" fmla="*/ 2147483646 w 416"/>
                  <a:gd name="T11" fmla="*/ 2147483646 h 824"/>
                  <a:gd name="T12" fmla="*/ 2147483646 w 416"/>
                  <a:gd name="T13" fmla="*/ 2147483646 h 824"/>
                  <a:gd name="T14" fmla="*/ 2147483646 w 416"/>
                  <a:gd name="T15" fmla="*/ 2147483646 h 824"/>
                  <a:gd name="T16" fmla="*/ 2147483646 w 416"/>
                  <a:gd name="T17" fmla="*/ 2147483646 h 824"/>
                  <a:gd name="T18" fmla="*/ 2147483646 w 416"/>
                  <a:gd name="T19" fmla="*/ 2147483646 h 824"/>
                  <a:gd name="T20" fmla="*/ 2147483646 w 416"/>
                  <a:gd name="T21" fmla="*/ 2147483646 h 824"/>
                  <a:gd name="T22" fmla="*/ 2147483646 w 416"/>
                  <a:gd name="T23" fmla="*/ 2147483646 h 824"/>
                  <a:gd name="T24" fmla="*/ 2147483646 w 416"/>
                  <a:gd name="T25" fmla="*/ 2147483646 h 824"/>
                  <a:gd name="T26" fmla="*/ 2147483646 w 416"/>
                  <a:gd name="T27" fmla="*/ 2147483646 h 824"/>
                  <a:gd name="T28" fmla="*/ 2147483646 w 416"/>
                  <a:gd name="T29" fmla="*/ 2147483646 h 824"/>
                  <a:gd name="T30" fmla="*/ 2147483646 w 416"/>
                  <a:gd name="T31" fmla="*/ 2147483646 h 824"/>
                  <a:gd name="T32" fmla="*/ 2147483646 w 416"/>
                  <a:gd name="T33" fmla="*/ 2147483646 h 824"/>
                  <a:gd name="T34" fmla="*/ 2147483646 w 416"/>
                  <a:gd name="T35" fmla="*/ 2147483646 h 824"/>
                  <a:gd name="T36" fmla="*/ 2147483646 w 416"/>
                  <a:gd name="T37" fmla="*/ 2147483646 h 824"/>
                  <a:gd name="T38" fmla="*/ 2147483646 w 416"/>
                  <a:gd name="T39" fmla="*/ 0 h 824"/>
                  <a:gd name="T40" fmla="*/ 2147483646 w 416"/>
                  <a:gd name="T41" fmla="*/ 2147483646 h 824"/>
                  <a:gd name="T42" fmla="*/ 2147483646 w 416"/>
                  <a:gd name="T43" fmla="*/ 2147483646 h 824"/>
                  <a:gd name="T44" fmla="*/ 2147483646 w 416"/>
                  <a:gd name="T45" fmla="*/ 2147483646 h 824"/>
                  <a:gd name="T46" fmla="*/ 2147483646 w 416"/>
                  <a:gd name="T47" fmla="*/ 2147483646 h 824"/>
                  <a:gd name="T48" fmla="*/ 2147483646 w 416"/>
                  <a:gd name="T49" fmla="*/ 2147483646 h 824"/>
                  <a:gd name="T50" fmla="*/ 2147483646 w 416"/>
                  <a:gd name="T51" fmla="*/ 2147483646 h 824"/>
                  <a:gd name="T52" fmla="*/ 2147483646 w 416"/>
                  <a:gd name="T53" fmla="*/ 2147483646 h 824"/>
                  <a:gd name="T54" fmla="*/ 0 w 416"/>
                  <a:gd name="T55" fmla="*/ 2147483646 h 824"/>
                  <a:gd name="T56" fmla="*/ 2147483646 w 416"/>
                  <a:gd name="T57" fmla="*/ 2147483646 h 824"/>
                  <a:gd name="T58" fmla="*/ 2147483646 w 416"/>
                  <a:gd name="T59" fmla="*/ 2147483646 h 824"/>
                  <a:gd name="T60" fmla="*/ 2147483646 w 416"/>
                  <a:gd name="T61" fmla="*/ 2147483646 h 824"/>
                  <a:gd name="T62" fmla="*/ 2147483646 w 416"/>
                  <a:gd name="T63" fmla="*/ 2147483646 h 824"/>
                  <a:gd name="T64" fmla="*/ 2147483646 w 416"/>
                  <a:gd name="T65" fmla="*/ 2147483646 h 824"/>
                  <a:gd name="T66" fmla="*/ 2147483646 w 416"/>
                  <a:gd name="T67" fmla="*/ 2147483646 h 824"/>
                  <a:gd name="T68" fmla="*/ 2147483646 w 416"/>
                  <a:gd name="T69" fmla="*/ 2147483646 h 824"/>
                  <a:gd name="T70" fmla="*/ 2147483646 w 416"/>
                  <a:gd name="T71" fmla="*/ 2147483646 h 824"/>
                  <a:gd name="T72" fmla="*/ 2147483646 w 416"/>
                  <a:gd name="T73" fmla="*/ 2147483646 h 824"/>
                  <a:gd name="T74" fmla="*/ 2147483646 w 416"/>
                  <a:gd name="T75" fmla="*/ 2147483646 h 824"/>
                  <a:gd name="T76" fmla="*/ 2147483646 w 416"/>
                  <a:gd name="T77" fmla="*/ 2147483646 h 824"/>
                  <a:gd name="T78" fmla="*/ 2147483646 w 416"/>
                  <a:gd name="T79" fmla="*/ 2147483646 h 824"/>
                  <a:gd name="T80" fmla="*/ 2147483646 w 416"/>
                  <a:gd name="T81" fmla="*/ 2147483646 h 8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6"/>
                  <a:gd name="T124" fmla="*/ 0 h 824"/>
                  <a:gd name="T125" fmla="*/ 416 w 416"/>
                  <a:gd name="T126" fmla="*/ 824 h 8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6" h="824">
                    <a:moveTo>
                      <a:pt x="368" y="768"/>
                    </a:moveTo>
                    <a:lnTo>
                      <a:pt x="400" y="744"/>
                    </a:lnTo>
                    <a:lnTo>
                      <a:pt x="392" y="704"/>
                    </a:lnTo>
                    <a:lnTo>
                      <a:pt x="416" y="672"/>
                    </a:lnTo>
                    <a:lnTo>
                      <a:pt x="384" y="664"/>
                    </a:lnTo>
                    <a:lnTo>
                      <a:pt x="360" y="616"/>
                    </a:lnTo>
                    <a:lnTo>
                      <a:pt x="376" y="576"/>
                    </a:lnTo>
                    <a:lnTo>
                      <a:pt x="352" y="552"/>
                    </a:lnTo>
                    <a:lnTo>
                      <a:pt x="368" y="472"/>
                    </a:lnTo>
                    <a:lnTo>
                      <a:pt x="304" y="368"/>
                    </a:lnTo>
                    <a:lnTo>
                      <a:pt x="320" y="304"/>
                    </a:lnTo>
                    <a:lnTo>
                      <a:pt x="336" y="328"/>
                    </a:lnTo>
                    <a:lnTo>
                      <a:pt x="376" y="304"/>
                    </a:lnTo>
                    <a:lnTo>
                      <a:pt x="368" y="264"/>
                    </a:lnTo>
                    <a:lnTo>
                      <a:pt x="400" y="232"/>
                    </a:lnTo>
                    <a:lnTo>
                      <a:pt x="408" y="152"/>
                    </a:lnTo>
                    <a:lnTo>
                      <a:pt x="360" y="112"/>
                    </a:lnTo>
                    <a:lnTo>
                      <a:pt x="368" y="72"/>
                    </a:lnTo>
                    <a:lnTo>
                      <a:pt x="272" y="16"/>
                    </a:lnTo>
                    <a:lnTo>
                      <a:pt x="176" y="0"/>
                    </a:lnTo>
                    <a:lnTo>
                      <a:pt x="128" y="8"/>
                    </a:lnTo>
                    <a:lnTo>
                      <a:pt x="48" y="32"/>
                    </a:lnTo>
                    <a:lnTo>
                      <a:pt x="40" y="176"/>
                    </a:lnTo>
                    <a:lnTo>
                      <a:pt x="16" y="240"/>
                    </a:lnTo>
                    <a:lnTo>
                      <a:pt x="48" y="320"/>
                    </a:lnTo>
                    <a:lnTo>
                      <a:pt x="16" y="376"/>
                    </a:lnTo>
                    <a:lnTo>
                      <a:pt x="16" y="480"/>
                    </a:lnTo>
                    <a:lnTo>
                      <a:pt x="0" y="512"/>
                    </a:lnTo>
                    <a:lnTo>
                      <a:pt x="8" y="536"/>
                    </a:lnTo>
                    <a:lnTo>
                      <a:pt x="48" y="480"/>
                    </a:lnTo>
                    <a:lnTo>
                      <a:pt x="72" y="504"/>
                    </a:lnTo>
                    <a:lnTo>
                      <a:pt x="64" y="576"/>
                    </a:lnTo>
                    <a:lnTo>
                      <a:pt x="88" y="608"/>
                    </a:lnTo>
                    <a:lnTo>
                      <a:pt x="136" y="600"/>
                    </a:lnTo>
                    <a:lnTo>
                      <a:pt x="120" y="632"/>
                    </a:lnTo>
                    <a:lnTo>
                      <a:pt x="152" y="744"/>
                    </a:lnTo>
                    <a:lnTo>
                      <a:pt x="128" y="784"/>
                    </a:lnTo>
                    <a:lnTo>
                      <a:pt x="144" y="824"/>
                    </a:lnTo>
                    <a:lnTo>
                      <a:pt x="208" y="816"/>
                    </a:lnTo>
                    <a:lnTo>
                      <a:pt x="320" y="800"/>
                    </a:lnTo>
                    <a:lnTo>
                      <a:pt x="368" y="768"/>
                    </a:lnTo>
                    <a:close/>
                  </a:path>
                </a:pathLst>
              </a:custGeom>
              <a:solidFill>
                <a:srgbClr val="FFB900"/>
              </a:solidFill>
              <a:ln w="9525">
                <a:solidFill>
                  <a:schemeClr val="bg2"/>
                </a:solidFill>
                <a:round/>
                <a:headEnd/>
                <a:tailEnd/>
              </a:ln>
            </p:spPr>
            <p:txBody>
              <a:bodyPr/>
              <a:lstStyle/>
              <a:p>
                <a:endParaRPr lang="en-US" sz="1050"/>
              </a:p>
            </p:txBody>
          </p:sp>
          <p:sp>
            <p:nvSpPr>
              <p:cNvPr id="125" name="Freeform 32"/>
              <p:cNvSpPr>
                <a:spLocks/>
              </p:cNvSpPr>
              <p:nvPr/>
            </p:nvSpPr>
            <p:spPr bwMode="auto">
              <a:xfrm>
                <a:off x="3575049" y="5075897"/>
                <a:ext cx="603672" cy="728239"/>
              </a:xfrm>
              <a:custGeom>
                <a:avLst/>
                <a:gdLst>
                  <a:gd name="T0" fmla="*/ 2147483646 w 504"/>
                  <a:gd name="T1" fmla="*/ 2147483646 h 608"/>
                  <a:gd name="T2" fmla="*/ 2147483646 w 504"/>
                  <a:gd name="T3" fmla="*/ 2147483646 h 608"/>
                  <a:gd name="T4" fmla="*/ 2147483646 w 504"/>
                  <a:gd name="T5" fmla="*/ 2147483646 h 608"/>
                  <a:gd name="T6" fmla="*/ 2147483646 w 504"/>
                  <a:gd name="T7" fmla="*/ 2147483646 h 608"/>
                  <a:gd name="T8" fmla="*/ 2147483646 w 504"/>
                  <a:gd name="T9" fmla="*/ 2147483646 h 608"/>
                  <a:gd name="T10" fmla="*/ 2147483646 w 504"/>
                  <a:gd name="T11" fmla="*/ 2147483646 h 608"/>
                  <a:gd name="T12" fmla="*/ 2147483646 w 504"/>
                  <a:gd name="T13" fmla="*/ 2147483646 h 608"/>
                  <a:gd name="T14" fmla="*/ 2147483646 w 504"/>
                  <a:gd name="T15" fmla="*/ 2147483646 h 608"/>
                  <a:gd name="T16" fmla="*/ 2147483646 w 504"/>
                  <a:gd name="T17" fmla="*/ 2147483646 h 608"/>
                  <a:gd name="T18" fmla="*/ 2147483646 w 504"/>
                  <a:gd name="T19" fmla="*/ 2147483646 h 608"/>
                  <a:gd name="T20" fmla="*/ 2147483646 w 504"/>
                  <a:gd name="T21" fmla="*/ 2147483646 h 608"/>
                  <a:gd name="T22" fmla="*/ 2147483646 w 504"/>
                  <a:gd name="T23" fmla="*/ 2147483646 h 608"/>
                  <a:gd name="T24" fmla="*/ 2147483646 w 504"/>
                  <a:gd name="T25" fmla="*/ 2147483646 h 608"/>
                  <a:gd name="T26" fmla="*/ 2147483646 w 504"/>
                  <a:gd name="T27" fmla="*/ 2147483646 h 608"/>
                  <a:gd name="T28" fmla="*/ 2147483646 w 504"/>
                  <a:gd name="T29" fmla="*/ 2147483646 h 608"/>
                  <a:gd name="T30" fmla="*/ 2147483646 w 504"/>
                  <a:gd name="T31" fmla="*/ 0 h 608"/>
                  <a:gd name="T32" fmla="*/ 2147483646 w 504"/>
                  <a:gd name="T33" fmla="*/ 0 h 608"/>
                  <a:gd name="T34" fmla="*/ 2147483646 w 504"/>
                  <a:gd name="T35" fmla="*/ 2147483646 h 608"/>
                  <a:gd name="T36" fmla="*/ 2147483646 w 504"/>
                  <a:gd name="T37" fmla="*/ 2147483646 h 608"/>
                  <a:gd name="T38" fmla="*/ 2147483646 w 504"/>
                  <a:gd name="T39" fmla="*/ 2147483646 h 608"/>
                  <a:gd name="T40" fmla="*/ 2147483646 w 504"/>
                  <a:gd name="T41" fmla="*/ 2147483646 h 608"/>
                  <a:gd name="T42" fmla="*/ 0 w 504"/>
                  <a:gd name="T43" fmla="*/ 2147483646 h 608"/>
                  <a:gd name="T44" fmla="*/ 2147483646 w 504"/>
                  <a:gd name="T45" fmla="*/ 2147483646 h 608"/>
                  <a:gd name="T46" fmla="*/ 2147483646 w 504"/>
                  <a:gd name="T47" fmla="*/ 2147483646 h 608"/>
                  <a:gd name="T48" fmla="*/ 2147483646 w 504"/>
                  <a:gd name="T49" fmla="*/ 2147483646 h 608"/>
                  <a:gd name="T50" fmla="*/ 2147483646 w 504"/>
                  <a:gd name="T51" fmla="*/ 2147483646 h 608"/>
                  <a:gd name="T52" fmla="*/ 2147483646 w 504"/>
                  <a:gd name="T53" fmla="*/ 2147483646 h 608"/>
                  <a:gd name="T54" fmla="*/ 2147483646 w 504"/>
                  <a:gd name="T55" fmla="*/ 2147483646 h 608"/>
                  <a:gd name="T56" fmla="*/ 2147483646 w 504"/>
                  <a:gd name="T57" fmla="*/ 2147483646 h 608"/>
                  <a:gd name="T58" fmla="*/ 2147483646 w 504"/>
                  <a:gd name="T59" fmla="*/ 2147483646 h 608"/>
                  <a:gd name="T60" fmla="*/ 2147483646 w 504"/>
                  <a:gd name="T61" fmla="*/ 2147483646 h 608"/>
                  <a:gd name="T62" fmla="*/ 2147483646 w 504"/>
                  <a:gd name="T63" fmla="*/ 2147483646 h 608"/>
                  <a:gd name="T64" fmla="*/ 2147483646 w 504"/>
                  <a:gd name="T65" fmla="*/ 2147483646 h 608"/>
                  <a:gd name="T66" fmla="*/ 2147483646 w 504"/>
                  <a:gd name="T67" fmla="*/ 2147483646 h 608"/>
                  <a:gd name="T68" fmla="*/ 2147483646 w 504"/>
                  <a:gd name="T69" fmla="*/ 2147483646 h 608"/>
                  <a:gd name="T70" fmla="*/ 2147483646 w 504"/>
                  <a:gd name="T71" fmla="*/ 2147483646 h 608"/>
                  <a:gd name="T72" fmla="*/ 2147483646 w 504"/>
                  <a:gd name="T73" fmla="*/ 2147483646 h 608"/>
                  <a:gd name="T74" fmla="*/ 2147483646 w 504"/>
                  <a:gd name="T75" fmla="*/ 2147483646 h 608"/>
                  <a:gd name="T76" fmla="*/ 2147483646 w 504"/>
                  <a:gd name="T77" fmla="*/ 2147483646 h 608"/>
                  <a:gd name="T78" fmla="*/ 2147483646 w 504"/>
                  <a:gd name="T79" fmla="*/ 2147483646 h 608"/>
                  <a:gd name="T80" fmla="*/ 2147483646 w 504"/>
                  <a:gd name="T81" fmla="*/ 2147483646 h 6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4"/>
                  <a:gd name="T124" fmla="*/ 0 h 608"/>
                  <a:gd name="T125" fmla="*/ 504 w 504"/>
                  <a:gd name="T126" fmla="*/ 608 h 6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4" h="608">
                    <a:moveTo>
                      <a:pt x="456" y="368"/>
                    </a:moveTo>
                    <a:lnTo>
                      <a:pt x="504" y="280"/>
                    </a:lnTo>
                    <a:lnTo>
                      <a:pt x="440" y="200"/>
                    </a:lnTo>
                    <a:lnTo>
                      <a:pt x="408" y="208"/>
                    </a:lnTo>
                    <a:lnTo>
                      <a:pt x="392" y="168"/>
                    </a:lnTo>
                    <a:lnTo>
                      <a:pt x="368" y="184"/>
                    </a:lnTo>
                    <a:lnTo>
                      <a:pt x="344" y="168"/>
                    </a:lnTo>
                    <a:lnTo>
                      <a:pt x="312" y="192"/>
                    </a:lnTo>
                    <a:lnTo>
                      <a:pt x="296" y="160"/>
                    </a:lnTo>
                    <a:lnTo>
                      <a:pt x="248" y="168"/>
                    </a:lnTo>
                    <a:lnTo>
                      <a:pt x="248" y="96"/>
                    </a:lnTo>
                    <a:lnTo>
                      <a:pt x="280" y="80"/>
                    </a:lnTo>
                    <a:lnTo>
                      <a:pt x="240" y="48"/>
                    </a:lnTo>
                    <a:lnTo>
                      <a:pt x="216" y="32"/>
                    </a:lnTo>
                    <a:lnTo>
                      <a:pt x="184" y="32"/>
                    </a:lnTo>
                    <a:lnTo>
                      <a:pt x="160" y="0"/>
                    </a:lnTo>
                    <a:lnTo>
                      <a:pt x="120" y="0"/>
                    </a:lnTo>
                    <a:lnTo>
                      <a:pt x="80" y="32"/>
                    </a:lnTo>
                    <a:lnTo>
                      <a:pt x="40" y="24"/>
                    </a:lnTo>
                    <a:lnTo>
                      <a:pt x="40" y="56"/>
                    </a:lnTo>
                    <a:lnTo>
                      <a:pt x="32" y="88"/>
                    </a:lnTo>
                    <a:lnTo>
                      <a:pt x="0" y="120"/>
                    </a:lnTo>
                    <a:lnTo>
                      <a:pt x="40" y="160"/>
                    </a:lnTo>
                    <a:lnTo>
                      <a:pt x="96" y="160"/>
                    </a:lnTo>
                    <a:lnTo>
                      <a:pt x="136" y="272"/>
                    </a:lnTo>
                    <a:lnTo>
                      <a:pt x="104" y="288"/>
                    </a:lnTo>
                    <a:lnTo>
                      <a:pt x="104" y="312"/>
                    </a:lnTo>
                    <a:lnTo>
                      <a:pt x="72" y="328"/>
                    </a:lnTo>
                    <a:lnTo>
                      <a:pt x="80" y="400"/>
                    </a:lnTo>
                    <a:lnTo>
                      <a:pt x="104" y="448"/>
                    </a:lnTo>
                    <a:lnTo>
                      <a:pt x="96" y="488"/>
                    </a:lnTo>
                    <a:lnTo>
                      <a:pt x="120" y="520"/>
                    </a:lnTo>
                    <a:lnTo>
                      <a:pt x="120" y="608"/>
                    </a:lnTo>
                    <a:lnTo>
                      <a:pt x="160" y="600"/>
                    </a:lnTo>
                    <a:lnTo>
                      <a:pt x="184" y="560"/>
                    </a:lnTo>
                    <a:lnTo>
                      <a:pt x="208" y="560"/>
                    </a:lnTo>
                    <a:lnTo>
                      <a:pt x="272" y="480"/>
                    </a:lnTo>
                    <a:lnTo>
                      <a:pt x="336" y="408"/>
                    </a:lnTo>
                    <a:lnTo>
                      <a:pt x="384" y="400"/>
                    </a:lnTo>
                    <a:lnTo>
                      <a:pt x="416" y="368"/>
                    </a:lnTo>
                    <a:lnTo>
                      <a:pt x="456" y="368"/>
                    </a:lnTo>
                    <a:close/>
                  </a:path>
                </a:pathLst>
              </a:custGeom>
              <a:solidFill>
                <a:srgbClr val="FFB900"/>
              </a:solidFill>
              <a:ln w="9525">
                <a:solidFill>
                  <a:schemeClr val="bg2"/>
                </a:solidFill>
                <a:round/>
                <a:headEnd/>
                <a:tailEnd/>
              </a:ln>
            </p:spPr>
            <p:txBody>
              <a:bodyPr/>
              <a:lstStyle/>
              <a:p>
                <a:endParaRPr lang="en-US" sz="1050"/>
              </a:p>
            </p:txBody>
          </p:sp>
          <p:sp>
            <p:nvSpPr>
              <p:cNvPr id="126" name="Freeform 33"/>
              <p:cNvSpPr>
                <a:spLocks/>
              </p:cNvSpPr>
              <p:nvPr/>
            </p:nvSpPr>
            <p:spPr bwMode="auto">
              <a:xfrm>
                <a:off x="3090855" y="5107745"/>
                <a:ext cx="661165" cy="756987"/>
              </a:xfrm>
              <a:custGeom>
                <a:avLst/>
                <a:gdLst>
                  <a:gd name="T0" fmla="*/ 2147483646 w 552"/>
                  <a:gd name="T1" fmla="*/ 2147483646 h 632"/>
                  <a:gd name="T2" fmla="*/ 2147483646 w 552"/>
                  <a:gd name="T3" fmla="*/ 2147483646 h 632"/>
                  <a:gd name="T4" fmla="*/ 2147483646 w 552"/>
                  <a:gd name="T5" fmla="*/ 2147483646 h 632"/>
                  <a:gd name="T6" fmla="*/ 2147483646 w 552"/>
                  <a:gd name="T7" fmla="*/ 2147483646 h 632"/>
                  <a:gd name="T8" fmla="*/ 2147483646 w 552"/>
                  <a:gd name="T9" fmla="*/ 2147483646 h 632"/>
                  <a:gd name="T10" fmla="*/ 2147483646 w 552"/>
                  <a:gd name="T11" fmla="*/ 2147483646 h 632"/>
                  <a:gd name="T12" fmla="*/ 2147483646 w 552"/>
                  <a:gd name="T13" fmla="*/ 2147483646 h 632"/>
                  <a:gd name="T14" fmla="*/ 2147483646 w 552"/>
                  <a:gd name="T15" fmla="*/ 2147483646 h 632"/>
                  <a:gd name="T16" fmla="*/ 2147483646 w 552"/>
                  <a:gd name="T17" fmla="*/ 2147483646 h 632"/>
                  <a:gd name="T18" fmla="*/ 2147483646 w 552"/>
                  <a:gd name="T19" fmla="*/ 2147483646 h 632"/>
                  <a:gd name="T20" fmla="*/ 2147483646 w 552"/>
                  <a:gd name="T21" fmla="*/ 2147483646 h 632"/>
                  <a:gd name="T22" fmla="*/ 2147483646 w 552"/>
                  <a:gd name="T23" fmla="*/ 2147483646 h 632"/>
                  <a:gd name="T24" fmla="*/ 2147483646 w 552"/>
                  <a:gd name="T25" fmla="*/ 2147483646 h 632"/>
                  <a:gd name="T26" fmla="*/ 2147483646 w 552"/>
                  <a:gd name="T27" fmla="*/ 2147483646 h 632"/>
                  <a:gd name="T28" fmla="*/ 2147483646 w 552"/>
                  <a:gd name="T29" fmla="*/ 0 h 632"/>
                  <a:gd name="T30" fmla="*/ 2147483646 w 552"/>
                  <a:gd name="T31" fmla="*/ 2147483646 h 632"/>
                  <a:gd name="T32" fmla="*/ 2147483646 w 552"/>
                  <a:gd name="T33" fmla="*/ 2147483646 h 632"/>
                  <a:gd name="T34" fmla="*/ 2147483646 w 552"/>
                  <a:gd name="T35" fmla="*/ 2147483646 h 632"/>
                  <a:gd name="T36" fmla="*/ 2147483646 w 552"/>
                  <a:gd name="T37" fmla="*/ 2147483646 h 632"/>
                  <a:gd name="T38" fmla="*/ 2147483646 w 552"/>
                  <a:gd name="T39" fmla="*/ 2147483646 h 632"/>
                  <a:gd name="T40" fmla="*/ 2147483646 w 552"/>
                  <a:gd name="T41" fmla="*/ 2147483646 h 632"/>
                  <a:gd name="T42" fmla="*/ 2147483646 w 552"/>
                  <a:gd name="T43" fmla="*/ 2147483646 h 632"/>
                  <a:gd name="T44" fmla="*/ 2147483646 w 552"/>
                  <a:gd name="T45" fmla="*/ 2147483646 h 632"/>
                  <a:gd name="T46" fmla="*/ 2147483646 w 552"/>
                  <a:gd name="T47" fmla="*/ 2147483646 h 632"/>
                  <a:gd name="T48" fmla="*/ 0 w 552"/>
                  <a:gd name="T49" fmla="*/ 2147483646 h 632"/>
                  <a:gd name="T50" fmla="*/ 2147483646 w 552"/>
                  <a:gd name="T51" fmla="*/ 2147483646 h 632"/>
                  <a:gd name="T52" fmla="*/ 2147483646 w 552"/>
                  <a:gd name="T53" fmla="*/ 2147483646 h 632"/>
                  <a:gd name="T54" fmla="*/ 2147483646 w 552"/>
                  <a:gd name="T55" fmla="*/ 2147483646 h 632"/>
                  <a:gd name="T56" fmla="*/ 2147483646 w 552"/>
                  <a:gd name="T57" fmla="*/ 2147483646 h 632"/>
                  <a:gd name="T58" fmla="*/ 2147483646 w 552"/>
                  <a:gd name="T59" fmla="*/ 2147483646 h 632"/>
                  <a:gd name="T60" fmla="*/ 2147483646 w 552"/>
                  <a:gd name="T61" fmla="*/ 2147483646 h 632"/>
                  <a:gd name="T62" fmla="*/ 2147483646 w 552"/>
                  <a:gd name="T63" fmla="*/ 2147483646 h 632"/>
                  <a:gd name="T64" fmla="*/ 2147483646 w 552"/>
                  <a:gd name="T65" fmla="*/ 2147483646 h 632"/>
                  <a:gd name="T66" fmla="*/ 2147483646 w 552"/>
                  <a:gd name="T67" fmla="*/ 2147483646 h 632"/>
                  <a:gd name="T68" fmla="*/ 2147483646 w 552"/>
                  <a:gd name="T69" fmla="*/ 2147483646 h 632"/>
                  <a:gd name="T70" fmla="*/ 2147483646 w 552"/>
                  <a:gd name="T71" fmla="*/ 2147483646 h 632"/>
                  <a:gd name="T72" fmla="*/ 2147483646 w 552"/>
                  <a:gd name="T73" fmla="*/ 2147483646 h 632"/>
                  <a:gd name="T74" fmla="*/ 2147483646 w 552"/>
                  <a:gd name="T75" fmla="*/ 2147483646 h 632"/>
                  <a:gd name="T76" fmla="*/ 2147483646 w 552"/>
                  <a:gd name="T77" fmla="*/ 2147483646 h 632"/>
                  <a:gd name="T78" fmla="*/ 2147483646 w 552"/>
                  <a:gd name="T79" fmla="*/ 2147483646 h 6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2"/>
                  <a:gd name="T121" fmla="*/ 0 h 632"/>
                  <a:gd name="T122" fmla="*/ 552 w 552"/>
                  <a:gd name="T123" fmla="*/ 632 h 6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2" h="632">
                    <a:moveTo>
                      <a:pt x="536" y="576"/>
                    </a:moveTo>
                    <a:lnTo>
                      <a:pt x="536" y="488"/>
                    </a:lnTo>
                    <a:lnTo>
                      <a:pt x="512" y="456"/>
                    </a:lnTo>
                    <a:lnTo>
                      <a:pt x="520" y="416"/>
                    </a:lnTo>
                    <a:lnTo>
                      <a:pt x="488" y="328"/>
                    </a:lnTo>
                    <a:lnTo>
                      <a:pt x="488" y="296"/>
                    </a:lnTo>
                    <a:lnTo>
                      <a:pt x="520" y="272"/>
                    </a:lnTo>
                    <a:lnTo>
                      <a:pt x="520" y="256"/>
                    </a:lnTo>
                    <a:lnTo>
                      <a:pt x="552" y="240"/>
                    </a:lnTo>
                    <a:lnTo>
                      <a:pt x="512" y="128"/>
                    </a:lnTo>
                    <a:lnTo>
                      <a:pt x="456" y="128"/>
                    </a:lnTo>
                    <a:lnTo>
                      <a:pt x="416" y="88"/>
                    </a:lnTo>
                    <a:lnTo>
                      <a:pt x="448" y="56"/>
                    </a:lnTo>
                    <a:lnTo>
                      <a:pt x="456" y="24"/>
                    </a:lnTo>
                    <a:lnTo>
                      <a:pt x="424" y="0"/>
                    </a:lnTo>
                    <a:lnTo>
                      <a:pt x="360" y="32"/>
                    </a:lnTo>
                    <a:lnTo>
                      <a:pt x="320" y="32"/>
                    </a:lnTo>
                    <a:lnTo>
                      <a:pt x="272" y="64"/>
                    </a:lnTo>
                    <a:lnTo>
                      <a:pt x="160" y="80"/>
                    </a:lnTo>
                    <a:lnTo>
                      <a:pt x="128" y="120"/>
                    </a:lnTo>
                    <a:lnTo>
                      <a:pt x="136" y="184"/>
                    </a:lnTo>
                    <a:lnTo>
                      <a:pt x="104" y="248"/>
                    </a:lnTo>
                    <a:lnTo>
                      <a:pt x="144" y="296"/>
                    </a:lnTo>
                    <a:lnTo>
                      <a:pt x="88" y="304"/>
                    </a:lnTo>
                    <a:lnTo>
                      <a:pt x="0" y="368"/>
                    </a:lnTo>
                    <a:lnTo>
                      <a:pt x="56" y="392"/>
                    </a:lnTo>
                    <a:lnTo>
                      <a:pt x="56" y="448"/>
                    </a:lnTo>
                    <a:lnTo>
                      <a:pt x="104" y="496"/>
                    </a:lnTo>
                    <a:lnTo>
                      <a:pt x="48" y="520"/>
                    </a:lnTo>
                    <a:lnTo>
                      <a:pt x="48" y="560"/>
                    </a:lnTo>
                    <a:lnTo>
                      <a:pt x="144" y="560"/>
                    </a:lnTo>
                    <a:lnTo>
                      <a:pt x="192" y="552"/>
                    </a:lnTo>
                    <a:lnTo>
                      <a:pt x="232" y="576"/>
                    </a:lnTo>
                    <a:lnTo>
                      <a:pt x="280" y="584"/>
                    </a:lnTo>
                    <a:lnTo>
                      <a:pt x="320" y="584"/>
                    </a:lnTo>
                    <a:lnTo>
                      <a:pt x="360" y="616"/>
                    </a:lnTo>
                    <a:lnTo>
                      <a:pt x="384" y="632"/>
                    </a:lnTo>
                    <a:lnTo>
                      <a:pt x="424" y="608"/>
                    </a:lnTo>
                    <a:lnTo>
                      <a:pt x="472" y="616"/>
                    </a:lnTo>
                    <a:lnTo>
                      <a:pt x="536" y="576"/>
                    </a:lnTo>
                    <a:close/>
                  </a:path>
                </a:pathLst>
              </a:custGeom>
              <a:solidFill>
                <a:srgbClr val="FFB900"/>
              </a:solidFill>
              <a:ln w="6350">
                <a:solidFill>
                  <a:schemeClr val="bg2"/>
                </a:solidFill>
                <a:round/>
                <a:headEnd/>
                <a:tailEnd/>
              </a:ln>
            </p:spPr>
            <p:txBody>
              <a:bodyPr/>
              <a:lstStyle/>
              <a:p>
                <a:endParaRPr lang="en-US" sz="1050"/>
              </a:p>
            </p:txBody>
          </p:sp>
          <p:sp>
            <p:nvSpPr>
              <p:cNvPr id="127" name="Freeform 34"/>
              <p:cNvSpPr>
                <a:spLocks/>
              </p:cNvSpPr>
              <p:nvPr/>
            </p:nvSpPr>
            <p:spPr bwMode="auto">
              <a:xfrm>
                <a:off x="2694776" y="4790148"/>
                <a:ext cx="594090" cy="1015702"/>
              </a:xfrm>
              <a:custGeom>
                <a:avLst/>
                <a:gdLst>
                  <a:gd name="T0" fmla="*/ 2147483646 w 496"/>
                  <a:gd name="T1" fmla="*/ 2147483646 h 848"/>
                  <a:gd name="T2" fmla="*/ 2147483646 w 496"/>
                  <a:gd name="T3" fmla="*/ 2147483646 h 848"/>
                  <a:gd name="T4" fmla="*/ 2147483646 w 496"/>
                  <a:gd name="T5" fmla="*/ 2147483646 h 848"/>
                  <a:gd name="T6" fmla="*/ 2147483646 w 496"/>
                  <a:gd name="T7" fmla="*/ 2147483646 h 848"/>
                  <a:gd name="T8" fmla="*/ 2147483646 w 496"/>
                  <a:gd name="T9" fmla="*/ 2147483646 h 848"/>
                  <a:gd name="T10" fmla="*/ 2147483646 w 496"/>
                  <a:gd name="T11" fmla="*/ 2147483646 h 848"/>
                  <a:gd name="T12" fmla="*/ 2147483646 w 496"/>
                  <a:gd name="T13" fmla="*/ 2147483646 h 848"/>
                  <a:gd name="T14" fmla="*/ 2147483646 w 496"/>
                  <a:gd name="T15" fmla="*/ 2147483646 h 848"/>
                  <a:gd name="T16" fmla="*/ 2147483646 w 496"/>
                  <a:gd name="T17" fmla="*/ 2147483646 h 848"/>
                  <a:gd name="T18" fmla="*/ 2147483646 w 496"/>
                  <a:gd name="T19" fmla="*/ 2147483646 h 848"/>
                  <a:gd name="T20" fmla="*/ 2147483646 w 496"/>
                  <a:gd name="T21" fmla="*/ 2147483646 h 848"/>
                  <a:gd name="T22" fmla="*/ 2147483646 w 496"/>
                  <a:gd name="T23" fmla="*/ 2147483646 h 848"/>
                  <a:gd name="T24" fmla="*/ 2147483646 w 496"/>
                  <a:gd name="T25" fmla="*/ 2147483646 h 848"/>
                  <a:gd name="T26" fmla="*/ 2147483646 w 496"/>
                  <a:gd name="T27" fmla="*/ 2147483646 h 848"/>
                  <a:gd name="T28" fmla="*/ 2147483646 w 496"/>
                  <a:gd name="T29" fmla="*/ 2147483646 h 848"/>
                  <a:gd name="T30" fmla="*/ 2147483646 w 496"/>
                  <a:gd name="T31" fmla="*/ 2147483646 h 848"/>
                  <a:gd name="T32" fmla="*/ 2147483646 w 496"/>
                  <a:gd name="T33" fmla="*/ 2147483646 h 848"/>
                  <a:gd name="T34" fmla="*/ 2147483646 w 496"/>
                  <a:gd name="T35" fmla="*/ 2147483646 h 848"/>
                  <a:gd name="T36" fmla="*/ 2147483646 w 496"/>
                  <a:gd name="T37" fmla="*/ 2147483646 h 848"/>
                  <a:gd name="T38" fmla="*/ 2147483646 w 496"/>
                  <a:gd name="T39" fmla="*/ 2147483646 h 848"/>
                  <a:gd name="T40" fmla="*/ 2147483646 w 496"/>
                  <a:gd name="T41" fmla="*/ 2147483646 h 848"/>
                  <a:gd name="T42" fmla="*/ 2147483646 w 496"/>
                  <a:gd name="T43" fmla="*/ 2147483646 h 848"/>
                  <a:gd name="T44" fmla="*/ 2147483646 w 496"/>
                  <a:gd name="T45" fmla="*/ 2147483646 h 848"/>
                  <a:gd name="T46" fmla="*/ 2147483646 w 496"/>
                  <a:gd name="T47" fmla="*/ 0 h 848"/>
                  <a:gd name="T48" fmla="*/ 2147483646 w 496"/>
                  <a:gd name="T49" fmla="*/ 2147483646 h 848"/>
                  <a:gd name="T50" fmla="*/ 2147483646 w 496"/>
                  <a:gd name="T51" fmla="*/ 2147483646 h 848"/>
                  <a:gd name="T52" fmla="*/ 2147483646 w 496"/>
                  <a:gd name="T53" fmla="*/ 2147483646 h 848"/>
                  <a:gd name="T54" fmla="*/ 2147483646 w 496"/>
                  <a:gd name="T55" fmla="*/ 2147483646 h 848"/>
                  <a:gd name="T56" fmla="*/ 2147483646 w 496"/>
                  <a:gd name="T57" fmla="*/ 2147483646 h 848"/>
                  <a:gd name="T58" fmla="*/ 2147483646 w 496"/>
                  <a:gd name="T59" fmla="*/ 2147483646 h 848"/>
                  <a:gd name="T60" fmla="*/ 2147483646 w 496"/>
                  <a:gd name="T61" fmla="*/ 2147483646 h 848"/>
                  <a:gd name="T62" fmla="*/ 2147483646 w 496"/>
                  <a:gd name="T63" fmla="*/ 2147483646 h 848"/>
                  <a:gd name="T64" fmla="*/ 0 w 496"/>
                  <a:gd name="T65" fmla="*/ 2147483646 h 848"/>
                  <a:gd name="T66" fmla="*/ 2147483646 w 496"/>
                  <a:gd name="T67" fmla="*/ 2147483646 h 848"/>
                  <a:gd name="T68" fmla="*/ 2147483646 w 496"/>
                  <a:gd name="T69" fmla="*/ 2147483646 h 848"/>
                  <a:gd name="T70" fmla="*/ 2147483646 w 496"/>
                  <a:gd name="T71" fmla="*/ 2147483646 h 848"/>
                  <a:gd name="T72" fmla="*/ 2147483646 w 496"/>
                  <a:gd name="T73" fmla="*/ 2147483646 h 848"/>
                  <a:gd name="T74" fmla="*/ 2147483646 w 496"/>
                  <a:gd name="T75" fmla="*/ 2147483646 h 848"/>
                  <a:gd name="T76" fmla="*/ 2147483646 w 496"/>
                  <a:gd name="T77" fmla="*/ 2147483646 h 848"/>
                  <a:gd name="T78" fmla="*/ 2147483646 w 496"/>
                  <a:gd name="T79" fmla="*/ 2147483646 h 848"/>
                  <a:gd name="T80" fmla="*/ 2147483646 w 496"/>
                  <a:gd name="T81" fmla="*/ 2147483646 h 848"/>
                  <a:gd name="T82" fmla="*/ 2147483646 w 496"/>
                  <a:gd name="T83" fmla="*/ 2147483646 h 848"/>
                  <a:gd name="T84" fmla="*/ 2147483646 w 496"/>
                  <a:gd name="T85" fmla="*/ 2147483646 h 848"/>
                  <a:gd name="T86" fmla="*/ 2147483646 w 496"/>
                  <a:gd name="T87" fmla="*/ 2147483646 h 848"/>
                  <a:gd name="T88" fmla="*/ 2147483646 w 496"/>
                  <a:gd name="T89" fmla="*/ 2147483646 h 848"/>
                  <a:gd name="T90" fmla="*/ 2147483646 w 496"/>
                  <a:gd name="T91" fmla="*/ 2147483646 h 848"/>
                  <a:gd name="T92" fmla="*/ 2147483646 w 496"/>
                  <a:gd name="T93" fmla="*/ 2147483646 h 848"/>
                  <a:gd name="T94" fmla="*/ 2147483646 w 496"/>
                  <a:gd name="T95" fmla="*/ 2147483646 h 848"/>
                  <a:gd name="T96" fmla="*/ 2147483646 w 496"/>
                  <a:gd name="T97" fmla="*/ 2147483646 h 848"/>
                  <a:gd name="T98" fmla="*/ 2147483646 w 496"/>
                  <a:gd name="T99" fmla="*/ 2147483646 h 848"/>
                  <a:gd name="T100" fmla="*/ 2147483646 w 496"/>
                  <a:gd name="T101" fmla="*/ 2147483646 h 848"/>
                  <a:gd name="T102" fmla="*/ 2147483646 w 496"/>
                  <a:gd name="T103" fmla="*/ 2147483646 h 848"/>
                  <a:gd name="T104" fmla="*/ 2147483646 w 496"/>
                  <a:gd name="T105" fmla="*/ 2147483646 h 8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848"/>
                  <a:gd name="T161" fmla="*/ 496 w 496"/>
                  <a:gd name="T162" fmla="*/ 848 h 8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848">
                    <a:moveTo>
                      <a:pt x="384" y="832"/>
                    </a:moveTo>
                    <a:lnTo>
                      <a:pt x="384" y="792"/>
                    </a:lnTo>
                    <a:lnTo>
                      <a:pt x="440" y="768"/>
                    </a:lnTo>
                    <a:lnTo>
                      <a:pt x="392" y="720"/>
                    </a:lnTo>
                    <a:lnTo>
                      <a:pt x="392" y="664"/>
                    </a:lnTo>
                    <a:lnTo>
                      <a:pt x="336" y="640"/>
                    </a:lnTo>
                    <a:lnTo>
                      <a:pt x="424" y="576"/>
                    </a:lnTo>
                    <a:lnTo>
                      <a:pt x="480" y="568"/>
                    </a:lnTo>
                    <a:lnTo>
                      <a:pt x="440" y="520"/>
                    </a:lnTo>
                    <a:lnTo>
                      <a:pt x="472" y="456"/>
                    </a:lnTo>
                    <a:lnTo>
                      <a:pt x="464" y="392"/>
                    </a:lnTo>
                    <a:lnTo>
                      <a:pt x="496" y="352"/>
                    </a:lnTo>
                    <a:lnTo>
                      <a:pt x="432" y="360"/>
                    </a:lnTo>
                    <a:lnTo>
                      <a:pt x="416" y="320"/>
                    </a:lnTo>
                    <a:lnTo>
                      <a:pt x="440" y="280"/>
                    </a:lnTo>
                    <a:lnTo>
                      <a:pt x="408" y="168"/>
                    </a:lnTo>
                    <a:lnTo>
                      <a:pt x="424" y="136"/>
                    </a:lnTo>
                    <a:lnTo>
                      <a:pt x="376" y="144"/>
                    </a:lnTo>
                    <a:lnTo>
                      <a:pt x="352" y="112"/>
                    </a:lnTo>
                    <a:lnTo>
                      <a:pt x="360" y="40"/>
                    </a:lnTo>
                    <a:lnTo>
                      <a:pt x="336" y="16"/>
                    </a:lnTo>
                    <a:lnTo>
                      <a:pt x="288" y="64"/>
                    </a:lnTo>
                    <a:lnTo>
                      <a:pt x="288" y="48"/>
                    </a:lnTo>
                    <a:lnTo>
                      <a:pt x="288" y="0"/>
                    </a:lnTo>
                    <a:lnTo>
                      <a:pt x="208" y="64"/>
                    </a:lnTo>
                    <a:lnTo>
                      <a:pt x="200" y="160"/>
                    </a:lnTo>
                    <a:lnTo>
                      <a:pt x="224" y="248"/>
                    </a:lnTo>
                    <a:lnTo>
                      <a:pt x="184" y="232"/>
                    </a:lnTo>
                    <a:lnTo>
                      <a:pt x="160" y="264"/>
                    </a:lnTo>
                    <a:lnTo>
                      <a:pt x="128" y="264"/>
                    </a:lnTo>
                    <a:lnTo>
                      <a:pt x="104" y="280"/>
                    </a:lnTo>
                    <a:lnTo>
                      <a:pt x="48" y="264"/>
                    </a:lnTo>
                    <a:lnTo>
                      <a:pt x="0" y="312"/>
                    </a:lnTo>
                    <a:lnTo>
                      <a:pt x="64" y="344"/>
                    </a:lnTo>
                    <a:lnTo>
                      <a:pt x="80" y="400"/>
                    </a:lnTo>
                    <a:lnTo>
                      <a:pt x="136" y="416"/>
                    </a:lnTo>
                    <a:lnTo>
                      <a:pt x="176" y="472"/>
                    </a:lnTo>
                    <a:lnTo>
                      <a:pt x="168" y="536"/>
                    </a:lnTo>
                    <a:lnTo>
                      <a:pt x="200" y="560"/>
                    </a:lnTo>
                    <a:lnTo>
                      <a:pt x="160" y="576"/>
                    </a:lnTo>
                    <a:lnTo>
                      <a:pt x="152" y="616"/>
                    </a:lnTo>
                    <a:lnTo>
                      <a:pt x="184" y="648"/>
                    </a:lnTo>
                    <a:lnTo>
                      <a:pt x="160" y="672"/>
                    </a:lnTo>
                    <a:lnTo>
                      <a:pt x="176" y="704"/>
                    </a:lnTo>
                    <a:lnTo>
                      <a:pt x="144" y="712"/>
                    </a:lnTo>
                    <a:lnTo>
                      <a:pt x="152" y="752"/>
                    </a:lnTo>
                    <a:lnTo>
                      <a:pt x="120" y="760"/>
                    </a:lnTo>
                    <a:lnTo>
                      <a:pt x="112" y="840"/>
                    </a:lnTo>
                    <a:lnTo>
                      <a:pt x="160" y="848"/>
                    </a:lnTo>
                    <a:lnTo>
                      <a:pt x="224" y="840"/>
                    </a:lnTo>
                    <a:lnTo>
                      <a:pt x="304" y="800"/>
                    </a:lnTo>
                    <a:lnTo>
                      <a:pt x="352" y="800"/>
                    </a:lnTo>
                    <a:lnTo>
                      <a:pt x="384" y="832"/>
                    </a:lnTo>
                    <a:close/>
                  </a:path>
                </a:pathLst>
              </a:custGeom>
              <a:solidFill>
                <a:srgbClr val="0E297D"/>
              </a:solidFill>
              <a:ln w="9525">
                <a:solidFill>
                  <a:schemeClr val="bg1"/>
                </a:solidFill>
                <a:round/>
                <a:headEnd/>
                <a:tailEnd/>
              </a:ln>
            </p:spPr>
            <p:txBody>
              <a:bodyPr/>
              <a:lstStyle/>
              <a:p>
                <a:endParaRPr lang="en-US" sz="1050"/>
              </a:p>
            </p:txBody>
          </p:sp>
          <p:sp>
            <p:nvSpPr>
              <p:cNvPr id="128" name="Freeform 35"/>
              <p:cNvSpPr>
                <a:spLocks/>
              </p:cNvSpPr>
              <p:nvPr/>
            </p:nvSpPr>
            <p:spPr bwMode="auto">
              <a:xfrm>
                <a:off x="2596153" y="4271034"/>
                <a:ext cx="498269" cy="862390"/>
              </a:xfrm>
              <a:custGeom>
                <a:avLst/>
                <a:gdLst>
                  <a:gd name="T0" fmla="*/ 2147483646 w 416"/>
                  <a:gd name="T1" fmla="*/ 2147483646 h 720"/>
                  <a:gd name="T2" fmla="*/ 2147483646 w 416"/>
                  <a:gd name="T3" fmla="*/ 2147483646 h 720"/>
                  <a:gd name="T4" fmla="*/ 2147483646 w 416"/>
                  <a:gd name="T5" fmla="*/ 2147483646 h 720"/>
                  <a:gd name="T6" fmla="*/ 2147483646 w 416"/>
                  <a:gd name="T7" fmla="*/ 2147483646 h 720"/>
                  <a:gd name="T8" fmla="*/ 2147483646 w 416"/>
                  <a:gd name="T9" fmla="*/ 2147483646 h 720"/>
                  <a:gd name="T10" fmla="*/ 2147483646 w 416"/>
                  <a:gd name="T11" fmla="*/ 2147483646 h 720"/>
                  <a:gd name="T12" fmla="*/ 2147483646 w 416"/>
                  <a:gd name="T13" fmla="*/ 2147483646 h 720"/>
                  <a:gd name="T14" fmla="*/ 2147483646 w 416"/>
                  <a:gd name="T15" fmla="*/ 2147483646 h 720"/>
                  <a:gd name="T16" fmla="*/ 2147483646 w 416"/>
                  <a:gd name="T17" fmla="*/ 2147483646 h 720"/>
                  <a:gd name="T18" fmla="*/ 2147483646 w 416"/>
                  <a:gd name="T19" fmla="*/ 2147483646 h 720"/>
                  <a:gd name="T20" fmla="*/ 2147483646 w 416"/>
                  <a:gd name="T21" fmla="*/ 2147483646 h 720"/>
                  <a:gd name="T22" fmla="*/ 2147483646 w 416"/>
                  <a:gd name="T23" fmla="*/ 2147483646 h 720"/>
                  <a:gd name="T24" fmla="*/ 2147483646 w 416"/>
                  <a:gd name="T25" fmla="*/ 2147483646 h 720"/>
                  <a:gd name="T26" fmla="*/ 2147483646 w 416"/>
                  <a:gd name="T27" fmla="*/ 2147483646 h 720"/>
                  <a:gd name="T28" fmla="*/ 2147483646 w 416"/>
                  <a:gd name="T29" fmla="*/ 2147483646 h 720"/>
                  <a:gd name="T30" fmla="*/ 2147483646 w 416"/>
                  <a:gd name="T31" fmla="*/ 2147483646 h 720"/>
                  <a:gd name="T32" fmla="*/ 2147483646 w 416"/>
                  <a:gd name="T33" fmla="*/ 0 h 720"/>
                  <a:gd name="T34" fmla="*/ 2147483646 w 416"/>
                  <a:gd name="T35" fmla="*/ 2147483646 h 720"/>
                  <a:gd name="T36" fmla="*/ 2147483646 w 416"/>
                  <a:gd name="T37" fmla="*/ 2147483646 h 720"/>
                  <a:gd name="T38" fmla="*/ 0 w 416"/>
                  <a:gd name="T39" fmla="*/ 2147483646 h 720"/>
                  <a:gd name="T40" fmla="*/ 2147483646 w 416"/>
                  <a:gd name="T41" fmla="*/ 2147483646 h 720"/>
                  <a:gd name="T42" fmla="*/ 2147483646 w 416"/>
                  <a:gd name="T43" fmla="*/ 2147483646 h 720"/>
                  <a:gd name="T44" fmla="*/ 2147483646 w 416"/>
                  <a:gd name="T45" fmla="*/ 2147483646 h 720"/>
                  <a:gd name="T46" fmla="*/ 2147483646 w 416"/>
                  <a:gd name="T47" fmla="*/ 2147483646 h 720"/>
                  <a:gd name="T48" fmla="*/ 2147483646 w 416"/>
                  <a:gd name="T49" fmla="*/ 2147483646 h 720"/>
                  <a:gd name="T50" fmla="*/ 2147483646 w 416"/>
                  <a:gd name="T51" fmla="*/ 2147483646 h 720"/>
                  <a:gd name="T52" fmla="*/ 2147483646 w 416"/>
                  <a:gd name="T53" fmla="*/ 2147483646 h 720"/>
                  <a:gd name="T54" fmla="*/ 2147483646 w 416"/>
                  <a:gd name="T55" fmla="*/ 2147483646 h 720"/>
                  <a:gd name="T56" fmla="*/ 2147483646 w 416"/>
                  <a:gd name="T57" fmla="*/ 2147483646 h 720"/>
                  <a:gd name="T58" fmla="*/ 2147483646 w 416"/>
                  <a:gd name="T59" fmla="*/ 2147483646 h 720"/>
                  <a:gd name="T60" fmla="*/ 2147483646 w 416"/>
                  <a:gd name="T61" fmla="*/ 2147483646 h 720"/>
                  <a:gd name="T62" fmla="*/ 2147483646 w 416"/>
                  <a:gd name="T63" fmla="*/ 2147483646 h 720"/>
                  <a:gd name="T64" fmla="*/ 2147483646 w 416"/>
                  <a:gd name="T65" fmla="*/ 2147483646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720"/>
                  <a:gd name="T101" fmla="*/ 416 w 416"/>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720">
                    <a:moveTo>
                      <a:pt x="128" y="704"/>
                    </a:moveTo>
                    <a:lnTo>
                      <a:pt x="184" y="720"/>
                    </a:lnTo>
                    <a:lnTo>
                      <a:pt x="208" y="704"/>
                    </a:lnTo>
                    <a:lnTo>
                      <a:pt x="240" y="704"/>
                    </a:lnTo>
                    <a:lnTo>
                      <a:pt x="264" y="672"/>
                    </a:lnTo>
                    <a:lnTo>
                      <a:pt x="304" y="688"/>
                    </a:lnTo>
                    <a:lnTo>
                      <a:pt x="280" y="600"/>
                    </a:lnTo>
                    <a:lnTo>
                      <a:pt x="288" y="504"/>
                    </a:lnTo>
                    <a:lnTo>
                      <a:pt x="368" y="440"/>
                    </a:lnTo>
                    <a:lnTo>
                      <a:pt x="368" y="480"/>
                    </a:lnTo>
                    <a:lnTo>
                      <a:pt x="384" y="456"/>
                    </a:lnTo>
                    <a:lnTo>
                      <a:pt x="384" y="352"/>
                    </a:lnTo>
                    <a:lnTo>
                      <a:pt x="416" y="296"/>
                    </a:lnTo>
                    <a:lnTo>
                      <a:pt x="384" y="216"/>
                    </a:lnTo>
                    <a:lnTo>
                      <a:pt x="408" y="152"/>
                    </a:lnTo>
                    <a:lnTo>
                      <a:pt x="416" y="8"/>
                    </a:lnTo>
                    <a:lnTo>
                      <a:pt x="280" y="0"/>
                    </a:lnTo>
                    <a:lnTo>
                      <a:pt x="152" y="24"/>
                    </a:lnTo>
                    <a:lnTo>
                      <a:pt x="16" y="72"/>
                    </a:lnTo>
                    <a:lnTo>
                      <a:pt x="0" y="64"/>
                    </a:lnTo>
                    <a:lnTo>
                      <a:pt x="8" y="136"/>
                    </a:lnTo>
                    <a:lnTo>
                      <a:pt x="120" y="168"/>
                    </a:lnTo>
                    <a:lnTo>
                      <a:pt x="112" y="272"/>
                    </a:lnTo>
                    <a:lnTo>
                      <a:pt x="64" y="344"/>
                    </a:lnTo>
                    <a:lnTo>
                      <a:pt x="72" y="400"/>
                    </a:lnTo>
                    <a:lnTo>
                      <a:pt x="40" y="424"/>
                    </a:lnTo>
                    <a:lnTo>
                      <a:pt x="64" y="456"/>
                    </a:lnTo>
                    <a:lnTo>
                      <a:pt x="56" y="496"/>
                    </a:lnTo>
                    <a:lnTo>
                      <a:pt x="72" y="520"/>
                    </a:lnTo>
                    <a:lnTo>
                      <a:pt x="64" y="568"/>
                    </a:lnTo>
                    <a:lnTo>
                      <a:pt x="72" y="624"/>
                    </a:lnTo>
                    <a:lnTo>
                      <a:pt x="112" y="640"/>
                    </a:lnTo>
                    <a:lnTo>
                      <a:pt x="128" y="704"/>
                    </a:lnTo>
                    <a:close/>
                  </a:path>
                </a:pathLst>
              </a:custGeom>
              <a:solidFill>
                <a:srgbClr val="0E297D"/>
              </a:solidFill>
              <a:ln w="9525">
                <a:solidFill>
                  <a:schemeClr val="bg1"/>
                </a:solidFill>
                <a:round/>
                <a:headEnd/>
                <a:tailEnd/>
              </a:ln>
            </p:spPr>
            <p:txBody>
              <a:bodyPr/>
              <a:lstStyle/>
              <a:p>
                <a:endParaRPr lang="en-US" sz="1050"/>
              </a:p>
            </p:txBody>
          </p:sp>
          <p:sp>
            <p:nvSpPr>
              <p:cNvPr id="129" name="Freeform 36"/>
              <p:cNvSpPr>
                <a:spLocks/>
              </p:cNvSpPr>
              <p:nvPr/>
            </p:nvSpPr>
            <p:spPr bwMode="auto">
              <a:xfrm>
                <a:off x="2017711" y="4426389"/>
                <a:ext cx="728240" cy="651584"/>
              </a:xfrm>
              <a:custGeom>
                <a:avLst/>
                <a:gdLst>
                  <a:gd name="T0" fmla="*/ 2147483646 w 608"/>
                  <a:gd name="T1" fmla="*/ 2147483646 h 544"/>
                  <a:gd name="T2" fmla="*/ 2147483646 w 608"/>
                  <a:gd name="T3" fmla="*/ 2147483646 h 544"/>
                  <a:gd name="T4" fmla="*/ 2147483646 w 608"/>
                  <a:gd name="T5" fmla="*/ 2147483646 h 544"/>
                  <a:gd name="T6" fmla="*/ 2147483646 w 608"/>
                  <a:gd name="T7" fmla="*/ 2147483646 h 544"/>
                  <a:gd name="T8" fmla="*/ 2147483646 w 608"/>
                  <a:gd name="T9" fmla="*/ 2147483646 h 544"/>
                  <a:gd name="T10" fmla="*/ 2147483646 w 608"/>
                  <a:gd name="T11" fmla="*/ 0 h 544"/>
                  <a:gd name="T12" fmla="*/ 2147483646 w 608"/>
                  <a:gd name="T13" fmla="*/ 2147483646 h 544"/>
                  <a:gd name="T14" fmla="*/ 2147483646 w 608"/>
                  <a:gd name="T15" fmla="*/ 2147483646 h 544"/>
                  <a:gd name="T16" fmla="*/ 2147483646 w 608"/>
                  <a:gd name="T17" fmla="*/ 2147483646 h 544"/>
                  <a:gd name="T18" fmla="*/ 2147483646 w 608"/>
                  <a:gd name="T19" fmla="*/ 2147483646 h 544"/>
                  <a:gd name="T20" fmla="*/ 2147483646 w 608"/>
                  <a:gd name="T21" fmla="*/ 2147483646 h 544"/>
                  <a:gd name="T22" fmla="*/ 2147483646 w 608"/>
                  <a:gd name="T23" fmla="*/ 2147483646 h 544"/>
                  <a:gd name="T24" fmla="*/ 2147483646 w 608"/>
                  <a:gd name="T25" fmla="*/ 2147483646 h 544"/>
                  <a:gd name="T26" fmla="*/ 2147483646 w 608"/>
                  <a:gd name="T27" fmla="*/ 2147483646 h 544"/>
                  <a:gd name="T28" fmla="*/ 2147483646 w 608"/>
                  <a:gd name="T29" fmla="*/ 2147483646 h 544"/>
                  <a:gd name="T30" fmla="*/ 2147483646 w 608"/>
                  <a:gd name="T31" fmla="*/ 2147483646 h 544"/>
                  <a:gd name="T32" fmla="*/ 2147483646 w 608"/>
                  <a:gd name="T33" fmla="*/ 2147483646 h 544"/>
                  <a:gd name="T34" fmla="*/ 2147483646 w 608"/>
                  <a:gd name="T35" fmla="*/ 2147483646 h 544"/>
                  <a:gd name="T36" fmla="*/ 2147483646 w 608"/>
                  <a:gd name="T37" fmla="*/ 2147483646 h 544"/>
                  <a:gd name="T38" fmla="*/ 2147483646 w 608"/>
                  <a:gd name="T39" fmla="*/ 2147483646 h 544"/>
                  <a:gd name="T40" fmla="*/ 2147483646 w 608"/>
                  <a:gd name="T41" fmla="*/ 2147483646 h 544"/>
                  <a:gd name="T42" fmla="*/ 2147483646 w 608"/>
                  <a:gd name="T43" fmla="*/ 2147483646 h 544"/>
                  <a:gd name="T44" fmla="*/ 2147483646 w 608"/>
                  <a:gd name="T45" fmla="*/ 2147483646 h 544"/>
                  <a:gd name="T46" fmla="*/ 2147483646 w 608"/>
                  <a:gd name="T47" fmla="*/ 2147483646 h 544"/>
                  <a:gd name="T48" fmla="*/ 2147483646 w 608"/>
                  <a:gd name="T49" fmla="*/ 2147483646 h 544"/>
                  <a:gd name="T50" fmla="*/ 2147483646 w 608"/>
                  <a:gd name="T51" fmla="*/ 2147483646 h 544"/>
                  <a:gd name="T52" fmla="*/ 2147483646 w 608"/>
                  <a:gd name="T53" fmla="*/ 2147483646 h 544"/>
                  <a:gd name="T54" fmla="*/ 2147483646 w 608"/>
                  <a:gd name="T55" fmla="*/ 2147483646 h 544"/>
                  <a:gd name="T56" fmla="*/ 0 w 608"/>
                  <a:gd name="T57" fmla="*/ 2147483646 h 544"/>
                  <a:gd name="T58" fmla="*/ 0 w 608"/>
                  <a:gd name="T59" fmla="*/ 2147483646 h 544"/>
                  <a:gd name="T60" fmla="*/ 2147483646 w 608"/>
                  <a:gd name="T61" fmla="*/ 2147483646 h 5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8"/>
                  <a:gd name="T94" fmla="*/ 0 h 544"/>
                  <a:gd name="T95" fmla="*/ 608 w 608"/>
                  <a:gd name="T96" fmla="*/ 544 h 5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8" h="544">
                    <a:moveTo>
                      <a:pt x="40" y="48"/>
                    </a:moveTo>
                    <a:lnTo>
                      <a:pt x="88" y="40"/>
                    </a:lnTo>
                    <a:lnTo>
                      <a:pt x="200" y="72"/>
                    </a:lnTo>
                    <a:lnTo>
                      <a:pt x="312" y="32"/>
                    </a:lnTo>
                    <a:lnTo>
                      <a:pt x="440" y="32"/>
                    </a:lnTo>
                    <a:lnTo>
                      <a:pt x="496" y="0"/>
                    </a:lnTo>
                    <a:lnTo>
                      <a:pt x="608" y="32"/>
                    </a:lnTo>
                    <a:lnTo>
                      <a:pt x="600" y="136"/>
                    </a:lnTo>
                    <a:lnTo>
                      <a:pt x="552" y="208"/>
                    </a:lnTo>
                    <a:lnTo>
                      <a:pt x="560" y="264"/>
                    </a:lnTo>
                    <a:lnTo>
                      <a:pt x="528" y="288"/>
                    </a:lnTo>
                    <a:lnTo>
                      <a:pt x="544" y="304"/>
                    </a:lnTo>
                    <a:lnTo>
                      <a:pt x="544" y="360"/>
                    </a:lnTo>
                    <a:lnTo>
                      <a:pt x="560" y="384"/>
                    </a:lnTo>
                    <a:lnTo>
                      <a:pt x="552" y="432"/>
                    </a:lnTo>
                    <a:lnTo>
                      <a:pt x="520" y="440"/>
                    </a:lnTo>
                    <a:lnTo>
                      <a:pt x="496" y="528"/>
                    </a:lnTo>
                    <a:lnTo>
                      <a:pt x="424" y="520"/>
                    </a:lnTo>
                    <a:lnTo>
                      <a:pt x="384" y="544"/>
                    </a:lnTo>
                    <a:lnTo>
                      <a:pt x="304" y="488"/>
                    </a:lnTo>
                    <a:lnTo>
                      <a:pt x="216" y="456"/>
                    </a:lnTo>
                    <a:lnTo>
                      <a:pt x="192" y="408"/>
                    </a:lnTo>
                    <a:lnTo>
                      <a:pt x="136" y="392"/>
                    </a:lnTo>
                    <a:lnTo>
                      <a:pt x="144" y="320"/>
                    </a:lnTo>
                    <a:lnTo>
                      <a:pt x="120" y="280"/>
                    </a:lnTo>
                    <a:lnTo>
                      <a:pt x="152" y="264"/>
                    </a:lnTo>
                    <a:lnTo>
                      <a:pt x="120" y="192"/>
                    </a:lnTo>
                    <a:lnTo>
                      <a:pt x="56" y="152"/>
                    </a:lnTo>
                    <a:lnTo>
                      <a:pt x="0" y="112"/>
                    </a:lnTo>
                    <a:lnTo>
                      <a:pt x="0" y="80"/>
                    </a:lnTo>
                    <a:lnTo>
                      <a:pt x="40" y="48"/>
                    </a:lnTo>
                    <a:close/>
                  </a:path>
                </a:pathLst>
              </a:custGeom>
              <a:solidFill>
                <a:srgbClr val="0E297D"/>
              </a:solidFill>
              <a:ln w="9525">
                <a:solidFill>
                  <a:schemeClr val="bg1"/>
                </a:solidFill>
                <a:round/>
                <a:headEnd/>
                <a:tailEnd/>
              </a:ln>
            </p:spPr>
            <p:txBody>
              <a:bodyPr/>
              <a:lstStyle/>
              <a:p>
                <a:endParaRPr lang="en-US" sz="1050"/>
              </a:p>
            </p:txBody>
          </p:sp>
          <p:sp>
            <p:nvSpPr>
              <p:cNvPr id="130" name="Freeform 37"/>
              <p:cNvSpPr>
                <a:spLocks/>
              </p:cNvSpPr>
              <p:nvPr/>
            </p:nvSpPr>
            <p:spPr bwMode="auto">
              <a:xfrm>
                <a:off x="1643653" y="4600540"/>
                <a:ext cx="843225" cy="852808"/>
              </a:xfrm>
              <a:custGeom>
                <a:avLst/>
                <a:gdLst>
                  <a:gd name="T0" fmla="*/ 2147483646 w 704"/>
                  <a:gd name="T1" fmla="*/ 0 h 712"/>
                  <a:gd name="T2" fmla="*/ 2147483646 w 704"/>
                  <a:gd name="T3" fmla="*/ 2147483646 h 712"/>
                  <a:gd name="T4" fmla="*/ 2147483646 w 704"/>
                  <a:gd name="T5" fmla="*/ 2147483646 h 712"/>
                  <a:gd name="T6" fmla="*/ 2147483646 w 704"/>
                  <a:gd name="T7" fmla="*/ 2147483646 h 712"/>
                  <a:gd name="T8" fmla="*/ 2147483646 w 704"/>
                  <a:gd name="T9" fmla="*/ 2147483646 h 712"/>
                  <a:gd name="T10" fmla="*/ 2147483646 w 704"/>
                  <a:gd name="T11" fmla="*/ 2147483646 h 712"/>
                  <a:gd name="T12" fmla="*/ 2147483646 w 704"/>
                  <a:gd name="T13" fmla="*/ 2147483646 h 712"/>
                  <a:gd name="T14" fmla="*/ 2147483646 w 704"/>
                  <a:gd name="T15" fmla="*/ 2147483646 h 712"/>
                  <a:gd name="T16" fmla="*/ 2147483646 w 704"/>
                  <a:gd name="T17" fmla="*/ 2147483646 h 712"/>
                  <a:gd name="T18" fmla="*/ 2147483646 w 704"/>
                  <a:gd name="T19" fmla="*/ 2147483646 h 712"/>
                  <a:gd name="T20" fmla="*/ 2147483646 w 704"/>
                  <a:gd name="T21" fmla="*/ 2147483646 h 712"/>
                  <a:gd name="T22" fmla="*/ 2147483646 w 704"/>
                  <a:gd name="T23" fmla="*/ 2147483646 h 712"/>
                  <a:gd name="T24" fmla="*/ 2147483646 w 704"/>
                  <a:gd name="T25" fmla="*/ 2147483646 h 712"/>
                  <a:gd name="T26" fmla="*/ 2147483646 w 704"/>
                  <a:gd name="T27" fmla="*/ 2147483646 h 712"/>
                  <a:gd name="T28" fmla="*/ 2147483646 w 704"/>
                  <a:gd name="T29" fmla="*/ 2147483646 h 712"/>
                  <a:gd name="T30" fmla="*/ 2147483646 w 704"/>
                  <a:gd name="T31" fmla="*/ 2147483646 h 712"/>
                  <a:gd name="T32" fmla="*/ 2147483646 w 704"/>
                  <a:gd name="T33" fmla="*/ 2147483646 h 712"/>
                  <a:gd name="T34" fmla="*/ 2147483646 w 704"/>
                  <a:gd name="T35" fmla="*/ 2147483646 h 712"/>
                  <a:gd name="T36" fmla="*/ 2147483646 w 704"/>
                  <a:gd name="T37" fmla="*/ 2147483646 h 712"/>
                  <a:gd name="T38" fmla="*/ 2147483646 w 704"/>
                  <a:gd name="T39" fmla="*/ 2147483646 h 712"/>
                  <a:gd name="T40" fmla="*/ 2147483646 w 704"/>
                  <a:gd name="T41" fmla="*/ 2147483646 h 712"/>
                  <a:gd name="T42" fmla="*/ 2147483646 w 704"/>
                  <a:gd name="T43" fmla="*/ 2147483646 h 712"/>
                  <a:gd name="T44" fmla="*/ 2147483646 w 704"/>
                  <a:gd name="T45" fmla="*/ 2147483646 h 712"/>
                  <a:gd name="T46" fmla="*/ 2147483646 w 704"/>
                  <a:gd name="T47" fmla="*/ 2147483646 h 712"/>
                  <a:gd name="T48" fmla="*/ 2147483646 w 704"/>
                  <a:gd name="T49" fmla="*/ 2147483646 h 712"/>
                  <a:gd name="T50" fmla="*/ 2147483646 w 704"/>
                  <a:gd name="T51" fmla="*/ 2147483646 h 712"/>
                  <a:gd name="T52" fmla="*/ 2147483646 w 704"/>
                  <a:gd name="T53" fmla="*/ 2147483646 h 712"/>
                  <a:gd name="T54" fmla="*/ 2147483646 w 704"/>
                  <a:gd name="T55" fmla="*/ 2147483646 h 712"/>
                  <a:gd name="T56" fmla="*/ 2147483646 w 704"/>
                  <a:gd name="T57" fmla="*/ 2147483646 h 712"/>
                  <a:gd name="T58" fmla="*/ 2147483646 w 704"/>
                  <a:gd name="T59" fmla="*/ 2147483646 h 712"/>
                  <a:gd name="T60" fmla="*/ 2147483646 w 704"/>
                  <a:gd name="T61" fmla="*/ 2147483646 h 712"/>
                  <a:gd name="T62" fmla="*/ 2147483646 w 704"/>
                  <a:gd name="T63" fmla="*/ 2147483646 h 712"/>
                  <a:gd name="T64" fmla="*/ 2147483646 w 704"/>
                  <a:gd name="T65" fmla="*/ 2147483646 h 712"/>
                  <a:gd name="T66" fmla="*/ 2147483646 w 704"/>
                  <a:gd name="T67" fmla="*/ 2147483646 h 712"/>
                  <a:gd name="T68" fmla="*/ 2147483646 w 704"/>
                  <a:gd name="T69" fmla="*/ 2147483646 h 712"/>
                  <a:gd name="T70" fmla="*/ 2147483646 w 704"/>
                  <a:gd name="T71" fmla="*/ 2147483646 h 712"/>
                  <a:gd name="T72" fmla="*/ 2147483646 w 704"/>
                  <a:gd name="T73" fmla="*/ 2147483646 h 712"/>
                  <a:gd name="T74" fmla="*/ 2147483646 w 704"/>
                  <a:gd name="T75" fmla="*/ 2147483646 h 712"/>
                  <a:gd name="T76" fmla="*/ 2147483646 w 704"/>
                  <a:gd name="T77" fmla="*/ 2147483646 h 712"/>
                  <a:gd name="T78" fmla="*/ 2147483646 w 704"/>
                  <a:gd name="T79" fmla="*/ 2147483646 h 712"/>
                  <a:gd name="T80" fmla="*/ 2147483646 w 704"/>
                  <a:gd name="T81" fmla="*/ 2147483646 h 712"/>
                  <a:gd name="T82" fmla="*/ 2147483646 w 704"/>
                  <a:gd name="T83" fmla="*/ 2147483646 h 712"/>
                  <a:gd name="T84" fmla="*/ 2147483646 w 704"/>
                  <a:gd name="T85" fmla="*/ 2147483646 h 712"/>
                  <a:gd name="T86" fmla="*/ 2147483646 w 704"/>
                  <a:gd name="T87" fmla="*/ 2147483646 h 712"/>
                  <a:gd name="T88" fmla="*/ 2147483646 w 704"/>
                  <a:gd name="T89" fmla="*/ 2147483646 h 712"/>
                  <a:gd name="T90" fmla="*/ 2147483646 w 704"/>
                  <a:gd name="T91" fmla="*/ 2147483646 h 712"/>
                  <a:gd name="T92" fmla="*/ 2147483646 w 704"/>
                  <a:gd name="T93" fmla="*/ 2147483646 h 712"/>
                  <a:gd name="T94" fmla="*/ 2147483646 w 704"/>
                  <a:gd name="T95" fmla="*/ 2147483646 h 712"/>
                  <a:gd name="T96" fmla="*/ 0 w 704"/>
                  <a:gd name="T97" fmla="*/ 2147483646 h 712"/>
                  <a:gd name="T98" fmla="*/ 2147483646 w 704"/>
                  <a:gd name="T99" fmla="*/ 2147483646 h 712"/>
                  <a:gd name="T100" fmla="*/ 2147483646 w 704"/>
                  <a:gd name="T101" fmla="*/ 2147483646 h 712"/>
                  <a:gd name="T102" fmla="*/ 2147483646 w 704"/>
                  <a:gd name="T103" fmla="*/ 2147483646 h 712"/>
                  <a:gd name="T104" fmla="*/ 2147483646 w 704"/>
                  <a:gd name="T105" fmla="*/ 2147483646 h 712"/>
                  <a:gd name="T106" fmla="*/ 2147483646 w 704"/>
                  <a:gd name="T107" fmla="*/ 2147483646 h 712"/>
                  <a:gd name="T108" fmla="*/ 2147483646 w 704"/>
                  <a:gd name="T109" fmla="*/ 2147483646 h 712"/>
                  <a:gd name="T110" fmla="*/ 2147483646 w 704"/>
                  <a:gd name="T111" fmla="*/ 2147483646 h 712"/>
                  <a:gd name="T112" fmla="*/ 2147483646 w 704"/>
                  <a:gd name="T113" fmla="*/ 2147483646 h 712"/>
                  <a:gd name="T114" fmla="*/ 2147483646 w 704"/>
                  <a:gd name="T115" fmla="*/ 2147483646 h 712"/>
                  <a:gd name="T116" fmla="*/ 2147483646 w 704"/>
                  <a:gd name="T117" fmla="*/ 2147483646 h 712"/>
                  <a:gd name="T118" fmla="*/ 2147483646 w 704"/>
                  <a:gd name="T119" fmla="*/ 2147483646 h 712"/>
                  <a:gd name="T120" fmla="*/ 2147483646 w 704"/>
                  <a:gd name="T121" fmla="*/ 2147483646 h 712"/>
                  <a:gd name="T122" fmla="*/ 2147483646 w 704"/>
                  <a:gd name="T123" fmla="*/ 0 h 7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
                  <a:gd name="T187" fmla="*/ 0 h 712"/>
                  <a:gd name="T188" fmla="*/ 704 w 704"/>
                  <a:gd name="T189" fmla="*/ 712 h 7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 h="712">
                    <a:moveTo>
                      <a:pt x="376" y="0"/>
                    </a:moveTo>
                    <a:lnTo>
                      <a:pt x="440" y="40"/>
                    </a:lnTo>
                    <a:lnTo>
                      <a:pt x="472" y="112"/>
                    </a:lnTo>
                    <a:lnTo>
                      <a:pt x="440" y="128"/>
                    </a:lnTo>
                    <a:lnTo>
                      <a:pt x="464" y="168"/>
                    </a:lnTo>
                    <a:lnTo>
                      <a:pt x="456" y="240"/>
                    </a:lnTo>
                    <a:lnTo>
                      <a:pt x="512" y="256"/>
                    </a:lnTo>
                    <a:lnTo>
                      <a:pt x="536" y="304"/>
                    </a:lnTo>
                    <a:lnTo>
                      <a:pt x="624" y="336"/>
                    </a:lnTo>
                    <a:lnTo>
                      <a:pt x="704" y="392"/>
                    </a:lnTo>
                    <a:lnTo>
                      <a:pt x="616" y="424"/>
                    </a:lnTo>
                    <a:lnTo>
                      <a:pt x="552" y="472"/>
                    </a:lnTo>
                    <a:lnTo>
                      <a:pt x="552" y="504"/>
                    </a:lnTo>
                    <a:lnTo>
                      <a:pt x="584" y="512"/>
                    </a:lnTo>
                    <a:lnTo>
                      <a:pt x="552" y="544"/>
                    </a:lnTo>
                    <a:lnTo>
                      <a:pt x="520" y="600"/>
                    </a:lnTo>
                    <a:lnTo>
                      <a:pt x="528" y="680"/>
                    </a:lnTo>
                    <a:lnTo>
                      <a:pt x="488" y="672"/>
                    </a:lnTo>
                    <a:lnTo>
                      <a:pt x="464" y="712"/>
                    </a:lnTo>
                    <a:lnTo>
                      <a:pt x="416" y="704"/>
                    </a:lnTo>
                    <a:lnTo>
                      <a:pt x="392" y="680"/>
                    </a:lnTo>
                    <a:lnTo>
                      <a:pt x="368" y="664"/>
                    </a:lnTo>
                    <a:lnTo>
                      <a:pt x="352" y="640"/>
                    </a:lnTo>
                    <a:lnTo>
                      <a:pt x="304" y="632"/>
                    </a:lnTo>
                    <a:lnTo>
                      <a:pt x="304" y="576"/>
                    </a:lnTo>
                    <a:lnTo>
                      <a:pt x="264" y="568"/>
                    </a:lnTo>
                    <a:lnTo>
                      <a:pt x="240" y="520"/>
                    </a:lnTo>
                    <a:lnTo>
                      <a:pt x="232" y="480"/>
                    </a:lnTo>
                    <a:lnTo>
                      <a:pt x="200" y="456"/>
                    </a:lnTo>
                    <a:lnTo>
                      <a:pt x="224" y="432"/>
                    </a:lnTo>
                    <a:lnTo>
                      <a:pt x="248" y="432"/>
                    </a:lnTo>
                    <a:lnTo>
                      <a:pt x="264" y="392"/>
                    </a:lnTo>
                    <a:lnTo>
                      <a:pt x="304" y="392"/>
                    </a:lnTo>
                    <a:lnTo>
                      <a:pt x="344" y="416"/>
                    </a:lnTo>
                    <a:lnTo>
                      <a:pt x="360" y="392"/>
                    </a:lnTo>
                    <a:lnTo>
                      <a:pt x="344" y="360"/>
                    </a:lnTo>
                    <a:lnTo>
                      <a:pt x="320" y="352"/>
                    </a:lnTo>
                    <a:lnTo>
                      <a:pt x="288" y="344"/>
                    </a:lnTo>
                    <a:lnTo>
                      <a:pt x="240" y="312"/>
                    </a:lnTo>
                    <a:lnTo>
                      <a:pt x="216" y="280"/>
                    </a:lnTo>
                    <a:lnTo>
                      <a:pt x="192" y="296"/>
                    </a:lnTo>
                    <a:lnTo>
                      <a:pt x="168" y="312"/>
                    </a:lnTo>
                    <a:lnTo>
                      <a:pt x="144" y="312"/>
                    </a:lnTo>
                    <a:lnTo>
                      <a:pt x="112" y="368"/>
                    </a:lnTo>
                    <a:lnTo>
                      <a:pt x="80" y="440"/>
                    </a:lnTo>
                    <a:lnTo>
                      <a:pt x="48" y="448"/>
                    </a:lnTo>
                    <a:lnTo>
                      <a:pt x="16" y="416"/>
                    </a:lnTo>
                    <a:lnTo>
                      <a:pt x="32" y="392"/>
                    </a:lnTo>
                    <a:lnTo>
                      <a:pt x="0" y="384"/>
                    </a:lnTo>
                    <a:lnTo>
                      <a:pt x="8" y="360"/>
                    </a:lnTo>
                    <a:lnTo>
                      <a:pt x="40" y="352"/>
                    </a:lnTo>
                    <a:lnTo>
                      <a:pt x="56" y="384"/>
                    </a:lnTo>
                    <a:lnTo>
                      <a:pt x="80" y="360"/>
                    </a:lnTo>
                    <a:lnTo>
                      <a:pt x="64" y="296"/>
                    </a:lnTo>
                    <a:lnTo>
                      <a:pt x="104" y="256"/>
                    </a:lnTo>
                    <a:lnTo>
                      <a:pt x="104" y="208"/>
                    </a:lnTo>
                    <a:lnTo>
                      <a:pt x="136" y="208"/>
                    </a:lnTo>
                    <a:lnTo>
                      <a:pt x="168" y="256"/>
                    </a:lnTo>
                    <a:lnTo>
                      <a:pt x="208" y="248"/>
                    </a:lnTo>
                    <a:lnTo>
                      <a:pt x="240" y="168"/>
                    </a:lnTo>
                    <a:lnTo>
                      <a:pt x="304" y="56"/>
                    </a:lnTo>
                    <a:lnTo>
                      <a:pt x="376" y="0"/>
                    </a:lnTo>
                    <a:close/>
                  </a:path>
                </a:pathLst>
              </a:custGeom>
              <a:solidFill>
                <a:srgbClr val="0E297D"/>
              </a:solidFill>
              <a:ln w="9525">
                <a:solidFill>
                  <a:schemeClr val="bg1"/>
                </a:solidFill>
                <a:round/>
                <a:headEnd/>
                <a:tailEnd/>
              </a:ln>
            </p:spPr>
            <p:txBody>
              <a:bodyPr/>
              <a:lstStyle/>
              <a:p>
                <a:endParaRPr lang="en-US" sz="1050"/>
              </a:p>
            </p:txBody>
          </p:sp>
          <p:sp>
            <p:nvSpPr>
              <p:cNvPr id="132" name="Freeform 38"/>
              <p:cNvSpPr>
                <a:spLocks/>
              </p:cNvSpPr>
              <p:nvPr/>
            </p:nvSpPr>
            <p:spPr bwMode="auto">
              <a:xfrm>
                <a:off x="2066930" y="4934352"/>
                <a:ext cx="871971" cy="852808"/>
              </a:xfrm>
              <a:custGeom>
                <a:avLst/>
                <a:gdLst>
                  <a:gd name="T0" fmla="*/ 2147483646 w 728"/>
                  <a:gd name="T1" fmla="*/ 2147483646 h 712"/>
                  <a:gd name="T2" fmla="*/ 2147483646 w 728"/>
                  <a:gd name="T3" fmla="*/ 2147483646 h 712"/>
                  <a:gd name="T4" fmla="*/ 2147483646 w 728"/>
                  <a:gd name="T5" fmla="*/ 2147483646 h 712"/>
                  <a:gd name="T6" fmla="*/ 2147483646 w 728"/>
                  <a:gd name="T7" fmla="*/ 2147483646 h 712"/>
                  <a:gd name="T8" fmla="*/ 2147483646 w 728"/>
                  <a:gd name="T9" fmla="*/ 2147483646 h 712"/>
                  <a:gd name="T10" fmla="*/ 2147483646 w 728"/>
                  <a:gd name="T11" fmla="*/ 2147483646 h 712"/>
                  <a:gd name="T12" fmla="*/ 2147483646 w 728"/>
                  <a:gd name="T13" fmla="*/ 2147483646 h 712"/>
                  <a:gd name="T14" fmla="*/ 2147483646 w 728"/>
                  <a:gd name="T15" fmla="*/ 2147483646 h 712"/>
                  <a:gd name="T16" fmla="*/ 2147483646 w 728"/>
                  <a:gd name="T17" fmla="*/ 2147483646 h 712"/>
                  <a:gd name="T18" fmla="*/ 2147483646 w 728"/>
                  <a:gd name="T19" fmla="*/ 2147483646 h 712"/>
                  <a:gd name="T20" fmla="*/ 2147483646 w 728"/>
                  <a:gd name="T21" fmla="*/ 2147483646 h 712"/>
                  <a:gd name="T22" fmla="*/ 2147483646 w 728"/>
                  <a:gd name="T23" fmla="*/ 2147483646 h 712"/>
                  <a:gd name="T24" fmla="*/ 2147483646 w 728"/>
                  <a:gd name="T25" fmla="*/ 2147483646 h 712"/>
                  <a:gd name="T26" fmla="*/ 2147483646 w 728"/>
                  <a:gd name="T27" fmla="*/ 0 h 712"/>
                  <a:gd name="T28" fmla="*/ 2147483646 w 728"/>
                  <a:gd name="T29" fmla="*/ 2147483646 h 712"/>
                  <a:gd name="T30" fmla="*/ 2147483646 w 728"/>
                  <a:gd name="T31" fmla="*/ 2147483646 h 712"/>
                  <a:gd name="T32" fmla="*/ 2147483646 w 728"/>
                  <a:gd name="T33" fmla="*/ 2147483646 h 712"/>
                  <a:gd name="T34" fmla="*/ 2147483646 w 728"/>
                  <a:gd name="T35" fmla="*/ 2147483646 h 712"/>
                  <a:gd name="T36" fmla="*/ 2147483646 w 728"/>
                  <a:gd name="T37" fmla="*/ 2147483646 h 712"/>
                  <a:gd name="T38" fmla="*/ 2147483646 w 728"/>
                  <a:gd name="T39" fmla="*/ 2147483646 h 712"/>
                  <a:gd name="T40" fmla="*/ 2147483646 w 728"/>
                  <a:gd name="T41" fmla="*/ 2147483646 h 712"/>
                  <a:gd name="T42" fmla="*/ 2147483646 w 728"/>
                  <a:gd name="T43" fmla="*/ 2147483646 h 712"/>
                  <a:gd name="T44" fmla="*/ 2147483646 w 728"/>
                  <a:gd name="T45" fmla="*/ 2147483646 h 712"/>
                  <a:gd name="T46" fmla="*/ 2147483646 w 728"/>
                  <a:gd name="T47" fmla="*/ 2147483646 h 712"/>
                  <a:gd name="T48" fmla="*/ 2147483646 w 728"/>
                  <a:gd name="T49" fmla="*/ 2147483646 h 712"/>
                  <a:gd name="T50" fmla="*/ 2147483646 w 728"/>
                  <a:gd name="T51" fmla="*/ 2147483646 h 712"/>
                  <a:gd name="T52" fmla="*/ 2147483646 w 728"/>
                  <a:gd name="T53" fmla="*/ 2147483646 h 712"/>
                  <a:gd name="T54" fmla="*/ 2147483646 w 728"/>
                  <a:gd name="T55" fmla="*/ 2147483646 h 712"/>
                  <a:gd name="T56" fmla="*/ 2147483646 w 728"/>
                  <a:gd name="T57" fmla="*/ 2147483646 h 712"/>
                  <a:gd name="T58" fmla="*/ 2147483646 w 728"/>
                  <a:gd name="T59" fmla="*/ 2147483646 h 712"/>
                  <a:gd name="T60" fmla="*/ 2147483646 w 728"/>
                  <a:gd name="T61" fmla="*/ 2147483646 h 712"/>
                  <a:gd name="T62" fmla="*/ 2147483646 w 728"/>
                  <a:gd name="T63" fmla="*/ 2147483646 h 712"/>
                  <a:gd name="T64" fmla="*/ 2147483646 w 728"/>
                  <a:gd name="T65" fmla="*/ 2147483646 h 712"/>
                  <a:gd name="T66" fmla="*/ 2147483646 w 728"/>
                  <a:gd name="T67" fmla="*/ 2147483646 h 712"/>
                  <a:gd name="T68" fmla="*/ 2147483646 w 728"/>
                  <a:gd name="T69" fmla="*/ 2147483646 h 712"/>
                  <a:gd name="T70" fmla="*/ 2147483646 w 728"/>
                  <a:gd name="T71" fmla="*/ 2147483646 h 712"/>
                  <a:gd name="T72" fmla="*/ 2147483646 w 728"/>
                  <a:gd name="T73" fmla="*/ 2147483646 h 712"/>
                  <a:gd name="T74" fmla="*/ 2147483646 w 728"/>
                  <a:gd name="T75" fmla="*/ 2147483646 h 712"/>
                  <a:gd name="T76" fmla="*/ 2147483646 w 728"/>
                  <a:gd name="T77" fmla="*/ 2147483646 h 712"/>
                  <a:gd name="T78" fmla="*/ 2147483646 w 728"/>
                  <a:gd name="T79" fmla="*/ 2147483646 h 712"/>
                  <a:gd name="T80" fmla="*/ 2147483646 w 728"/>
                  <a:gd name="T81" fmla="*/ 2147483646 h 712"/>
                  <a:gd name="T82" fmla="*/ 2147483646 w 728"/>
                  <a:gd name="T83" fmla="*/ 2147483646 h 712"/>
                  <a:gd name="T84" fmla="*/ 2147483646 w 728"/>
                  <a:gd name="T85" fmla="*/ 2147483646 h 712"/>
                  <a:gd name="T86" fmla="*/ 2147483646 w 728"/>
                  <a:gd name="T87" fmla="*/ 2147483646 h 712"/>
                  <a:gd name="T88" fmla="*/ 2147483646 w 728"/>
                  <a:gd name="T89" fmla="*/ 2147483646 h 712"/>
                  <a:gd name="T90" fmla="*/ 2147483646 w 728"/>
                  <a:gd name="T91" fmla="*/ 2147483646 h 712"/>
                  <a:gd name="T92" fmla="*/ 2147483646 w 728"/>
                  <a:gd name="T93" fmla="*/ 2147483646 h 712"/>
                  <a:gd name="T94" fmla="*/ 2147483646 w 728"/>
                  <a:gd name="T95" fmla="*/ 2147483646 h 712"/>
                  <a:gd name="T96" fmla="*/ 0 w 728"/>
                  <a:gd name="T97" fmla="*/ 2147483646 h 712"/>
                  <a:gd name="T98" fmla="*/ 2147483646 w 728"/>
                  <a:gd name="T99" fmla="*/ 2147483646 h 712"/>
                  <a:gd name="T100" fmla="*/ 2147483646 w 728"/>
                  <a:gd name="T101" fmla="*/ 2147483646 h 712"/>
                  <a:gd name="T102" fmla="*/ 2147483646 w 728"/>
                  <a:gd name="T103" fmla="*/ 2147483646 h 712"/>
                  <a:gd name="T104" fmla="*/ 2147483646 w 728"/>
                  <a:gd name="T105" fmla="*/ 2147483646 h 712"/>
                  <a:gd name="T106" fmla="*/ 2147483646 w 728"/>
                  <a:gd name="T107" fmla="*/ 2147483646 h 712"/>
                  <a:gd name="T108" fmla="*/ 2147483646 w 728"/>
                  <a:gd name="T109" fmla="*/ 2147483646 h 712"/>
                  <a:gd name="T110" fmla="*/ 2147483646 w 728"/>
                  <a:gd name="T111" fmla="*/ 2147483646 h 7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12"/>
                  <a:gd name="T170" fmla="*/ 728 w 728"/>
                  <a:gd name="T171" fmla="*/ 712 h 7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12">
                    <a:moveTo>
                      <a:pt x="104" y="432"/>
                    </a:moveTo>
                    <a:lnTo>
                      <a:pt x="128" y="392"/>
                    </a:lnTo>
                    <a:lnTo>
                      <a:pt x="168" y="400"/>
                    </a:lnTo>
                    <a:lnTo>
                      <a:pt x="160" y="320"/>
                    </a:lnTo>
                    <a:lnTo>
                      <a:pt x="192" y="264"/>
                    </a:lnTo>
                    <a:lnTo>
                      <a:pt x="224" y="232"/>
                    </a:lnTo>
                    <a:lnTo>
                      <a:pt x="192" y="224"/>
                    </a:lnTo>
                    <a:lnTo>
                      <a:pt x="192" y="192"/>
                    </a:lnTo>
                    <a:lnTo>
                      <a:pt x="256" y="144"/>
                    </a:lnTo>
                    <a:lnTo>
                      <a:pt x="344" y="112"/>
                    </a:lnTo>
                    <a:lnTo>
                      <a:pt x="384" y="88"/>
                    </a:lnTo>
                    <a:lnTo>
                      <a:pt x="456" y="96"/>
                    </a:lnTo>
                    <a:lnTo>
                      <a:pt x="480" y="8"/>
                    </a:lnTo>
                    <a:lnTo>
                      <a:pt x="512" y="0"/>
                    </a:lnTo>
                    <a:lnTo>
                      <a:pt x="520" y="56"/>
                    </a:lnTo>
                    <a:lnTo>
                      <a:pt x="560" y="72"/>
                    </a:lnTo>
                    <a:lnTo>
                      <a:pt x="576" y="136"/>
                    </a:lnTo>
                    <a:lnTo>
                      <a:pt x="528" y="184"/>
                    </a:lnTo>
                    <a:lnTo>
                      <a:pt x="592" y="216"/>
                    </a:lnTo>
                    <a:lnTo>
                      <a:pt x="608" y="272"/>
                    </a:lnTo>
                    <a:lnTo>
                      <a:pt x="664" y="288"/>
                    </a:lnTo>
                    <a:lnTo>
                      <a:pt x="704" y="344"/>
                    </a:lnTo>
                    <a:lnTo>
                      <a:pt x="696" y="408"/>
                    </a:lnTo>
                    <a:lnTo>
                      <a:pt x="728" y="432"/>
                    </a:lnTo>
                    <a:lnTo>
                      <a:pt x="688" y="448"/>
                    </a:lnTo>
                    <a:lnTo>
                      <a:pt x="680" y="488"/>
                    </a:lnTo>
                    <a:lnTo>
                      <a:pt x="712" y="520"/>
                    </a:lnTo>
                    <a:lnTo>
                      <a:pt x="688" y="544"/>
                    </a:lnTo>
                    <a:lnTo>
                      <a:pt x="704" y="576"/>
                    </a:lnTo>
                    <a:lnTo>
                      <a:pt x="672" y="584"/>
                    </a:lnTo>
                    <a:lnTo>
                      <a:pt x="680" y="624"/>
                    </a:lnTo>
                    <a:lnTo>
                      <a:pt x="648" y="632"/>
                    </a:lnTo>
                    <a:lnTo>
                      <a:pt x="640" y="712"/>
                    </a:lnTo>
                    <a:lnTo>
                      <a:pt x="592" y="688"/>
                    </a:lnTo>
                    <a:lnTo>
                      <a:pt x="560" y="672"/>
                    </a:lnTo>
                    <a:lnTo>
                      <a:pt x="528" y="672"/>
                    </a:lnTo>
                    <a:lnTo>
                      <a:pt x="504" y="656"/>
                    </a:lnTo>
                    <a:lnTo>
                      <a:pt x="456" y="648"/>
                    </a:lnTo>
                    <a:lnTo>
                      <a:pt x="424" y="624"/>
                    </a:lnTo>
                    <a:lnTo>
                      <a:pt x="384" y="640"/>
                    </a:lnTo>
                    <a:lnTo>
                      <a:pt x="360" y="624"/>
                    </a:lnTo>
                    <a:lnTo>
                      <a:pt x="320" y="608"/>
                    </a:lnTo>
                    <a:lnTo>
                      <a:pt x="288" y="600"/>
                    </a:lnTo>
                    <a:lnTo>
                      <a:pt x="240" y="600"/>
                    </a:lnTo>
                    <a:lnTo>
                      <a:pt x="200" y="616"/>
                    </a:lnTo>
                    <a:lnTo>
                      <a:pt x="144" y="624"/>
                    </a:lnTo>
                    <a:lnTo>
                      <a:pt x="88" y="616"/>
                    </a:lnTo>
                    <a:lnTo>
                      <a:pt x="40" y="608"/>
                    </a:lnTo>
                    <a:lnTo>
                      <a:pt x="0" y="576"/>
                    </a:lnTo>
                    <a:lnTo>
                      <a:pt x="16" y="536"/>
                    </a:lnTo>
                    <a:lnTo>
                      <a:pt x="24" y="512"/>
                    </a:lnTo>
                    <a:lnTo>
                      <a:pt x="32" y="488"/>
                    </a:lnTo>
                    <a:lnTo>
                      <a:pt x="80" y="480"/>
                    </a:lnTo>
                    <a:lnTo>
                      <a:pt x="120" y="464"/>
                    </a:lnTo>
                    <a:lnTo>
                      <a:pt x="120" y="440"/>
                    </a:lnTo>
                    <a:lnTo>
                      <a:pt x="104" y="432"/>
                    </a:lnTo>
                    <a:close/>
                  </a:path>
                </a:pathLst>
              </a:custGeom>
              <a:solidFill>
                <a:srgbClr val="0E297D"/>
              </a:solidFill>
              <a:ln w="9525">
                <a:solidFill>
                  <a:schemeClr val="bg1"/>
                </a:solidFill>
                <a:round/>
                <a:headEnd/>
                <a:tailEnd/>
              </a:ln>
            </p:spPr>
            <p:txBody>
              <a:bodyPr/>
              <a:lstStyle/>
              <a:p>
                <a:endParaRPr lang="en-US" sz="1050"/>
              </a:p>
            </p:txBody>
          </p:sp>
          <p:sp>
            <p:nvSpPr>
              <p:cNvPr id="135" name="Freeform 39"/>
              <p:cNvSpPr>
                <a:spLocks/>
              </p:cNvSpPr>
              <p:nvPr/>
            </p:nvSpPr>
            <p:spPr bwMode="auto">
              <a:xfrm>
                <a:off x="1295961" y="4159069"/>
                <a:ext cx="824060" cy="919881"/>
              </a:xfrm>
              <a:custGeom>
                <a:avLst/>
                <a:gdLst>
                  <a:gd name="T0" fmla="*/ 2147483646 w 688"/>
                  <a:gd name="T1" fmla="*/ 2147483646 h 768"/>
                  <a:gd name="T2" fmla="*/ 2147483646 w 688"/>
                  <a:gd name="T3" fmla="*/ 2147483646 h 768"/>
                  <a:gd name="T4" fmla="*/ 2147483646 w 688"/>
                  <a:gd name="T5" fmla="*/ 2147483646 h 768"/>
                  <a:gd name="T6" fmla="*/ 2147483646 w 688"/>
                  <a:gd name="T7" fmla="*/ 2147483646 h 768"/>
                  <a:gd name="T8" fmla="*/ 2147483646 w 688"/>
                  <a:gd name="T9" fmla="*/ 2147483646 h 768"/>
                  <a:gd name="T10" fmla="*/ 2147483646 w 688"/>
                  <a:gd name="T11" fmla="*/ 2147483646 h 768"/>
                  <a:gd name="T12" fmla="*/ 2147483646 w 688"/>
                  <a:gd name="T13" fmla="*/ 2147483646 h 768"/>
                  <a:gd name="T14" fmla="*/ 2147483646 w 688"/>
                  <a:gd name="T15" fmla="*/ 2147483646 h 768"/>
                  <a:gd name="T16" fmla="*/ 2147483646 w 688"/>
                  <a:gd name="T17" fmla="*/ 2147483646 h 768"/>
                  <a:gd name="T18" fmla="*/ 2147483646 w 688"/>
                  <a:gd name="T19" fmla="*/ 2147483646 h 768"/>
                  <a:gd name="T20" fmla="*/ 2147483646 w 688"/>
                  <a:gd name="T21" fmla="*/ 2147483646 h 768"/>
                  <a:gd name="T22" fmla="*/ 2147483646 w 688"/>
                  <a:gd name="T23" fmla="*/ 2147483646 h 768"/>
                  <a:gd name="T24" fmla="*/ 2147483646 w 688"/>
                  <a:gd name="T25" fmla="*/ 2147483646 h 768"/>
                  <a:gd name="T26" fmla="*/ 2147483646 w 688"/>
                  <a:gd name="T27" fmla="*/ 2147483646 h 768"/>
                  <a:gd name="T28" fmla="*/ 2147483646 w 688"/>
                  <a:gd name="T29" fmla="*/ 2147483646 h 768"/>
                  <a:gd name="T30" fmla="*/ 2147483646 w 688"/>
                  <a:gd name="T31" fmla="*/ 2147483646 h 768"/>
                  <a:gd name="T32" fmla="*/ 2147483646 w 688"/>
                  <a:gd name="T33" fmla="*/ 2147483646 h 768"/>
                  <a:gd name="T34" fmla="*/ 2147483646 w 688"/>
                  <a:gd name="T35" fmla="*/ 2147483646 h 768"/>
                  <a:gd name="T36" fmla="*/ 2147483646 w 688"/>
                  <a:gd name="T37" fmla="*/ 2147483646 h 768"/>
                  <a:gd name="T38" fmla="*/ 2147483646 w 688"/>
                  <a:gd name="T39" fmla="*/ 2147483646 h 768"/>
                  <a:gd name="T40" fmla="*/ 2147483646 w 688"/>
                  <a:gd name="T41" fmla="*/ 2147483646 h 768"/>
                  <a:gd name="T42" fmla="*/ 2147483646 w 688"/>
                  <a:gd name="T43" fmla="*/ 2147483646 h 768"/>
                  <a:gd name="T44" fmla="*/ 2147483646 w 688"/>
                  <a:gd name="T45" fmla="*/ 0 h 768"/>
                  <a:gd name="T46" fmla="*/ 2147483646 w 688"/>
                  <a:gd name="T47" fmla="*/ 2147483646 h 768"/>
                  <a:gd name="T48" fmla="*/ 2147483646 w 688"/>
                  <a:gd name="T49" fmla="*/ 2147483646 h 768"/>
                  <a:gd name="T50" fmla="*/ 2147483646 w 688"/>
                  <a:gd name="T51" fmla="*/ 2147483646 h 768"/>
                  <a:gd name="T52" fmla="*/ 2147483646 w 688"/>
                  <a:gd name="T53" fmla="*/ 2147483646 h 768"/>
                  <a:gd name="T54" fmla="*/ 2147483646 w 688"/>
                  <a:gd name="T55" fmla="*/ 2147483646 h 768"/>
                  <a:gd name="T56" fmla="*/ 2147483646 w 688"/>
                  <a:gd name="T57" fmla="*/ 2147483646 h 768"/>
                  <a:gd name="T58" fmla="*/ 2147483646 w 688"/>
                  <a:gd name="T59" fmla="*/ 2147483646 h 768"/>
                  <a:gd name="T60" fmla="*/ 2147483646 w 688"/>
                  <a:gd name="T61" fmla="*/ 2147483646 h 768"/>
                  <a:gd name="T62" fmla="*/ 2147483646 w 688"/>
                  <a:gd name="T63" fmla="*/ 2147483646 h 768"/>
                  <a:gd name="T64" fmla="*/ 2147483646 w 688"/>
                  <a:gd name="T65" fmla="*/ 2147483646 h 768"/>
                  <a:gd name="T66" fmla="*/ 2147483646 w 688"/>
                  <a:gd name="T67" fmla="*/ 2147483646 h 768"/>
                  <a:gd name="T68" fmla="*/ 2147483646 w 688"/>
                  <a:gd name="T69" fmla="*/ 2147483646 h 768"/>
                  <a:gd name="T70" fmla="*/ 2147483646 w 688"/>
                  <a:gd name="T71" fmla="*/ 2147483646 h 768"/>
                  <a:gd name="T72" fmla="*/ 2147483646 w 688"/>
                  <a:gd name="T73" fmla="*/ 2147483646 h 768"/>
                  <a:gd name="T74" fmla="*/ 2147483646 w 688"/>
                  <a:gd name="T75" fmla="*/ 2147483646 h 768"/>
                  <a:gd name="T76" fmla="*/ 2147483646 w 688"/>
                  <a:gd name="T77" fmla="*/ 2147483646 h 768"/>
                  <a:gd name="T78" fmla="*/ 2147483646 w 688"/>
                  <a:gd name="T79" fmla="*/ 2147483646 h 768"/>
                  <a:gd name="T80" fmla="*/ 2147483646 w 688"/>
                  <a:gd name="T81" fmla="*/ 2147483646 h 768"/>
                  <a:gd name="T82" fmla="*/ 2147483646 w 688"/>
                  <a:gd name="T83" fmla="*/ 2147483646 h 768"/>
                  <a:gd name="T84" fmla="*/ 2147483646 w 688"/>
                  <a:gd name="T85" fmla="*/ 2147483646 h 768"/>
                  <a:gd name="T86" fmla="*/ 2147483646 w 688"/>
                  <a:gd name="T87" fmla="*/ 2147483646 h 768"/>
                  <a:gd name="T88" fmla="*/ 2147483646 w 688"/>
                  <a:gd name="T89" fmla="*/ 2147483646 h 768"/>
                  <a:gd name="T90" fmla="*/ 2147483646 w 688"/>
                  <a:gd name="T91" fmla="*/ 2147483646 h 768"/>
                  <a:gd name="T92" fmla="*/ 2147483646 w 688"/>
                  <a:gd name="T93" fmla="*/ 2147483646 h 768"/>
                  <a:gd name="T94" fmla="*/ 2147483646 w 688"/>
                  <a:gd name="T95" fmla="*/ 2147483646 h 768"/>
                  <a:gd name="T96" fmla="*/ 0 w 688"/>
                  <a:gd name="T97" fmla="*/ 2147483646 h 768"/>
                  <a:gd name="T98" fmla="*/ 0 w 688"/>
                  <a:gd name="T99" fmla="*/ 2147483646 h 768"/>
                  <a:gd name="T100" fmla="*/ 2147483646 w 688"/>
                  <a:gd name="T101" fmla="*/ 2147483646 h 768"/>
                  <a:gd name="T102" fmla="*/ 2147483646 w 688"/>
                  <a:gd name="T103" fmla="*/ 2147483646 h 768"/>
                  <a:gd name="T104" fmla="*/ 2147483646 w 688"/>
                  <a:gd name="T105" fmla="*/ 2147483646 h 768"/>
                  <a:gd name="T106" fmla="*/ 2147483646 w 688"/>
                  <a:gd name="T107" fmla="*/ 2147483646 h 768"/>
                  <a:gd name="T108" fmla="*/ 2147483646 w 688"/>
                  <a:gd name="T109" fmla="*/ 2147483646 h 768"/>
                  <a:gd name="T110" fmla="*/ 2147483646 w 688"/>
                  <a:gd name="T111" fmla="*/ 2147483646 h 768"/>
                  <a:gd name="T112" fmla="*/ 2147483646 w 688"/>
                  <a:gd name="T113" fmla="*/ 2147483646 h 768"/>
                  <a:gd name="T114" fmla="*/ 2147483646 w 688"/>
                  <a:gd name="T115" fmla="*/ 2147483646 h 768"/>
                  <a:gd name="T116" fmla="*/ 2147483646 w 688"/>
                  <a:gd name="T117" fmla="*/ 2147483646 h 7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8"/>
                  <a:gd name="T178" fmla="*/ 0 h 768"/>
                  <a:gd name="T179" fmla="*/ 688 w 688"/>
                  <a:gd name="T180" fmla="*/ 768 h 7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8" h="768">
                    <a:moveTo>
                      <a:pt x="304" y="744"/>
                    </a:moveTo>
                    <a:lnTo>
                      <a:pt x="336" y="736"/>
                    </a:lnTo>
                    <a:lnTo>
                      <a:pt x="352" y="768"/>
                    </a:lnTo>
                    <a:lnTo>
                      <a:pt x="376" y="744"/>
                    </a:lnTo>
                    <a:lnTo>
                      <a:pt x="360" y="680"/>
                    </a:lnTo>
                    <a:lnTo>
                      <a:pt x="400" y="640"/>
                    </a:lnTo>
                    <a:lnTo>
                      <a:pt x="400" y="592"/>
                    </a:lnTo>
                    <a:lnTo>
                      <a:pt x="432" y="592"/>
                    </a:lnTo>
                    <a:lnTo>
                      <a:pt x="464" y="640"/>
                    </a:lnTo>
                    <a:lnTo>
                      <a:pt x="504" y="632"/>
                    </a:lnTo>
                    <a:lnTo>
                      <a:pt x="536" y="552"/>
                    </a:lnTo>
                    <a:lnTo>
                      <a:pt x="600" y="440"/>
                    </a:lnTo>
                    <a:lnTo>
                      <a:pt x="672" y="384"/>
                    </a:lnTo>
                    <a:lnTo>
                      <a:pt x="616" y="344"/>
                    </a:lnTo>
                    <a:lnTo>
                      <a:pt x="616" y="312"/>
                    </a:lnTo>
                    <a:lnTo>
                      <a:pt x="656" y="280"/>
                    </a:lnTo>
                    <a:lnTo>
                      <a:pt x="648" y="200"/>
                    </a:lnTo>
                    <a:lnTo>
                      <a:pt x="688" y="168"/>
                    </a:lnTo>
                    <a:lnTo>
                      <a:pt x="600" y="32"/>
                    </a:lnTo>
                    <a:lnTo>
                      <a:pt x="560" y="16"/>
                    </a:lnTo>
                    <a:lnTo>
                      <a:pt x="512" y="16"/>
                    </a:lnTo>
                    <a:lnTo>
                      <a:pt x="464" y="56"/>
                    </a:lnTo>
                    <a:lnTo>
                      <a:pt x="432" y="0"/>
                    </a:lnTo>
                    <a:lnTo>
                      <a:pt x="392" y="64"/>
                    </a:lnTo>
                    <a:lnTo>
                      <a:pt x="360" y="72"/>
                    </a:lnTo>
                    <a:lnTo>
                      <a:pt x="360" y="120"/>
                    </a:lnTo>
                    <a:lnTo>
                      <a:pt x="320" y="128"/>
                    </a:lnTo>
                    <a:lnTo>
                      <a:pt x="192" y="64"/>
                    </a:lnTo>
                    <a:lnTo>
                      <a:pt x="144" y="80"/>
                    </a:lnTo>
                    <a:lnTo>
                      <a:pt x="128" y="136"/>
                    </a:lnTo>
                    <a:lnTo>
                      <a:pt x="80" y="152"/>
                    </a:lnTo>
                    <a:lnTo>
                      <a:pt x="112" y="184"/>
                    </a:lnTo>
                    <a:lnTo>
                      <a:pt x="72" y="208"/>
                    </a:lnTo>
                    <a:lnTo>
                      <a:pt x="112" y="264"/>
                    </a:lnTo>
                    <a:lnTo>
                      <a:pt x="96" y="304"/>
                    </a:lnTo>
                    <a:lnTo>
                      <a:pt x="64" y="336"/>
                    </a:lnTo>
                    <a:lnTo>
                      <a:pt x="72" y="360"/>
                    </a:lnTo>
                    <a:lnTo>
                      <a:pt x="64" y="376"/>
                    </a:lnTo>
                    <a:lnTo>
                      <a:pt x="48" y="384"/>
                    </a:lnTo>
                    <a:lnTo>
                      <a:pt x="48" y="408"/>
                    </a:lnTo>
                    <a:lnTo>
                      <a:pt x="40" y="440"/>
                    </a:lnTo>
                    <a:lnTo>
                      <a:pt x="8" y="440"/>
                    </a:lnTo>
                    <a:lnTo>
                      <a:pt x="8" y="472"/>
                    </a:lnTo>
                    <a:lnTo>
                      <a:pt x="24" y="472"/>
                    </a:lnTo>
                    <a:lnTo>
                      <a:pt x="64" y="496"/>
                    </a:lnTo>
                    <a:lnTo>
                      <a:pt x="80" y="512"/>
                    </a:lnTo>
                    <a:lnTo>
                      <a:pt x="80" y="536"/>
                    </a:lnTo>
                    <a:lnTo>
                      <a:pt x="48" y="544"/>
                    </a:lnTo>
                    <a:lnTo>
                      <a:pt x="0" y="544"/>
                    </a:lnTo>
                    <a:lnTo>
                      <a:pt x="0" y="568"/>
                    </a:lnTo>
                    <a:lnTo>
                      <a:pt x="16" y="600"/>
                    </a:lnTo>
                    <a:lnTo>
                      <a:pt x="64" y="608"/>
                    </a:lnTo>
                    <a:lnTo>
                      <a:pt x="96" y="616"/>
                    </a:lnTo>
                    <a:lnTo>
                      <a:pt x="112" y="672"/>
                    </a:lnTo>
                    <a:lnTo>
                      <a:pt x="144" y="696"/>
                    </a:lnTo>
                    <a:lnTo>
                      <a:pt x="192" y="688"/>
                    </a:lnTo>
                    <a:lnTo>
                      <a:pt x="240" y="712"/>
                    </a:lnTo>
                    <a:lnTo>
                      <a:pt x="288" y="720"/>
                    </a:lnTo>
                    <a:lnTo>
                      <a:pt x="304" y="744"/>
                    </a:lnTo>
                    <a:close/>
                  </a:path>
                </a:pathLst>
              </a:custGeom>
              <a:solidFill>
                <a:srgbClr val="CABC80"/>
              </a:solidFill>
              <a:ln w="9525">
                <a:solidFill>
                  <a:schemeClr val="bg1"/>
                </a:solidFill>
                <a:round/>
                <a:headEnd/>
                <a:tailEnd/>
              </a:ln>
            </p:spPr>
            <p:txBody>
              <a:bodyPr/>
              <a:lstStyle/>
              <a:p>
                <a:endParaRPr lang="en-US" sz="1050"/>
              </a:p>
            </p:txBody>
          </p:sp>
          <p:sp>
            <p:nvSpPr>
              <p:cNvPr id="180" name="Freeform 40"/>
              <p:cNvSpPr>
                <a:spLocks/>
              </p:cNvSpPr>
              <p:nvPr/>
            </p:nvSpPr>
            <p:spPr bwMode="auto">
              <a:xfrm>
                <a:off x="731836" y="3727063"/>
                <a:ext cx="1293582" cy="833642"/>
              </a:xfrm>
              <a:custGeom>
                <a:avLst/>
                <a:gdLst>
                  <a:gd name="T0" fmla="*/ 2147483646 w 1080"/>
                  <a:gd name="T1" fmla="*/ 2147483646 h 696"/>
                  <a:gd name="T2" fmla="*/ 2147483646 w 1080"/>
                  <a:gd name="T3" fmla="*/ 2147483646 h 696"/>
                  <a:gd name="T4" fmla="*/ 2147483646 w 1080"/>
                  <a:gd name="T5" fmla="*/ 2147483646 h 696"/>
                  <a:gd name="T6" fmla="*/ 2147483646 w 1080"/>
                  <a:gd name="T7" fmla="*/ 2147483646 h 696"/>
                  <a:gd name="T8" fmla="*/ 2147483646 w 1080"/>
                  <a:gd name="T9" fmla="*/ 2147483646 h 696"/>
                  <a:gd name="T10" fmla="*/ 2147483646 w 1080"/>
                  <a:gd name="T11" fmla="*/ 2147483646 h 696"/>
                  <a:gd name="T12" fmla="*/ 2147483646 w 1080"/>
                  <a:gd name="T13" fmla="*/ 2147483646 h 696"/>
                  <a:gd name="T14" fmla="*/ 2147483646 w 1080"/>
                  <a:gd name="T15" fmla="*/ 2147483646 h 696"/>
                  <a:gd name="T16" fmla="*/ 2147483646 w 1080"/>
                  <a:gd name="T17" fmla="*/ 2147483646 h 696"/>
                  <a:gd name="T18" fmla="*/ 2147483646 w 1080"/>
                  <a:gd name="T19" fmla="*/ 2147483646 h 696"/>
                  <a:gd name="T20" fmla="*/ 2147483646 w 1080"/>
                  <a:gd name="T21" fmla="*/ 2147483646 h 696"/>
                  <a:gd name="T22" fmla="*/ 2147483646 w 1080"/>
                  <a:gd name="T23" fmla="*/ 2147483646 h 696"/>
                  <a:gd name="T24" fmla="*/ 2147483646 w 1080"/>
                  <a:gd name="T25" fmla="*/ 2147483646 h 696"/>
                  <a:gd name="T26" fmla="*/ 2147483646 w 1080"/>
                  <a:gd name="T27" fmla="*/ 2147483646 h 696"/>
                  <a:gd name="T28" fmla="*/ 2147483646 w 1080"/>
                  <a:gd name="T29" fmla="*/ 2147483646 h 696"/>
                  <a:gd name="T30" fmla="*/ 2147483646 w 1080"/>
                  <a:gd name="T31" fmla="*/ 2147483646 h 696"/>
                  <a:gd name="T32" fmla="*/ 2147483646 w 1080"/>
                  <a:gd name="T33" fmla="*/ 2147483646 h 696"/>
                  <a:gd name="T34" fmla="*/ 2147483646 w 1080"/>
                  <a:gd name="T35" fmla="*/ 2147483646 h 696"/>
                  <a:gd name="T36" fmla="*/ 2147483646 w 1080"/>
                  <a:gd name="T37" fmla="*/ 2147483646 h 696"/>
                  <a:gd name="T38" fmla="*/ 2147483646 w 1080"/>
                  <a:gd name="T39" fmla="*/ 2147483646 h 696"/>
                  <a:gd name="T40" fmla="*/ 2147483646 w 1080"/>
                  <a:gd name="T41" fmla="*/ 2147483646 h 696"/>
                  <a:gd name="T42" fmla="*/ 2147483646 w 1080"/>
                  <a:gd name="T43" fmla="*/ 0 h 696"/>
                  <a:gd name="T44" fmla="*/ 2147483646 w 1080"/>
                  <a:gd name="T45" fmla="*/ 2147483646 h 696"/>
                  <a:gd name="T46" fmla="*/ 2147483646 w 1080"/>
                  <a:gd name="T47" fmla="*/ 2147483646 h 696"/>
                  <a:gd name="T48" fmla="*/ 2147483646 w 1080"/>
                  <a:gd name="T49" fmla="*/ 2147483646 h 696"/>
                  <a:gd name="T50" fmla="*/ 2147483646 w 1080"/>
                  <a:gd name="T51" fmla="*/ 2147483646 h 696"/>
                  <a:gd name="T52" fmla="*/ 2147483646 w 1080"/>
                  <a:gd name="T53" fmla="*/ 2147483646 h 696"/>
                  <a:gd name="T54" fmla="*/ 2147483646 w 1080"/>
                  <a:gd name="T55" fmla="*/ 2147483646 h 696"/>
                  <a:gd name="T56" fmla="*/ 2147483646 w 1080"/>
                  <a:gd name="T57" fmla="*/ 2147483646 h 696"/>
                  <a:gd name="T58" fmla="*/ 2147483646 w 1080"/>
                  <a:gd name="T59" fmla="*/ 2147483646 h 696"/>
                  <a:gd name="T60" fmla="*/ 2147483646 w 1080"/>
                  <a:gd name="T61" fmla="*/ 2147483646 h 696"/>
                  <a:gd name="T62" fmla="*/ 2147483646 w 1080"/>
                  <a:gd name="T63" fmla="*/ 2147483646 h 696"/>
                  <a:gd name="T64" fmla="*/ 2147483646 w 1080"/>
                  <a:gd name="T65" fmla="*/ 2147483646 h 696"/>
                  <a:gd name="T66" fmla="*/ 2147483646 w 1080"/>
                  <a:gd name="T67" fmla="*/ 2147483646 h 696"/>
                  <a:gd name="T68" fmla="*/ 2147483646 w 1080"/>
                  <a:gd name="T69" fmla="*/ 2147483646 h 696"/>
                  <a:gd name="T70" fmla="*/ 2147483646 w 1080"/>
                  <a:gd name="T71" fmla="*/ 2147483646 h 696"/>
                  <a:gd name="T72" fmla="*/ 2147483646 w 1080"/>
                  <a:gd name="T73" fmla="*/ 2147483646 h 6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0"/>
                  <a:gd name="T112" fmla="*/ 0 h 696"/>
                  <a:gd name="T113" fmla="*/ 1080 w 1080"/>
                  <a:gd name="T114" fmla="*/ 696 h 6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0" h="696">
                    <a:moveTo>
                      <a:pt x="536" y="696"/>
                    </a:moveTo>
                    <a:lnTo>
                      <a:pt x="584" y="624"/>
                    </a:lnTo>
                    <a:lnTo>
                      <a:pt x="544" y="568"/>
                    </a:lnTo>
                    <a:lnTo>
                      <a:pt x="584" y="544"/>
                    </a:lnTo>
                    <a:lnTo>
                      <a:pt x="552" y="512"/>
                    </a:lnTo>
                    <a:lnTo>
                      <a:pt x="600" y="496"/>
                    </a:lnTo>
                    <a:lnTo>
                      <a:pt x="616" y="440"/>
                    </a:lnTo>
                    <a:lnTo>
                      <a:pt x="664" y="424"/>
                    </a:lnTo>
                    <a:lnTo>
                      <a:pt x="792" y="488"/>
                    </a:lnTo>
                    <a:lnTo>
                      <a:pt x="832" y="480"/>
                    </a:lnTo>
                    <a:lnTo>
                      <a:pt x="832" y="432"/>
                    </a:lnTo>
                    <a:lnTo>
                      <a:pt x="864" y="424"/>
                    </a:lnTo>
                    <a:lnTo>
                      <a:pt x="904" y="360"/>
                    </a:lnTo>
                    <a:lnTo>
                      <a:pt x="936" y="416"/>
                    </a:lnTo>
                    <a:lnTo>
                      <a:pt x="984" y="376"/>
                    </a:lnTo>
                    <a:lnTo>
                      <a:pt x="1032" y="376"/>
                    </a:lnTo>
                    <a:lnTo>
                      <a:pt x="1080" y="312"/>
                    </a:lnTo>
                    <a:lnTo>
                      <a:pt x="1048" y="256"/>
                    </a:lnTo>
                    <a:lnTo>
                      <a:pt x="1008" y="248"/>
                    </a:lnTo>
                    <a:lnTo>
                      <a:pt x="1008" y="200"/>
                    </a:lnTo>
                    <a:lnTo>
                      <a:pt x="976" y="192"/>
                    </a:lnTo>
                    <a:lnTo>
                      <a:pt x="912" y="232"/>
                    </a:lnTo>
                    <a:lnTo>
                      <a:pt x="840" y="176"/>
                    </a:lnTo>
                    <a:lnTo>
                      <a:pt x="784" y="192"/>
                    </a:lnTo>
                    <a:lnTo>
                      <a:pt x="752" y="160"/>
                    </a:lnTo>
                    <a:lnTo>
                      <a:pt x="720" y="208"/>
                    </a:lnTo>
                    <a:lnTo>
                      <a:pt x="688" y="208"/>
                    </a:lnTo>
                    <a:lnTo>
                      <a:pt x="672" y="168"/>
                    </a:lnTo>
                    <a:lnTo>
                      <a:pt x="624" y="184"/>
                    </a:lnTo>
                    <a:lnTo>
                      <a:pt x="592" y="120"/>
                    </a:lnTo>
                    <a:lnTo>
                      <a:pt x="568" y="120"/>
                    </a:lnTo>
                    <a:lnTo>
                      <a:pt x="552" y="160"/>
                    </a:lnTo>
                    <a:lnTo>
                      <a:pt x="488" y="168"/>
                    </a:lnTo>
                    <a:lnTo>
                      <a:pt x="464" y="152"/>
                    </a:lnTo>
                    <a:lnTo>
                      <a:pt x="432" y="152"/>
                    </a:lnTo>
                    <a:lnTo>
                      <a:pt x="408" y="104"/>
                    </a:lnTo>
                    <a:lnTo>
                      <a:pt x="352" y="120"/>
                    </a:lnTo>
                    <a:lnTo>
                      <a:pt x="280" y="24"/>
                    </a:lnTo>
                    <a:lnTo>
                      <a:pt x="216" y="8"/>
                    </a:lnTo>
                    <a:lnTo>
                      <a:pt x="192" y="32"/>
                    </a:lnTo>
                    <a:lnTo>
                      <a:pt x="176" y="40"/>
                    </a:lnTo>
                    <a:lnTo>
                      <a:pt x="160" y="32"/>
                    </a:lnTo>
                    <a:lnTo>
                      <a:pt x="144" y="8"/>
                    </a:lnTo>
                    <a:lnTo>
                      <a:pt x="112" y="0"/>
                    </a:lnTo>
                    <a:lnTo>
                      <a:pt x="104" y="24"/>
                    </a:lnTo>
                    <a:lnTo>
                      <a:pt x="72" y="24"/>
                    </a:lnTo>
                    <a:lnTo>
                      <a:pt x="48" y="8"/>
                    </a:lnTo>
                    <a:lnTo>
                      <a:pt x="16" y="24"/>
                    </a:lnTo>
                    <a:lnTo>
                      <a:pt x="0" y="32"/>
                    </a:lnTo>
                    <a:lnTo>
                      <a:pt x="24" y="80"/>
                    </a:lnTo>
                    <a:lnTo>
                      <a:pt x="40" y="128"/>
                    </a:lnTo>
                    <a:lnTo>
                      <a:pt x="72" y="152"/>
                    </a:lnTo>
                    <a:lnTo>
                      <a:pt x="96" y="176"/>
                    </a:lnTo>
                    <a:lnTo>
                      <a:pt x="128" y="192"/>
                    </a:lnTo>
                    <a:lnTo>
                      <a:pt x="160" y="224"/>
                    </a:lnTo>
                    <a:lnTo>
                      <a:pt x="176" y="264"/>
                    </a:lnTo>
                    <a:lnTo>
                      <a:pt x="200" y="304"/>
                    </a:lnTo>
                    <a:lnTo>
                      <a:pt x="224" y="296"/>
                    </a:lnTo>
                    <a:lnTo>
                      <a:pt x="240" y="304"/>
                    </a:lnTo>
                    <a:lnTo>
                      <a:pt x="232" y="360"/>
                    </a:lnTo>
                    <a:lnTo>
                      <a:pt x="216" y="384"/>
                    </a:lnTo>
                    <a:lnTo>
                      <a:pt x="216" y="416"/>
                    </a:lnTo>
                    <a:lnTo>
                      <a:pt x="240" y="440"/>
                    </a:lnTo>
                    <a:lnTo>
                      <a:pt x="232" y="456"/>
                    </a:lnTo>
                    <a:lnTo>
                      <a:pt x="216" y="472"/>
                    </a:lnTo>
                    <a:lnTo>
                      <a:pt x="248" y="488"/>
                    </a:lnTo>
                    <a:lnTo>
                      <a:pt x="280" y="536"/>
                    </a:lnTo>
                    <a:lnTo>
                      <a:pt x="312" y="584"/>
                    </a:lnTo>
                    <a:lnTo>
                      <a:pt x="360" y="608"/>
                    </a:lnTo>
                    <a:lnTo>
                      <a:pt x="384" y="600"/>
                    </a:lnTo>
                    <a:lnTo>
                      <a:pt x="408" y="640"/>
                    </a:lnTo>
                    <a:lnTo>
                      <a:pt x="464" y="672"/>
                    </a:lnTo>
                    <a:lnTo>
                      <a:pt x="512" y="688"/>
                    </a:lnTo>
                    <a:lnTo>
                      <a:pt x="536" y="696"/>
                    </a:lnTo>
                    <a:close/>
                  </a:path>
                </a:pathLst>
              </a:custGeom>
              <a:solidFill>
                <a:srgbClr val="CABC80"/>
              </a:solidFill>
              <a:ln w="9525">
                <a:solidFill>
                  <a:schemeClr val="bg1"/>
                </a:solidFill>
                <a:round/>
                <a:headEnd/>
                <a:tailEnd/>
              </a:ln>
            </p:spPr>
            <p:txBody>
              <a:bodyPr/>
              <a:lstStyle/>
              <a:p>
                <a:endParaRPr lang="en-US" sz="1050"/>
              </a:p>
            </p:txBody>
          </p:sp>
          <p:sp>
            <p:nvSpPr>
              <p:cNvPr id="183" name="Freeform 41"/>
              <p:cNvSpPr>
                <a:spLocks/>
              </p:cNvSpPr>
              <p:nvPr/>
            </p:nvSpPr>
            <p:spPr bwMode="auto">
              <a:xfrm>
                <a:off x="1004873" y="3362979"/>
                <a:ext cx="1130688" cy="642002"/>
              </a:xfrm>
              <a:custGeom>
                <a:avLst/>
                <a:gdLst>
                  <a:gd name="T0" fmla="*/ 0 w 944"/>
                  <a:gd name="T1" fmla="*/ 2147483646 h 536"/>
                  <a:gd name="T2" fmla="*/ 2147483646 w 944"/>
                  <a:gd name="T3" fmla="*/ 2147483646 h 536"/>
                  <a:gd name="T4" fmla="*/ 2147483646 w 944"/>
                  <a:gd name="T5" fmla="*/ 2147483646 h 536"/>
                  <a:gd name="T6" fmla="*/ 2147483646 w 944"/>
                  <a:gd name="T7" fmla="*/ 2147483646 h 536"/>
                  <a:gd name="T8" fmla="*/ 2147483646 w 944"/>
                  <a:gd name="T9" fmla="*/ 2147483646 h 536"/>
                  <a:gd name="T10" fmla="*/ 2147483646 w 944"/>
                  <a:gd name="T11" fmla="*/ 2147483646 h 536"/>
                  <a:gd name="T12" fmla="*/ 2147483646 w 944"/>
                  <a:gd name="T13" fmla="*/ 2147483646 h 536"/>
                  <a:gd name="T14" fmla="*/ 2147483646 w 944"/>
                  <a:gd name="T15" fmla="*/ 2147483646 h 536"/>
                  <a:gd name="T16" fmla="*/ 2147483646 w 944"/>
                  <a:gd name="T17" fmla="*/ 2147483646 h 536"/>
                  <a:gd name="T18" fmla="*/ 2147483646 w 944"/>
                  <a:gd name="T19" fmla="*/ 2147483646 h 536"/>
                  <a:gd name="T20" fmla="*/ 2147483646 w 944"/>
                  <a:gd name="T21" fmla="*/ 2147483646 h 536"/>
                  <a:gd name="T22" fmla="*/ 2147483646 w 944"/>
                  <a:gd name="T23" fmla="*/ 2147483646 h 536"/>
                  <a:gd name="T24" fmla="*/ 2147483646 w 944"/>
                  <a:gd name="T25" fmla="*/ 2147483646 h 536"/>
                  <a:gd name="T26" fmla="*/ 2147483646 w 944"/>
                  <a:gd name="T27" fmla="*/ 2147483646 h 536"/>
                  <a:gd name="T28" fmla="*/ 2147483646 w 944"/>
                  <a:gd name="T29" fmla="*/ 2147483646 h 536"/>
                  <a:gd name="T30" fmla="*/ 2147483646 w 944"/>
                  <a:gd name="T31" fmla="*/ 2147483646 h 536"/>
                  <a:gd name="T32" fmla="*/ 2147483646 w 944"/>
                  <a:gd name="T33" fmla="*/ 2147483646 h 536"/>
                  <a:gd name="T34" fmla="*/ 2147483646 w 944"/>
                  <a:gd name="T35" fmla="*/ 2147483646 h 536"/>
                  <a:gd name="T36" fmla="*/ 2147483646 w 944"/>
                  <a:gd name="T37" fmla="*/ 2147483646 h 536"/>
                  <a:gd name="T38" fmla="*/ 2147483646 w 944"/>
                  <a:gd name="T39" fmla="*/ 2147483646 h 536"/>
                  <a:gd name="T40" fmla="*/ 2147483646 w 944"/>
                  <a:gd name="T41" fmla="*/ 2147483646 h 536"/>
                  <a:gd name="T42" fmla="*/ 2147483646 w 944"/>
                  <a:gd name="T43" fmla="*/ 2147483646 h 536"/>
                  <a:gd name="T44" fmla="*/ 2147483646 w 944"/>
                  <a:gd name="T45" fmla="*/ 2147483646 h 536"/>
                  <a:gd name="T46" fmla="*/ 2147483646 w 944"/>
                  <a:gd name="T47" fmla="*/ 2147483646 h 536"/>
                  <a:gd name="T48" fmla="*/ 2147483646 w 944"/>
                  <a:gd name="T49" fmla="*/ 2147483646 h 536"/>
                  <a:gd name="T50" fmla="*/ 2147483646 w 944"/>
                  <a:gd name="T51" fmla="*/ 2147483646 h 536"/>
                  <a:gd name="T52" fmla="*/ 2147483646 w 944"/>
                  <a:gd name="T53" fmla="*/ 2147483646 h 536"/>
                  <a:gd name="T54" fmla="*/ 2147483646 w 944"/>
                  <a:gd name="T55" fmla="*/ 2147483646 h 536"/>
                  <a:gd name="T56" fmla="*/ 2147483646 w 944"/>
                  <a:gd name="T57" fmla="*/ 2147483646 h 536"/>
                  <a:gd name="T58" fmla="*/ 2147483646 w 944"/>
                  <a:gd name="T59" fmla="*/ 2147483646 h 536"/>
                  <a:gd name="T60" fmla="*/ 2147483646 w 944"/>
                  <a:gd name="T61" fmla="*/ 2147483646 h 536"/>
                  <a:gd name="T62" fmla="*/ 2147483646 w 944"/>
                  <a:gd name="T63" fmla="*/ 2147483646 h 536"/>
                  <a:gd name="T64" fmla="*/ 2147483646 w 944"/>
                  <a:gd name="T65" fmla="*/ 2147483646 h 536"/>
                  <a:gd name="T66" fmla="*/ 2147483646 w 944"/>
                  <a:gd name="T67" fmla="*/ 2147483646 h 536"/>
                  <a:gd name="T68" fmla="*/ 2147483646 w 944"/>
                  <a:gd name="T69" fmla="*/ 2147483646 h 536"/>
                  <a:gd name="T70" fmla="*/ 2147483646 w 944"/>
                  <a:gd name="T71" fmla="*/ 2147483646 h 536"/>
                  <a:gd name="T72" fmla="*/ 2147483646 w 944"/>
                  <a:gd name="T73" fmla="*/ 0 h 536"/>
                  <a:gd name="T74" fmla="*/ 2147483646 w 944"/>
                  <a:gd name="T75" fmla="*/ 0 h 536"/>
                  <a:gd name="T76" fmla="*/ 2147483646 w 944"/>
                  <a:gd name="T77" fmla="*/ 2147483646 h 536"/>
                  <a:gd name="T78" fmla="*/ 2147483646 w 944"/>
                  <a:gd name="T79" fmla="*/ 2147483646 h 536"/>
                  <a:gd name="T80" fmla="*/ 2147483646 w 944"/>
                  <a:gd name="T81" fmla="*/ 2147483646 h 536"/>
                  <a:gd name="T82" fmla="*/ 2147483646 w 944"/>
                  <a:gd name="T83" fmla="*/ 2147483646 h 536"/>
                  <a:gd name="T84" fmla="*/ 2147483646 w 944"/>
                  <a:gd name="T85" fmla="*/ 2147483646 h 536"/>
                  <a:gd name="T86" fmla="*/ 2147483646 w 944"/>
                  <a:gd name="T87" fmla="*/ 2147483646 h 536"/>
                  <a:gd name="T88" fmla="*/ 2147483646 w 944"/>
                  <a:gd name="T89" fmla="*/ 2147483646 h 536"/>
                  <a:gd name="T90" fmla="*/ 2147483646 w 944"/>
                  <a:gd name="T91" fmla="*/ 2147483646 h 536"/>
                  <a:gd name="T92" fmla="*/ 2147483646 w 944"/>
                  <a:gd name="T93" fmla="*/ 2147483646 h 536"/>
                  <a:gd name="T94" fmla="*/ 2147483646 w 944"/>
                  <a:gd name="T95" fmla="*/ 2147483646 h 536"/>
                  <a:gd name="T96" fmla="*/ 2147483646 w 944"/>
                  <a:gd name="T97" fmla="*/ 2147483646 h 536"/>
                  <a:gd name="T98" fmla="*/ 2147483646 w 944"/>
                  <a:gd name="T99" fmla="*/ 2147483646 h 536"/>
                  <a:gd name="T100" fmla="*/ 2147483646 w 944"/>
                  <a:gd name="T101" fmla="*/ 2147483646 h 536"/>
                  <a:gd name="T102" fmla="*/ 2147483646 w 944"/>
                  <a:gd name="T103" fmla="*/ 2147483646 h 536"/>
                  <a:gd name="T104" fmla="*/ 2147483646 w 944"/>
                  <a:gd name="T105" fmla="*/ 2147483646 h 536"/>
                  <a:gd name="T106" fmla="*/ 2147483646 w 944"/>
                  <a:gd name="T107" fmla="*/ 2147483646 h 536"/>
                  <a:gd name="T108" fmla="*/ 2147483646 w 944"/>
                  <a:gd name="T109" fmla="*/ 2147483646 h 536"/>
                  <a:gd name="T110" fmla="*/ 2147483646 w 944"/>
                  <a:gd name="T111" fmla="*/ 2147483646 h 536"/>
                  <a:gd name="T112" fmla="*/ 2147483646 w 944"/>
                  <a:gd name="T113" fmla="*/ 2147483646 h 536"/>
                  <a:gd name="T114" fmla="*/ 2147483646 w 944"/>
                  <a:gd name="T115" fmla="*/ 2147483646 h 536"/>
                  <a:gd name="T116" fmla="*/ 2147483646 w 944"/>
                  <a:gd name="T117" fmla="*/ 2147483646 h 536"/>
                  <a:gd name="T118" fmla="*/ 0 w 944"/>
                  <a:gd name="T119" fmla="*/ 2147483646 h 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4"/>
                  <a:gd name="T181" fmla="*/ 0 h 536"/>
                  <a:gd name="T182" fmla="*/ 944 w 944"/>
                  <a:gd name="T183" fmla="*/ 536 h 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4" h="536">
                    <a:moveTo>
                      <a:pt x="0" y="312"/>
                    </a:moveTo>
                    <a:lnTo>
                      <a:pt x="64" y="328"/>
                    </a:lnTo>
                    <a:lnTo>
                      <a:pt x="136" y="424"/>
                    </a:lnTo>
                    <a:lnTo>
                      <a:pt x="192" y="408"/>
                    </a:lnTo>
                    <a:lnTo>
                      <a:pt x="216" y="456"/>
                    </a:lnTo>
                    <a:lnTo>
                      <a:pt x="248" y="456"/>
                    </a:lnTo>
                    <a:lnTo>
                      <a:pt x="272" y="472"/>
                    </a:lnTo>
                    <a:lnTo>
                      <a:pt x="336" y="464"/>
                    </a:lnTo>
                    <a:lnTo>
                      <a:pt x="352" y="424"/>
                    </a:lnTo>
                    <a:lnTo>
                      <a:pt x="376" y="424"/>
                    </a:lnTo>
                    <a:lnTo>
                      <a:pt x="408" y="488"/>
                    </a:lnTo>
                    <a:lnTo>
                      <a:pt x="456" y="472"/>
                    </a:lnTo>
                    <a:lnTo>
                      <a:pt x="472" y="512"/>
                    </a:lnTo>
                    <a:lnTo>
                      <a:pt x="504" y="512"/>
                    </a:lnTo>
                    <a:lnTo>
                      <a:pt x="536" y="464"/>
                    </a:lnTo>
                    <a:lnTo>
                      <a:pt x="568" y="496"/>
                    </a:lnTo>
                    <a:lnTo>
                      <a:pt x="624" y="480"/>
                    </a:lnTo>
                    <a:lnTo>
                      <a:pt x="696" y="536"/>
                    </a:lnTo>
                    <a:lnTo>
                      <a:pt x="760" y="496"/>
                    </a:lnTo>
                    <a:lnTo>
                      <a:pt x="776" y="464"/>
                    </a:lnTo>
                    <a:lnTo>
                      <a:pt x="808" y="448"/>
                    </a:lnTo>
                    <a:lnTo>
                      <a:pt x="808" y="424"/>
                    </a:lnTo>
                    <a:lnTo>
                      <a:pt x="848" y="400"/>
                    </a:lnTo>
                    <a:lnTo>
                      <a:pt x="856" y="328"/>
                    </a:lnTo>
                    <a:lnTo>
                      <a:pt x="904" y="328"/>
                    </a:lnTo>
                    <a:lnTo>
                      <a:pt x="944" y="224"/>
                    </a:lnTo>
                    <a:lnTo>
                      <a:pt x="896" y="200"/>
                    </a:lnTo>
                    <a:lnTo>
                      <a:pt x="832" y="200"/>
                    </a:lnTo>
                    <a:lnTo>
                      <a:pt x="768" y="128"/>
                    </a:lnTo>
                    <a:lnTo>
                      <a:pt x="728" y="120"/>
                    </a:lnTo>
                    <a:lnTo>
                      <a:pt x="720" y="80"/>
                    </a:lnTo>
                    <a:lnTo>
                      <a:pt x="632" y="40"/>
                    </a:lnTo>
                    <a:lnTo>
                      <a:pt x="608" y="48"/>
                    </a:lnTo>
                    <a:lnTo>
                      <a:pt x="568" y="8"/>
                    </a:lnTo>
                    <a:lnTo>
                      <a:pt x="456" y="24"/>
                    </a:lnTo>
                    <a:lnTo>
                      <a:pt x="424" y="40"/>
                    </a:lnTo>
                    <a:lnTo>
                      <a:pt x="368" y="0"/>
                    </a:lnTo>
                    <a:lnTo>
                      <a:pt x="352" y="0"/>
                    </a:lnTo>
                    <a:lnTo>
                      <a:pt x="344" y="32"/>
                    </a:lnTo>
                    <a:lnTo>
                      <a:pt x="320" y="48"/>
                    </a:lnTo>
                    <a:lnTo>
                      <a:pt x="288" y="40"/>
                    </a:lnTo>
                    <a:lnTo>
                      <a:pt x="272" y="72"/>
                    </a:lnTo>
                    <a:lnTo>
                      <a:pt x="272" y="96"/>
                    </a:lnTo>
                    <a:lnTo>
                      <a:pt x="256" y="112"/>
                    </a:lnTo>
                    <a:lnTo>
                      <a:pt x="280" y="160"/>
                    </a:lnTo>
                    <a:lnTo>
                      <a:pt x="264" y="176"/>
                    </a:lnTo>
                    <a:lnTo>
                      <a:pt x="224" y="176"/>
                    </a:lnTo>
                    <a:lnTo>
                      <a:pt x="216" y="224"/>
                    </a:lnTo>
                    <a:lnTo>
                      <a:pt x="208" y="256"/>
                    </a:lnTo>
                    <a:lnTo>
                      <a:pt x="192" y="256"/>
                    </a:lnTo>
                    <a:lnTo>
                      <a:pt x="160" y="288"/>
                    </a:lnTo>
                    <a:lnTo>
                      <a:pt x="136" y="264"/>
                    </a:lnTo>
                    <a:lnTo>
                      <a:pt x="120" y="264"/>
                    </a:lnTo>
                    <a:lnTo>
                      <a:pt x="104" y="256"/>
                    </a:lnTo>
                    <a:lnTo>
                      <a:pt x="88" y="264"/>
                    </a:lnTo>
                    <a:lnTo>
                      <a:pt x="64" y="248"/>
                    </a:lnTo>
                    <a:lnTo>
                      <a:pt x="32" y="264"/>
                    </a:lnTo>
                    <a:lnTo>
                      <a:pt x="16" y="272"/>
                    </a:lnTo>
                    <a:lnTo>
                      <a:pt x="16" y="296"/>
                    </a:lnTo>
                    <a:lnTo>
                      <a:pt x="0" y="312"/>
                    </a:lnTo>
                    <a:close/>
                  </a:path>
                </a:pathLst>
              </a:custGeom>
              <a:solidFill>
                <a:srgbClr val="CABC80"/>
              </a:solidFill>
              <a:ln w="9525">
                <a:solidFill>
                  <a:schemeClr val="bg1"/>
                </a:solidFill>
                <a:round/>
                <a:headEnd/>
                <a:tailEnd/>
              </a:ln>
            </p:spPr>
            <p:txBody>
              <a:bodyPr/>
              <a:lstStyle/>
              <a:p>
                <a:endParaRPr lang="en-US" sz="1050"/>
              </a:p>
            </p:txBody>
          </p:sp>
          <p:sp>
            <p:nvSpPr>
              <p:cNvPr id="184" name="Freeform 42"/>
              <p:cNvSpPr>
                <a:spLocks/>
              </p:cNvSpPr>
              <p:nvPr/>
            </p:nvSpPr>
            <p:spPr bwMode="auto">
              <a:xfrm>
                <a:off x="1431587" y="2634918"/>
                <a:ext cx="776150" cy="996538"/>
              </a:xfrm>
              <a:custGeom>
                <a:avLst/>
                <a:gdLst>
                  <a:gd name="T0" fmla="*/ 2147483646 w 648"/>
                  <a:gd name="T1" fmla="*/ 2147483646 h 832"/>
                  <a:gd name="T2" fmla="*/ 2147483646 w 648"/>
                  <a:gd name="T3" fmla="*/ 2147483646 h 832"/>
                  <a:gd name="T4" fmla="*/ 2147483646 w 648"/>
                  <a:gd name="T5" fmla="*/ 2147483646 h 832"/>
                  <a:gd name="T6" fmla="*/ 2147483646 w 648"/>
                  <a:gd name="T7" fmla="*/ 2147483646 h 832"/>
                  <a:gd name="T8" fmla="*/ 2147483646 w 648"/>
                  <a:gd name="T9" fmla="*/ 2147483646 h 832"/>
                  <a:gd name="T10" fmla="*/ 2147483646 w 648"/>
                  <a:gd name="T11" fmla="*/ 2147483646 h 832"/>
                  <a:gd name="T12" fmla="*/ 2147483646 w 648"/>
                  <a:gd name="T13" fmla="*/ 2147483646 h 832"/>
                  <a:gd name="T14" fmla="*/ 2147483646 w 648"/>
                  <a:gd name="T15" fmla="*/ 2147483646 h 832"/>
                  <a:gd name="T16" fmla="*/ 2147483646 w 648"/>
                  <a:gd name="T17" fmla="*/ 2147483646 h 832"/>
                  <a:gd name="T18" fmla="*/ 2147483646 w 648"/>
                  <a:gd name="T19" fmla="*/ 2147483646 h 832"/>
                  <a:gd name="T20" fmla="*/ 2147483646 w 648"/>
                  <a:gd name="T21" fmla="*/ 2147483646 h 832"/>
                  <a:gd name="T22" fmla="*/ 2147483646 w 648"/>
                  <a:gd name="T23" fmla="*/ 2147483646 h 832"/>
                  <a:gd name="T24" fmla="*/ 2147483646 w 648"/>
                  <a:gd name="T25" fmla="*/ 2147483646 h 832"/>
                  <a:gd name="T26" fmla="*/ 2147483646 w 648"/>
                  <a:gd name="T27" fmla="*/ 2147483646 h 832"/>
                  <a:gd name="T28" fmla="*/ 2147483646 w 648"/>
                  <a:gd name="T29" fmla="*/ 2147483646 h 832"/>
                  <a:gd name="T30" fmla="*/ 2147483646 w 648"/>
                  <a:gd name="T31" fmla="*/ 2147483646 h 832"/>
                  <a:gd name="T32" fmla="*/ 2147483646 w 648"/>
                  <a:gd name="T33" fmla="*/ 2147483646 h 832"/>
                  <a:gd name="T34" fmla="*/ 2147483646 w 648"/>
                  <a:gd name="T35" fmla="*/ 2147483646 h 832"/>
                  <a:gd name="T36" fmla="*/ 2147483646 w 648"/>
                  <a:gd name="T37" fmla="*/ 2147483646 h 832"/>
                  <a:gd name="T38" fmla="*/ 2147483646 w 648"/>
                  <a:gd name="T39" fmla="*/ 2147483646 h 832"/>
                  <a:gd name="T40" fmla="*/ 2147483646 w 648"/>
                  <a:gd name="T41" fmla="*/ 2147483646 h 832"/>
                  <a:gd name="T42" fmla="*/ 2147483646 w 648"/>
                  <a:gd name="T43" fmla="*/ 2147483646 h 832"/>
                  <a:gd name="T44" fmla="*/ 2147483646 w 648"/>
                  <a:gd name="T45" fmla="*/ 2147483646 h 832"/>
                  <a:gd name="T46" fmla="*/ 2147483646 w 648"/>
                  <a:gd name="T47" fmla="*/ 2147483646 h 832"/>
                  <a:gd name="T48" fmla="*/ 2147483646 w 648"/>
                  <a:gd name="T49" fmla="*/ 2147483646 h 832"/>
                  <a:gd name="T50" fmla="*/ 2147483646 w 648"/>
                  <a:gd name="T51" fmla="*/ 2147483646 h 832"/>
                  <a:gd name="T52" fmla="*/ 2147483646 w 648"/>
                  <a:gd name="T53" fmla="*/ 2147483646 h 832"/>
                  <a:gd name="T54" fmla="*/ 2147483646 w 648"/>
                  <a:gd name="T55" fmla="*/ 2147483646 h 832"/>
                  <a:gd name="T56" fmla="*/ 2147483646 w 648"/>
                  <a:gd name="T57" fmla="*/ 2147483646 h 832"/>
                  <a:gd name="T58" fmla="*/ 2147483646 w 648"/>
                  <a:gd name="T59" fmla="*/ 2147483646 h 832"/>
                  <a:gd name="T60" fmla="*/ 2147483646 w 648"/>
                  <a:gd name="T61" fmla="*/ 2147483646 h 832"/>
                  <a:gd name="T62" fmla="*/ 2147483646 w 648"/>
                  <a:gd name="T63" fmla="*/ 2147483646 h 832"/>
                  <a:gd name="T64" fmla="*/ 2147483646 w 648"/>
                  <a:gd name="T65" fmla="*/ 2147483646 h 8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832"/>
                  <a:gd name="T101" fmla="*/ 648 w 648"/>
                  <a:gd name="T102" fmla="*/ 832 h 8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832">
                    <a:moveTo>
                      <a:pt x="0" y="608"/>
                    </a:moveTo>
                    <a:lnTo>
                      <a:pt x="56" y="648"/>
                    </a:lnTo>
                    <a:lnTo>
                      <a:pt x="88" y="632"/>
                    </a:lnTo>
                    <a:lnTo>
                      <a:pt x="200" y="616"/>
                    </a:lnTo>
                    <a:lnTo>
                      <a:pt x="240" y="656"/>
                    </a:lnTo>
                    <a:lnTo>
                      <a:pt x="264" y="648"/>
                    </a:lnTo>
                    <a:lnTo>
                      <a:pt x="352" y="688"/>
                    </a:lnTo>
                    <a:lnTo>
                      <a:pt x="360" y="728"/>
                    </a:lnTo>
                    <a:lnTo>
                      <a:pt x="400" y="736"/>
                    </a:lnTo>
                    <a:lnTo>
                      <a:pt x="464" y="808"/>
                    </a:lnTo>
                    <a:lnTo>
                      <a:pt x="528" y="808"/>
                    </a:lnTo>
                    <a:lnTo>
                      <a:pt x="576" y="832"/>
                    </a:lnTo>
                    <a:lnTo>
                      <a:pt x="592" y="784"/>
                    </a:lnTo>
                    <a:lnTo>
                      <a:pt x="560" y="712"/>
                    </a:lnTo>
                    <a:lnTo>
                      <a:pt x="592" y="672"/>
                    </a:lnTo>
                    <a:lnTo>
                      <a:pt x="632" y="656"/>
                    </a:lnTo>
                    <a:lnTo>
                      <a:pt x="624" y="608"/>
                    </a:lnTo>
                    <a:lnTo>
                      <a:pt x="560" y="544"/>
                    </a:lnTo>
                    <a:lnTo>
                      <a:pt x="616" y="536"/>
                    </a:lnTo>
                    <a:lnTo>
                      <a:pt x="648" y="472"/>
                    </a:lnTo>
                    <a:lnTo>
                      <a:pt x="616" y="448"/>
                    </a:lnTo>
                    <a:lnTo>
                      <a:pt x="640" y="408"/>
                    </a:lnTo>
                    <a:lnTo>
                      <a:pt x="632" y="376"/>
                    </a:lnTo>
                    <a:lnTo>
                      <a:pt x="592" y="368"/>
                    </a:lnTo>
                    <a:lnTo>
                      <a:pt x="552" y="312"/>
                    </a:lnTo>
                    <a:lnTo>
                      <a:pt x="528" y="312"/>
                    </a:lnTo>
                    <a:lnTo>
                      <a:pt x="512" y="280"/>
                    </a:lnTo>
                    <a:lnTo>
                      <a:pt x="568" y="248"/>
                    </a:lnTo>
                    <a:lnTo>
                      <a:pt x="568" y="216"/>
                    </a:lnTo>
                    <a:lnTo>
                      <a:pt x="600" y="208"/>
                    </a:lnTo>
                    <a:lnTo>
                      <a:pt x="592" y="168"/>
                    </a:lnTo>
                    <a:lnTo>
                      <a:pt x="552" y="128"/>
                    </a:lnTo>
                    <a:lnTo>
                      <a:pt x="496" y="136"/>
                    </a:lnTo>
                    <a:lnTo>
                      <a:pt x="464" y="96"/>
                    </a:lnTo>
                    <a:lnTo>
                      <a:pt x="424" y="96"/>
                    </a:lnTo>
                    <a:lnTo>
                      <a:pt x="432" y="40"/>
                    </a:lnTo>
                    <a:lnTo>
                      <a:pt x="352" y="0"/>
                    </a:lnTo>
                    <a:lnTo>
                      <a:pt x="320" y="24"/>
                    </a:lnTo>
                    <a:lnTo>
                      <a:pt x="264" y="40"/>
                    </a:lnTo>
                    <a:lnTo>
                      <a:pt x="256" y="72"/>
                    </a:lnTo>
                    <a:lnTo>
                      <a:pt x="272" y="120"/>
                    </a:lnTo>
                    <a:lnTo>
                      <a:pt x="264" y="152"/>
                    </a:lnTo>
                    <a:lnTo>
                      <a:pt x="240" y="168"/>
                    </a:lnTo>
                    <a:lnTo>
                      <a:pt x="216" y="168"/>
                    </a:lnTo>
                    <a:lnTo>
                      <a:pt x="208" y="184"/>
                    </a:lnTo>
                    <a:lnTo>
                      <a:pt x="200" y="200"/>
                    </a:lnTo>
                    <a:lnTo>
                      <a:pt x="192" y="208"/>
                    </a:lnTo>
                    <a:lnTo>
                      <a:pt x="192" y="232"/>
                    </a:lnTo>
                    <a:lnTo>
                      <a:pt x="184" y="240"/>
                    </a:lnTo>
                    <a:lnTo>
                      <a:pt x="184" y="264"/>
                    </a:lnTo>
                    <a:lnTo>
                      <a:pt x="168" y="296"/>
                    </a:lnTo>
                    <a:lnTo>
                      <a:pt x="152" y="312"/>
                    </a:lnTo>
                    <a:lnTo>
                      <a:pt x="128" y="328"/>
                    </a:lnTo>
                    <a:lnTo>
                      <a:pt x="112" y="344"/>
                    </a:lnTo>
                    <a:lnTo>
                      <a:pt x="96" y="360"/>
                    </a:lnTo>
                    <a:lnTo>
                      <a:pt x="88" y="376"/>
                    </a:lnTo>
                    <a:lnTo>
                      <a:pt x="104" y="400"/>
                    </a:lnTo>
                    <a:lnTo>
                      <a:pt x="96" y="424"/>
                    </a:lnTo>
                    <a:lnTo>
                      <a:pt x="80" y="448"/>
                    </a:lnTo>
                    <a:lnTo>
                      <a:pt x="56" y="448"/>
                    </a:lnTo>
                    <a:lnTo>
                      <a:pt x="72" y="480"/>
                    </a:lnTo>
                    <a:lnTo>
                      <a:pt x="40" y="504"/>
                    </a:lnTo>
                    <a:lnTo>
                      <a:pt x="24" y="520"/>
                    </a:lnTo>
                    <a:lnTo>
                      <a:pt x="8" y="544"/>
                    </a:lnTo>
                    <a:lnTo>
                      <a:pt x="0" y="568"/>
                    </a:lnTo>
                    <a:lnTo>
                      <a:pt x="32" y="576"/>
                    </a:lnTo>
                    <a:lnTo>
                      <a:pt x="0" y="608"/>
                    </a:lnTo>
                    <a:close/>
                  </a:path>
                </a:pathLst>
              </a:custGeom>
              <a:solidFill>
                <a:srgbClr val="8394E8"/>
              </a:solidFill>
              <a:ln w="9525">
                <a:solidFill>
                  <a:schemeClr val="bg1"/>
                </a:solidFill>
                <a:round/>
                <a:headEnd/>
                <a:tailEnd/>
              </a:ln>
            </p:spPr>
            <p:txBody>
              <a:bodyPr/>
              <a:lstStyle/>
              <a:p>
                <a:endParaRPr lang="en-US" sz="1050"/>
              </a:p>
            </p:txBody>
          </p:sp>
          <p:sp>
            <p:nvSpPr>
              <p:cNvPr id="186" name="Freeform 44"/>
              <p:cNvSpPr>
                <a:spLocks/>
              </p:cNvSpPr>
              <p:nvPr/>
            </p:nvSpPr>
            <p:spPr bwMode="auto">
              <a:xfrm>
                <a:off x="3610141" y="4325212"/>
                <a:ext cx="651583" cy="651584"/>
              </a:xfrm>
              <a:custGeom>
                <a:avLst/>
                <a:gdLst>
                  <a:gd name="T0" fmla="*/ 2147483646 w 544"/>
                  <a:gd name="T1" fmla="*/ 2147483646 h 544"/>
                  <a:gd name="T2" fmla="*/ 2147483646 w 544"/>
                  <a:gd name="T3" fmla="*/ 2147483646 h 544"/>
                  <a:gd name="T4" fmla="*/ 2147483646 w 544"/>
                  <a:gd name="T5" fmla="*/ 2147483646 h 544"/>
                  <a:gd name="T6" fmla="*/ 2147483646 w 544"/>
                  <a:gd name="T7" fmla="*/ 2147483646 h 544"/>
                  <a:gd name="T8" fmla="*/ 2147483646 w 544"/>
                  <a:gd name="T9" fmla="*/ 2147483646 h 544"/>
                  <a:gd name="T10" fmla="*/ 2147483646 w 544"/>
                  <a:gd name="T11" fmla="*/ 2147483646 h 544"/>
                  <a:gd name="T12" fmla="*/ 2147483646 w 544"/>
                  <a:gd name="T13" fmla="*/ 2147483646 h 544"/>
                  <a:gd name="T14" fmla="*/ 2147483646 w 544"/>
                  <a:gd name="T15" fmla="*/ 2147483646 h 544"/>
                  <a:gd name="T16" fmla="*/ 2147483646 w 544"/>
                  <a:gd name="T17" fmla="*/ 2147483646 h 544"/>
                  <a:gd name="T18" fmla="*/ 2147483646 w 544"/>
                  <a:gd name="T19" fmla="*/ 2147483646 h 544"/>
                  <a:gd name="T20" fmla="*/ 2147483646 w 544"/>
                  <a:gd name="T21" fmla="*/ 2147483646 h 544"/>
                  <a:gd name="T22" fmla="*/ 2147483646 w 544"/>
                  <a:gd name="T23" fmla="*/ 2147483646 h 544"/>
                  <a:gd name="T24" fmla="*/ 2147483646 w 544"/>
                  <a:gd name="T25" fmla="*/ 2147483646 h 544"/>
                  <a:gd name="T26" fmla="*/ 2147483646 w 544"/>
                  <a:gd name="T27" fmla="*/ 2147483646 h 544"/>
                  <a:gd name="T28" fmla="*/ 2147483646 w 544"/>
                  <a:gd name="T29" fmla="*/ 2147483646 h 544"/>
                  <a:gd name="T30" fmla="*/ 2147483646 w 544"/>
                  <a:gd name="T31" fmla="*/ 2147483646 h 544"/>
                  <a:gd name="T32" fmla="*/ 2147483646 w 544"/>
                  <a:gd name="T33" fmla="*/ 2147483646 h 544"/>
                  <a:gd name="T34" fmla="*/ 2147483646 w 544"/>
                  <a:gd name="T35" fmla="*/ 0 h 544"/>
                  <a:gd name="T36" fmla="*/ 2147483646 w 544"/>
                  <a:gd name="T37" fmla="*/ 2147483646 h 544"/>
                  <a:gd name="T38" fmla="*/ 2147483646 w 544"/>
                  <a:gd name="T39" fmla="*/ 2147483646 h 544"/>
                  <a:gd name="T40" fmla="*/ 2147483646 w 544"/>
                  <a:gd name="T41" fmla="*/ 2147483646 h 544"/>
                  <a:gd name="T42" fmla="*/ 2147483646 w 544"/>
                  <a:gd name="T43" fmla="*/ 2147483646 h 544"/>
                  <a:gd name="T44" fmla="*/ 2147483646 w 544"/>
                  <a:gd name="T45" fmla="*/ 2147483646 h 544"/>
                  <a:gd name="T46" fmla="*/ 2147483646 w 544"/>
                  <a:gd name="T47" fmla="*/ 2147483646 h 544"/>
                  <a:gd name="T48" fmla="*/ 0 w 544"/>
                  <a:gd name="T49" fmla="*/ 2147483646 h 544"/>
                  <a:gd name="T50" fmla="*/ 2147483646 w 544"/>
                  <a:gd name="T51" fmla="*/ 2147483646 h 544"/>
                  <a:gd name="T52" fmla="*/ 2147483646 w 544"/>
                  <a:gd name="T53" fmla="*/ 2147483646 h 544"/>
                  <a:gd name="T54" fmla="*/ 2147483646 w 544"/>
                  <a:gd name="T55" fmla="*/ 2147483646 h 544"/>
                  <a:gd name="T56" fmla="*/ 2147483646 w 544"/>
                  <a:gd name="T57" fmla="*/ 2147483646 h 544"/>
                  <a:gd name="T58" fmla="*/ 2147483646 w 544"/>
                  <a:gd name="T59" fmla="*/ 2147483646 h 544"/>
                  <a:gd name="T60" fmla="*/ 2147483646 w 544"/>
                  <a:gd name="T61" fmla="*/ 2147483646 h 544"/>
                  <a:gd name="T62" fmla="*/ 2147483646 w 544"/>
                  <a:gd name="T63" fmla="*/ 2147483646 h 544"/>
                  <a:gd name="T64" fmla="*/ 2147483646 w 544"/>
                  <a:gd name="T65" fmla="*/ 2147483646 h 544"/>
                  <a:gd name="T66" fmla="*/ 2147483646 w 544"/>
                  <a:gd name="T67" fmla="*/ 2147483646 h 544"/>
                  <a:gd name="T68" fmla="*/ 2147483646 w 544"/>
                  <a:gd name="T69" fmla="*/ 2147483646 h 544"/>
                  <a:gd name="T70" fmla="*/ 2147483646 w 544"/>
                  <a:gd name="T71" fmla="*/ 2147483646 h 544"/>
                  <a:gd name="T72" fmla="*/ 2147483646 w 544"/>
                  <a:gd name="T73" fmla="*/ 2147483646 h 5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4"/>
                  <a:gd name="T112" fmla="*/ 0 h 544"/>
                  <a:gd name="T113" fmla="*/ 544 w 544"/>
                  <a:gd name="T114" fmla="*/ 544 h 5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4" h="544">
                    <a:moveTo>
                      <a:pt x="368" y="544"/>
                    </a:moveTo>
                    <a:lnTo>
                      <a:pt x="400" y="504"/>
                    </a:lnTo>
                    <a:lnTo>
                      <a:pt x="488" y="496"/>
                    </a:lnTo>
                    <a:lnTo>
                      <a:pt x="504" y="464"/>
                    </a:lnTo>
                    <a:lnTo>
                      <a:pt x="544" y="456"/>
                    </a:lnTo>
                    <a:lnTo>
                      <a:pt x="496" y="392"/>
                    </a:lnTo>
                    <a:lnTo>
                      <a:pt x="528" y="384"/>
                    </a:lnTo>
                    <a:lnTo>
                      <a:pt x="520" y="344"/>
                    </a:lnTo>
                    <a:lnTo>
                      <a:pt x="464" y="328"/>
                    </a:lnTo>
                    <a:lnTo>
                      <a:pt x="448" y="248"/>
                    </a:lnTo>
                    <a:lnTo>
                      <a:pt x="400" y="264"/>
                    </a:lnTo>
                    <a:lnTo>
                      <a:pt x="392" y="232"/>
                    </a:lnTo>
                    <a:lnTo>
                      <a:pt x="352" y="224"/>
                    </a:lnTo>
                    <a:lnTo>
                      <a:pt x="360" y="160"/>
                    </a:lnTo>
                    <a:lnTo>
                      <a:pt x="320" y="136"/>
                    </a:lnTo>
                    <a:lnTo>
                      <a:pt x="320" y="72"/>
                    </a:lnTo>
                    <a:lnTo>
                      <a:pt x="288" y="40"/>
                    </a:lnTo>
                    <a:lnTo>
                      <a:pt x="224" y="0"/>
                    </a:lnTo>
                    <a:lnTo>
                      <a:pt x="184" y="72"/>
                    </a:lnTo>
                    <a:lnTo>
                      <a:pt x="104" y="32"/>
                    </a:lnTo>
                    <a:lnTo>
                      <a:pt x="64" y="32"/>
                    </a:lnTo>
                    <a:lnTo>
                      <a:pt x="48" y="48"/>
                    </a:lnTo>
                    <a:lnTo>
                      <a:pt x="16" y="32"/>
                    </a:lnTo>
                    <a:lnTo>
                      <a:pt x="8" y="64"/>
                    </a:lnTo>
                    <a:lnTo>
                      <a:pt x="0" y="120"/>
                    </a:lnTo>
                    <a:lnTo>
                      <a:pt x="64" y="176"/>
                    </a:lnTo>
                    <a:lnTo>
                      <a:pt x="32" y="224"/>
                    </a:lnTo>
                    <a:lnTo>
                      <a:pt x="112" y="304"/>
                    </a:lnTo>
                    <a:lnTo>
                      <a:pt x="104" y="368"/>
                    </a:lnTo>
                    <a:lnTo>
                      <a:pt x="160" y="384"/>
                    </a:lnTo>
                    <a:lnTo>
                      <a:pt x="160" y="480"/>
                    </a:lnTo>
                    <a:lnTo>
                      <a:pt x="192" y="480"/>
                    </a:lnTo>
                    <a:lnTo>
                      <a:pt x="224" y="520"/>
                    </a:lnTo>
                    <a:lnTo>
                      <a:pt x="224" y="544"/>
                    </a:lnTo>
                    <a:lnTo>
                      <a:pt x="304" y="544"/>
                    </a:lnTo>
                    <a:lnTo>
                      <a:pt x="328" y="528"/>
                    </a:lnTo>
                    <a:lnTo>
                      <a:pt x="368" y="544"/>
                    </a:lnTo>
                    <a:close/>
                  </a:path>
                </a:pathLst>
              </a:custGeom>
              <a:solidFill>
                <a:srgbClr val="FFB900"/>
              </a:solidFill>
              <a:ln w="9525">
                <a:solidFill>
                  <a:schemeClr val="bg2"/>
                </a:solidFill>
                <a:round/>
                <a:headEnd/>
                <a:tailEnd/>
              </a:ln>
            </p:spPr>
            <p:txBody>
              <a:bodyPr/>
              <a:lstStyle/>
              <a:p>
                <a:endParaRPr lang="en-US" sz="1050"/>
              </a:p>
            </p:txBody>
          </p:sp>
          <p:sp>
            <p:nvSpPr>
              <p:cNvPr id="187" name="Freeform 43"/>
              <p:cNvSpPr>
                <a:spLocks/>
              </p:cNvSpPr>
              <p:nvPr/>
            </p:nvSpPr>
            <p:spPr bwMode="auto">
              <a:xfrm>
                <a:off x="1852306" y="2253956"/>
                <a:ext cx="804896" cy="632418"/>
              </a:xfrm>
              <a:custGeom>
                <a:avLst/>
                <a:gdLst>
                  <a:gd name="T0" fmla="*/ 0 w 672"/>
                  <a:gd name="T1" fmla="*/ 2147483646 h 528"/>
                  <a:gd name="T2" fmla="*/ 2147483646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2147483646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0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2147483646 w 672"/>
                  <a:gd name="T79" fmla="*/ 2147483646 h 528"/>
                  <a:gd name="T80" fmla="*/ 2147483646 w 672"/>
                  <a:gd name="T81" fmla="*/ 2147483646 h 528"/>
                  <a:gd name="T82" fmla="*/ 2147483646 w 672"/>
                  <a:gd name="T83" fmla="*/ 2147483646 h 528"/>
                  <a:gd name="T84" fmla="*/ 2147483646 w 672"/>
                  <a:gd name="T85" fmla="*/ 2147483646 h 528"/>
                  <a:gd name="T86" fmla="*/ 2147483646 w 672"/>
                  <a:gd name="T87" fmla="*/ 2147483646 h 528"/>
                  <a:gd name="T88" fmla="*/ 2147483646 w 672"/>
                  <a:gd name="T89" fmla="*/ 2147483646 h 528"/>
                  <a:gd name="T90" fmla="*/ 2147483646 w 672"/>
                  <a:gd name="T91" fmla="*/ 2147483646 h 528"/>
                  <a:gd name="T92" fmla="*/ 2147483646 w 672"/>
                  <a:gd name="T93" fmla="*/ 2147483646 h 528"/>
                  <a:gd name="T94" fmla="*/ 2147483646 w 672"/>
                  <a:gd name="T95" fmla="*/ 2147483646 h 528"/>
                  <a:gd name="T96" fmla="*/ 2147483646 w 672"/>
                  <a:gd name="T97" fmla="*/ 2147483646 h 528"/>
                  <a:gd name="T98" fmla="*/ 2147483646 w 672"/>
                  <a:gd name="T99" fmla="*/ 2147483646 h 528"/>
                  <a:gd name="T100" fmla="*/ 2147483646 w 672"/>
                  <a:gd name="T101" fmla="*/ 2147483646 h 528"/>
                  <a:gd name="T102" fmla="*/ 2147483646 w 672"/>
                  <a:gd name="T103" fmla="*/ 2147483646 h 528"/>
                  <a:gd name="T104" fmla="*/ 0 w 672"/>
                  <a:gd name="T105" fmla="*/ 2147483646 h 5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28"/>
                  <a:gd name="T161" fmla="*/ 672 w 672"/>
                  <a:gd name="T162" fmla="*/ 528 h 5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28">
                    <a:moveTo>
                      <a:pt x="0" y="320"/>
                    </a:moveTo>
                    <a:lnTo>
                      <a:pt x="80" y="360"/>
                    </a:lnTo>
                    <a:lnTo>
                      <a:pt x="72" y="416"/>
                    </a:lnTo>
                    <a:lnTo>
                      <a:pt x="112" y="416"/>
                    </a:lnTo>
                    <a:lnTo>
                      <a:pt x="144" y="456"/>
                    </a:lnTo>
                    <a:lnTo>
                      <a:pt x="200" y="448"/>
                    </a:lnTo>
                    <a:lnTo>
                      <a:pt x="240" y="488"/>
                    </a:lnTo>
                    <a:lnTo>
                      <a:pt x="336" y="456"/>
                    </a:lnTo>
                    <a:lnTo>
                      <a:pt x="320" y="488"/>
                    </a:lnTo>
                    <a:lnTo>
                      <a:pt x="352" y="488"/>
                    </a:lnTo>
                    <a:lnTo>
                      <a:pt x="408" y="528"/>
                    </a:lnTo>
                    <a:lnTo>
                      <a:pt x="440" y="488"/>
                    </a:lnTo>
                    <a:lnTo>
                      <a:pt x="440" y="480"/>
                    </a:lnTo>
                    <a:lnTo>
                      <a:pt x="376" y="480"/>
                    </a:lnTo>
                    <a:lnTo>
                      <a:pt x="376" y="440"/>
                    </a:lnTo>
                    <a:lnTo>
                      <a:pt x="408" y="432"/>
                    </a:lnTo>
                    <a:lnTo>
                      <a:pt x="400" y="384"/>
                    </a:lnTo>
                    <a:lnTo>
                      <a:pt x="448" y="336"/>
                    </a:lnTo>
                    <a:lnTo>
                      <a:pt x="512" y="368"/>
                    </a:lnTo>
                    <a:lnTo>
                      <a:pt x="520" y="304"/>
                    </a:lnTo>
                    <a:lnTo>
                      <a:pt x="544" y="264"/>
                    </a:lnTo>
                    <a:lnTo>
                      <a:pt x="472" y="256"/>
                    </a:lnTo>
                    <a:lnTo>
                      <a:pt x="480" y="224"/>
                    </a:lnTo>
                    <a:lnTo>
                      <a:pt x="632" y="200"/>
                    </a:lnTo>
                    <a:lnTo>
                      <a:pt x="672" y="128"/>
                    </a:lnTo>
                    <a:lnTo>
                      <a:pt x="624" y="112"/>
                    </a:lnTo>
                    <a:lnTo>
                      <a:pt x="624" y="72"/>
                    </a:lnTo>
                    <a:lnTo>
                      <a:pt x="592" y="96"/>
                    </a:lnTo>
                    <a:lnTo>
                      <a:pt x="568" y="80"/>
                    </a:lnTo>
                    <a:lnTo>
                      <a:pt x="536" y="80"/>
                    </a:lnTo>
                    <a:lnTo>
                      <a:pt x="520" y="56"/>
                    </a:lnTo>
                    <a:lnTo>
                      <a:pt x="488" y="16"/>
                    </a:lnTo>
                    <a:lnTo>
                      <a:pt x="464" y="16"/>
                    </a:lnTo>
                    <a:lnTo>
                      <a:pt x="448" y="0"/>
                    </a:lnTo>
                    <a:lnTo>
                      <a:pt x="424" y="24"/>
                    </a:lnTo>
                    <a:lnTo>
                      <a:pt x="416" y="56"/>
                    </a:lnTo>
                    <a:lnTo>
                      <a:pt x="384" y="88"/>
                    </a:lnTo>
                    <a:lnTo>
                      <a:pt x="352" y="64"/>
                    </a:lnTo>
                    <a:lnTo>
                      <a:pt x="344" y="96"/>
                    </a:lnTo>
                    <a:lnTo>
                      <a:pt x="320" y="96"/>
                    </a:lnTo>
                    <a:lnTo>
                      <a:pt x="304" y="136"/>
                    </a:lnTo>
                    <a:lnTo>
                      <a:pt x="256" y="152"/>
                    </a:lnTo>
                    <a:lnTo>
                      <a:pt x="280" y="184"/>
                    </a:lnTo>
                    <a:lnTo>
                      <a:pt x="240" y="184"/>
                    </a:lnTo>
                    <a:lnTo>
                      <a:pt x="216" y="216"/>
                    </a:lnTo>
                    <a:lnTo>
                      <a:pt x="168" y="224"/>
                    </a:lnTo>
                    <a:lnTo>
                      <a:pt x="136" y="200"/>
                    </a:lnTo>
                    <a:lnTo>
                      <a:pt x="112" y="200"/>
                    </a:lnTo>
                    <a:lnTo>
                      <a:pt x="104" y="232"/>
                    </a:lnTo>
                    <a:lnTo>
                      <a:pt x="80" y="248"/>
                    </a:lnTo>
                    <a:lnTo>
                      <a:pt x="56" y="232"/>
                    </a:lnTo>
                    <a:lnTo>
                      <a:pt x="24" y="264"/>
                    </a:lnTo>
                    <a:lnTo>
                      <a:pt x="0" y="320"/>
                    </a:lnTo>
                    <a:close/>
                  </a:path>
                </a:pathLst>
              </a:custGeom>
              <a:solidFill>
                <a:srgbClr val="8394E8"/>
              </a:solidFill>
              <a:ln w="9525">
                <a:solidFill>
                  <a:schemeClr val="bg1"/>
                </a:solidFill>
                <a:round/>
                <a:headEnd/>
                <a:tailEnd/>
              </a:ln>
            </p:spPr>
            <p:txBody>
              <a:bodyPr/>
              <a:lstStyle/>
              <a:p>
                <a:endParaRPr lang="en-US" sz="1050"/>
              </a:p>
            </p:txBody>
          </p:sp>
        </p:grpSp>
        <p:sp>
          <p:nvSpPr>
            <p:cNvPr id="4" name="Rounded Rectangle 3"/>
            <p:cNvSpPr/>
            <p:nvPr/>
          </p:nvSpPr>
          <p:spPr>
            <a:xfrm>
              <a:off x="1303612" y="1874949"/>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latin typeface="Cambria" panose="02040503050406030204" pitchFamily="18" charset="0"/>
                  <a:ea typeface="Cambria" panose="02040503050406030204" pitchFamily="18" charset="0"/>
                  <a:cs typeface="Arial" pitchFamily="34" charset="0"/>
                </a:rPr>
                <a:t>2</a:t>
              </a:r>
              <a:r>
                <a:rPr lang="ro-RO" sz="1000" dirty="0">
                  <a:solidFill>
                    <a:schemeClr val="bg1"/>
                  </a:solidFill>
                  <a:latin typeface="Cambria" panose="02040503050406030204" pitchFamily="18" charset="0"/>
                  <a:ea typeface="Cambria" panose="02040503050406030204" pitchFamily="18" charset="0"/>
                  <a:cs typeface="Arial" pitchFamily="34" charset="0"/>
                </a:rPr>
                <a:t>4</a:t>
              </a:r>
              <a:endParaRPr lang="en-US" sz="1000" dirty="0">
                <a:solidFill>
                  <a:schemeClr val="bg1"/>
                </a:solidFill>
                <a:latin typeface="Cambria" panose="02040503050406030204" pitchFamily="18" charset="0"/>
                <a:ea typeface="Cambria" panose="02040503050406030204" pitchFamily="18" charset="0"/>
                <a:cs typeface="Arial" pitchFamily="34" charset="0"/>
              </a:endParaRPr>
            </a:p>
          </p:txBody>
        </p:sp>
        <p:sp>
          <p:nvSpPr>
            <p:cNvPr id="133" name="Rounded Rectangle 132"/>
            <p:cNvSpPr/>
            <p:nvPr/>
          </p:nvSpPr>
          <p:spPr>
            <a:xfrm>
              <a:off x="880908" y="2786106"/>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latin typeface="Cambria" panose="02040503050406030204" pitchFamily="18" charset="0"/>
                  <a:ea typeface="Cambria" panose="02040503050406030204" pitchFamily="18" charset="0"/>
                  <a:cs typeface="Arial" pitchFamily="34" charset="0"/>
                </a:rPr>
                <a:t>14</a:t>
              </a:r>
            </a:p>
          </p:txBody>
        </p:sp>
        <p:sp>
          <p:nvSpPr>
            <p:cNvPr id="134" name="Rounded Rectangle 133"/>
            <p:cNvSpPr/>
            <p:nvPr/>
          </p:nvSpPr>
          <p:spPr>
            <a:xfrm>
              <a:off x="1589617" y="3615780"/>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latin typeface="Cambria" panose="02040503050406030204" pitchFamily="18" charset="0"/>
                  <a:ea typeface="Cambria" panose="02040503050406030204" pitchFamily="18" charset="0"/>
                  <a:cs typeface="Arial" pitchFamily="34" charset="0"/>
                </a:rPr>
                <a:t>8</a:t>
              </a:r>
            </a:p>
          </p:txBody>
        </p:sp>
        <p:sp>
          <p:nvSpPr>
            <p:cNvPr id="136" name="Rounded Rectangle 135"/>
            <p:cNvSpPr/>
            <p:nvPr/>
          </p:nvSpPr>
          <p:spPr>
            <a:xfrm>
              <a:off x="2199195" y="3459159"/>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latin typeface="Cambria" panose="02040503050406030204" pitchFamily="18" charset="0"/>
                  <a:ea typeface="Cambria" panose="02040503050406030204" pitchFamily="18" charset="0"/>
                  <a:cs typeface="Arial" pitchFamily="34" charset="0"/>
                </a:rPr>
                <a:t>2</a:t>
              </a:r>
              <a:r>
                <a:rPr lang="ro-RO" sz="1000" dirty="0">
                  <a:solidFill>
                    <a:schemeClr val="bg1"/>
                  </a:solidFill>
                  <a:latin typeface="Cambria" panose="02040503050406030204" pitchFamily="18" charset="0"/>
                  <a:ea typeface="Cambria" panose="02040503050406030204" pitchFamily="18" charset="0"/>
                  <a:cs typeface="Arial" pitchFamily="34" charset="0"/>
                </a:rPr>
                <a:t>9</a:t>
              </a:r>
              <a:endParaRPr lang="en-US" sz="1000" dirty="0">
                <a:solidFill>
                  <a:schemeClr val="bg1"/>
                </a:solidFill>
                <a:latin typeface="Cambria" panose="02040503050406030204" pitchFamily="18" charset="0"/>
                <a:ea typeface="Cambria" panose="02040503050406030204" pitchFamily="18" charset="0"/>
                <a:cs typeface="Arial" pitchFamily="34" charset="0"/>
              </a:endParaRPr>
            </a:p>
          </p:txBody>
        </p:sp>
        <p:sp>
          <p:nvSpPr>
            <p:cNvPr id="137" name="Rounded Rectangle 136"/>
            <p:cNvSpPr/>
            <p:nvPr/>
          </p:nvSpPr>
          <p:spPr>
            <a:xfrm>
              <a:off x="3578309" y="3357531"/>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latin typeface="Cambria" panose="02040503050406030204" pitchFamily="18" charset="0"/>
                  <a:ea typeface="Cambria" panose="02040503050406030204" pitchFamily="18" charset="0"/>
                  <a:cs typeface="Arial" pitchFamily="34" charset="0"/>
                </a:rPr>
                <a:t>6</a:t>
              </a:r>
            </a:p>
          </p:txBody>
        </p:sp>
        <p:sp>
          <p:nvSpPr>
            <p:cNvPr id="138" name="Rounded Rectangle 137"/>
            <p:cNvSpPr/>
            <p:nvPr/>
          </p:nvSpPr>
          <p:spPr>
            <a:xfrm>
              <a:off x="2900213" y="1959159"/>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o-RO" sz="1000" dirty="0">
                  <a:solidFill>
                    <a:schemeClr val="bg1"/>
                  </a:solidFill>
                  <a:latin typeface="Cambria" panose="02040503050406030204" pitchFamily="18" charset="0"/>
                  <a:ea typeface="Cambria" panose="02040503050406030204" pitchFamily="18" charset="0"/>
                  <a:cs typeface="Arial" pitchFamily="34" charset="0"/>
                </a:rPr>
                <a:t>9</a:t>
              </a:r>
              <a:endParaRPr lang="en-US" sz="1000" dirty="0">
                <a:solidFill>
                  <a:schemeClr val="bg1"/>
                </a:solidFill>
                <a:latin typeface="Cambria" panose="02040503050406030204" pitchFamily="18" charset="0"/>
                <a:ea typeface="Cambria" panose="02040503050406030204" pitchFamily="18" charset="0"/>
                <a:cs typeface="Arial" pitchFamily="34" charset="0"/>
              </a:endParaRPr>
            </a:p>
          </p:txBody>
        </p:sp>
        <p:sp>
          <p:nvSpPr>
            <p:cNvPr id="139" name="Rounded Rectangle 138"/>
            <p:cNvSpPr/>
            <p:nvPr/>
          </p:nvSpPr>
          <p:spPr>
            <a:xfrm>
              <a:off x="2085571" y="2516265"/>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bg1"/>
                  </a:solidFill>
                  <a:latin typeface="Cambria" panose="02040503050406030204" pitchFamily="18" charset="0"/>
                  <a:ea typeface="Cambria" panose="02040503050406030204" pitchFamily="18" charset="0"/>
                  <a:cs typeface="Arial" pitchFamily="34" charset="0"/>
                </a:rPr>
                <a:t>1</a:t>
              </a:r>
              <a:r>
                <a:rPr lang="ro-RO" sz="1000" dirty="0">
                  <a:solidFill>
                    <a:schemeClr val="bg1"/>
                  </a:solidFill>
                  <a:latin typeface="Cambria" panose="02040503050406030204" pitchFamily="18" charset="0"/>
                  <a:ea typeface="Cambria" panose="02040503050406030204" pitchFamily="18" charset="0"/>
                  <a:cs typeface="Arial" pitchFamily="34" charset="0"/>
                </a:rPr>
                <a:t>8</a:t>
              </a:r>
              <a:endParaRPr lang="en-US" sz="1000" dirty="0">
                <a:solidFill>
                  <a:schemeClr val="bg1"/>
                </a:solidFill>
                <a:latin typeface="Cambria" panose="02040503050406030204" pitchFamily="18" charset="0"/>
                <a:ea typeface="Cambria" panose="02040503050406030204" pitchFamily="18" charset="0"/>
                <a:cs typeface="Arial" pitchFamily="34" charset="0"/>
              </a:endParaRPr>
            </a:p>
          </p:txBody>
        </p:sp>
        <p:sp>
          <p:nvSpPr>
            <p:cNvPr id="140" name="Rounded Rectangle 139"/>
            <p:cNvSpPr/>
            <p:nvPr/>
          </p:nvSpPr>
          <p:spPr>
            <a:xfrm>
              <a:off x="2633674" y="3748644"/>
              <a:ext cx="316450" cy="298315"/>
            </a:xfrm>
            <a:prstGeom prst="roundRect">
              <a:avLst/>
            </a:prstGeom>
            <a:solidFill>
              <a:srgbClr val="C5503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o-RO" sz="1000" dirty="0">
                  <a:solidFill>
                    <a:schemeClr val="bg1"/>
                  </a:solidFill>
                  <a:latin typeface="Cambria" panose="02040503050406030204" pitchFamily="18" charset="0"/>
                  <a:ea typeface="Cambria" panose="02040503050406030204" pitchFamily="18" charset="0"/>
                  <a:cs typeface="Arial" pitchFamily="34" charset="0"/>
                </a:rPr>
                <a:t>10</a:t>
              </a:r>
              <a:endParaRPr lang="en-US" sz="1000" dirty="0">
                <a:solidFill>
                  <a:schemeClr val="bg1"/>
                </a:solidFill>
                <a:latin typeface="Cambria" panose="02040503050406030204" pitchFamily="18" charset="0"/>
                <a:ea typeface="Cambria" panose="02040503050406030204" pitchFamily="18" charset="0"/>
                <a:cs typeface="Arial" pitchFamily="34" charset="0"/>
              </a:endParaRPr>
            </a:p>
          </p:txBody>
        </p:sp>
      </p:grpSp>
      <p:sp>
        <p:nvSpPr>
          <p:cNvPr id="58" name="Google Shape;387;p31"/>
          <p:cNvSpPr txBox="1">
            <a:spLocks/>
          </p:cNvSpPr>
          <p:nvPr/>
        </p:nvSpPr>
        <p:spPr>
          <a:xfrm>
            <a:off x="1692274" y="416900"/>
            <a:ext cx="7138805"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dustrial parks</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extLst>
      <p:ext uri="{BB962C8B-B14F-4D97-AF65-F5344CB8AC3E}">
        <p14:creationId xmlns:p14="http://schemas.microsoft.com/office/powerpoint/2010/main" val="3373543275"/>
      </p:ext>
    </p:extLst>
  </p:cSld>
  <p:clrMapOvr>
    <a:masterClrMapping/>
  </p:clrMapOvr>
  <p:transition>
    <p:fade thruBlk="1"/>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46583" y="1061545"/>
            <a:ext cx="2781628" cy="1835118"/>
          </a:xfrm>
          <a:prstGeom prst="rect">
            <a:avLst/>
          </a:prstGeom>
          <a:noFill/>
          <a:ln w="9525">
            <a:noFill/>
          </a:ln>
        </p:spPr>
        <p:txBody>
          <a:bodyPr wrap="square" lIns="0" tIns="0" rIns="0" bIns="0" rtlCol="0">
            <a:spAutoFit/>
          </a:bodyPr>
          <a:lstStyle/>
          <a:p>
            <a:pPr marL="77153" algn="ctr">
              <a:lnSpc>
                <a:spcPct val="93000"/>
              </a:lnSpc>
              <a:defRPr/>
            </a:pPr>
            <a:r>
              <a:rPr lang="en-US" sz="1300" b="1" dirty="0">
                <a:solidFill>
                  <a:srgbClr val="2846A8"/>
                </a:solidFill>
                <a:latin typeface="Cambria" panose="02040503050406030204" pitchFamily="18" charset="0"/>
              </a:rPr>
              <a:t>Investment opportunities</a:t>
            </a:r>
          </a:p>
          <a:p>
            <a:pPr marL="77153">
              <a:lnSpc>
                <a:spcPct val="93000"/>
              </a:lnSpc>
              <a:defRPr/>
            </a:pPr>
            <a:endParaRPr lang="en-US" sz="1200" dirty="0">
              <a:solidFill>
                <a:srgbClr val="2846A8"/>
              </a:solidFill>
              <a:latin typeface="Cambria" panose="02040503050406030204" pitchFamily="18" charset="0"/>
            </a:endParaRP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Digitalization of the agriculture sector</a:t>
            </a: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Irrigation infrastructure, drainage and soil erosion</a:t>
            </a: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Mechanization and the extensive use of modern  technology</a:t>
            </a: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Collecting, storage systems and processing of agriculture products</a:t>
            </a:r>
          </a:p>
          <a:p>
            <a:pPr marL="261938" lvl="1"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The Organic Farming segment</a:t>
            </a:r>
          </a:p>
        </p:txBody>
      </p:sp>
      <p:sp>
        <p:nvSpPr>
          <p:cNvPr id="3" name="TextBox 2"/>
          <p:cNvSpPr txBox="1"/>
          <p:nvPr/>
        </p:nvSpPr>
        <p:spPr>
          <a:xfrm>
            <a:off x="197318" y="3081247"/>
            <a:ext cx="8749364" cy="1135983"/>
          </a:xfrm>
          <a:prstGeom prst="rect">
            <a:avLst/>
          </a:prstGeom>
          <a:noFill/>
          <a:ln w="9525">
            <a:noFill/>
          </a:ln>
        </p:spPr>
        <p:txBody>
          <a:bodyPr wrap="square" lIns="0" tIns="0" rIns="0" bIns="0" rtlCol="0">
            <a:spAutoFit/>
          </a:bodyPr>
          <a:lstStyle/>
          <a:p>
            <a:pPr marL="214313" indent="-214313" algn="just">
              <a:spcAft>
                <a:spcPts val="450"/>
              </a:spcAft>
              <a:buClr>
                <a:srgbClr val="2846A8"/>
              </a:buClr>
              <a:buFont typeface="Wingdings" panose="05000000000000000000" pitchFamily="2" charset="2"/>
              <a:buChar char="v"/>
            </a:pPr>
            <a:r>
              <a:rPr lang="en-US" sz="1200" dirty="0">
                <a:solidFill>
                  <a:srgbClr val="2846A8"/>
                </a:solidFill>
                <a:latin typeface="Cambria" panose="02040503050406030204" pitchFamily="18" charset="0"/>
                <a:ea typeface="Cambria" panose="02040503050406030204" pitchFamily="18" charset="0"/>
              </a:rPr>
              <a:t>Romania is the country with the highest number of farmers in the EU, amounting to almost 3.5 million. </a:t>
            </a:r>
            <a:endParaRPr lang="ro-RO" sz="1200" dirty="0">
              <a:solidFill>
                <a:srgbClr val="2846A8"/>
              </a:solidFill>
              <a:latin typeface="Cambria" panose="02040503050406030204" pitchFamily="18" charset="0"/>
              <a:ea typeface="Cambria" panose="02040503050406030204" pitchFamily="18" charset="0"/>
            </a:endParaRPr>
          </a:p>
          <a:p>
            <a:pPr marL="214313" indent="-214313" algn="just">
              <a:spcAft>
                <a:spcPts val="450"/>
              </a:spcAft>
              <a:buClr>
                <a:srgbClr val="2846A8"/>
              </a:buClr>
              <a:buFont typeface="Wingdings" panose="05000000000000000000" pitchFamily="2" charset="2"/>
              <a:buChar char="v"/>
            </a:pPr>
            <a:r>
              <a:rPr lang="en-US" sz="1200" dirty="0">
                <a:solidFill>
                  <a:srgbClr val="2846A8"/>
                </a:solidFill>
                <a:latin typeface="Cambria" panose="02040503050406030204" pitchFamily="18" charset="0"/>
                <a:ea typeface="Cambria" panose="02040503050406030204" pitchFamily="18" charset="0"/>
              </a:rPr>
              <a:t>Romania is one of the biggest producers of cereals in the EU and the largest producer of sunflower seeds, honey and plums</a:t>
            </a:r>
            <a:endParaRPr lang="ro-RO" sz="1200" dirty="0">
              <a:solidFill>
                <a:srgbClr val="2846A8"/>
              </a:solidFill>
              <a:latin typeface="Cambria" panose="02040503050406030204" pitchFamily="18" charset="0"/>
              <a:ea typeface="Cambria" panose="02040503050406030204" pitchFamily="18" charset="0"/>
            </a:endParaRPr>
          </a:p>
          <a:p>
            <a:pPr marL="214313" indent="-214313" algn="just">
              <a:spcAft>
                <a:spcPts val="450"/>
              </a:spcAft>
              <a:buClr>
                <a:srgbClr val="2846A8"/>
              </a:buClr>
              <a:buFont typeface="Wingdings" panose="05000000000000000000" pitchFamily="2" charset="2"/>
              <a:buChar char="v"/>
            </a:pPr>
            <a:r>
              <a:rPr lang="en-US" sz="1200" dirty="0">
                <a:solidFill>
                  <a:srgbClr val="2846A8"/>
                </a:solidFill>
                <a:latin typeface="Cambria" panose="02040503050406030204" pitchFamily="18" charset="0"/>
                <a:ea typeface="Cambria" panose="02040503050406030204" pitchFamily="18" charset="0"/>
              </a:rPr>
              <a:t>The area in Romania used for agriculture constitutes almost 13.5 million ha</a:t>
            </a:r>
            <a:endParaRPr lang="ro-RO" sz="1200" dirty="0">
              <a:solidFill>
                <a:srgbClr val="2846A8"/>
              </a:solidFill>
              <a:latin typeface="Cambria" panose="02040503050406030204" pitchFamily="18" charset="0"/>
              <a:ea typeface="Cambria" panose="02040503050406030204" pitchFamily="18" charset="0"/>
            </a:endParaRPr>
          </a:p>
          <a:p>
            <a:pPr marL="214313" indent="-214313" algn="just">
              <a:spcAft>
                <a:spcPts val="450"/>
              </a:spcAft>
              <a:buClr>
                <a:srgbClr val="2846A8"/>
              </a:buClr>
              <a:buFont typeface="Wingdings" panose="05000000000000000000" pitchFamily="2" charset="2"/>
              <a:buChar char="v"/>
            </a:pPr>
            <a:r>
              <a:rPr lang="en-US" sz="1200" dirty="0">
                <a:solidFill>
                  <a:srgbClr val="2846A8"/>
                </a:solidFill>
                <a:latin typeface="Cambria" panose="02040503050406030204" pitchFamily="18" charset="0"/>
                <a:ea typeface="Cambria" panose="02040503050406030204" pitchFamily="18" charset="0"/>
              </a:rPr>
              <a:t>23% of the Romanian labour force are employed in agriculture, which is the highest percentage of people employed in agriculture in the EU</a:t>
            </a:r>
          </a:p>
        </p:txBody>
      </p:sp>
      <p:sp>
        <p:nvSpPr>
          <p:cNvPr id="7" name="TextBox 6"/>
          <p:cNvSpPr txBox="1"/>
          <p:nvPr/>
        </p:nvSpPr>
        <p:spPr>
          <a:xfrm>
            <a:off x="406723" y="4270653"/>
            <a:ext cx="3791091" cy="131161"/>
          </a:xfrm>
          <a:prstGeom prst="rect">
            <a:avLst/>
          </a:prstGeom>
          <a:noFill/>
          <a:ln w="9525">
            <a:noFill/>
          </a:ln>
        </p:spPr>
        <p:txBody>
          <a:bodyPr wrap="square" lIns="0" tIns="0" rIns="0" bIns="0" rtlCol="0">
            <a:spAutoFit/>
          </a:bodyPr>
          <a:lstStyle/>
          <a:p>
            <a:pPr algn="just">
              <a:lnSpc>
                <a:spcPct val="93000"/>
              </a:lnSpc>
            </a:pPr>
            <a:r>
              <a:rPr lang="en-US" sz="900" dirty="0">
                <a:solidFill>
                  <a:srgbClr val="2846A8"/>
                </a:solidFill>
                <a:latin typeface="Cambria" panose="02040503050406030204" pitchFamily="18" charset="0"/>
                <a:cs typeface="Arial" pitchFamily="34" charset="0"/>
              </a:rPr>
              <a:t>(Source: Eurostat)</a:t>
            </a:r>
          </a:p>
        </p:txBody>
      </p:sp>
      <p:graphicFrame>
        <p:nvGraphicFramePr>
          <p:cNvPr id="12" name="Chart 11"/>
          <p:cNvGraphicFramePr/>
          <p:nvPr>
            <p:extLst>
              <p:ext uri="{D42A27DB-BD31-4B8C-83A1-F6EECF244321}">
                <p14:modId xmlns:p14="http://schemas.microsoft.com/office/powerpoint/2010/main" val="2010959754"/>
              </p:ext>
            </p:extLst>
          </p:nvPr>
        </p:nvGraphicFramePr>
        <p:xfrm>
          <a:off x="3253486" y="714676"/>
          <a:ext cx="5794434" cy="2295220"/>
        </p:xfrm>
        <a:graphic>
          <a:graphicData uri="http://schemas.openxmlformats.org/drawingml/2006/chart">
            <c:chart xmlns:c="http://schemas.openxmlformats.org/drawingml/2006/chart" xmlns:r="http://schemas.openxmlformats.org/officeDocument/2006/relationships" r:id="rId3"/>
          </a:graphicData>
        </a:graphic>
      </p:graphicFrame>
      <p:sp>
        <p:nvSpPr>
          <p:cNvPr id="11" name="Google Shape;387;p31"/>
          <p:cNvSpPr txBox="1">
            <a:spLocks/>
          </p:cNvSpPr>
          <p:nvPr/>
        </p:nvSpPr>
        <p:spPr>
          <a:xfrm>
            <a:off x="1157288" y="416900"/>
            <a:ext cx="6829424"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800" b="1" dirty="0">
                <a:solidFill>
                  <a:srgbClr val="2846A8"/>
                </a:solidFill>
                <a:latin typeface="Cambria" panose="02040503050406030204" pitchFamily="18" charset="0"/>
                <a:ea typeface="Cambria" panose="02040503050406030204" pitchFamily="18" charset="0"/>
              </a:rPr>
              <a:t>Agriculture</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extLst>
      <p:ext uri="{BB962C8B-B14F-4D97-AF65-F5344CB8AC3E}">
        <p14:creationId xmlns:p14="http://schemas.microsoft.com/office/powerpoint/2010/main" val="2927365266"/>
      </p:ext>
    </p:extLst>
  </p:cSld>
  <p:clrMapOvr>
    <a:masterClrMapping/>
  </p:clrMapOvr>
  <p:transition>
    <p:fade thruBlk="1"/>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4705" y="108044"/>
            <a:ext cx="4469379" cy="4401661"/>
          </a:xfrm>
          <a:prstGeom prst="rect">
            <a:avLst/>
          </a:prstGeom>
        </p:spPr>
      </p:pic>
      <p:grpSp>
        <p:nvGrpSpPr>
          <p:cNvPr id="44" name="Google Shape;92;p7"/>
          <p:cNvGrpSpPr/>
          <p:nvPr/>
        </p:nvGrpSpPr>
        <p:grpSpPr>
          <a:xfrm>
            <a:off x="-1" y="0"/>
            <a:ext cx="2571402" cy="5145275"/>
            <a:chOff x="227500" y="0"/>
            <a:chExt cx="2132442" cy="5145275"/>
          </a:xfrm>
          <a:gradFill flip="none" rotWithShape="1">
            <a:gsLst>
              <a:gs pos="0">
                <a:srgbClr val="0837CE"/>
              </a:gs>
              <a:gs pos="50000">
                <a:srgbClr val="0837CE"/>
              </a:gs>
              <a:gs pos="89000">
                <a:schemeClr val="lt2"/>
              </a:gs>
              <a:gs pos="100000">
                <a:schemeClr val="lt2"/>
              </a:gs>
            </a:gsLst>
            <a:lin ang="5400000" scaled="1"/>
            <a:tileRect/>
          </a:gradFill>
        </p:grpSpPr>
        <p:sp>
          <p:nvSpPr>
            <p:cNvPr id="45" name="Google Shape;93;p7"/>
            <p:cNvSpPr/>
            <p:nvPr/>
          </p:nvSpPr>
          <p:spPr>
            <a:xfrm>
              <a:off x="256342" y="0"/>
              <a:ext cx="2103600" cy="5143500"/>
            </a:xfrm>
            <a:prstGeom prst="parallelogram">
              <a:avLst>
                <a:gd name="adj" fmla="val 75274"/>
              </a:avLst>
            </a:prstGeom>
            <a:gradFill>
              <a:gsLst>
                <a:gs pos="0">
                  <a:srgbClr val="0837CE"/>
                </a:gs>
                <a:gs pos="50000">
                  <a:srgbClr val="FFDF8C"/>
                </a:gs>
                <a:gs pos="89000">
                  <a:schemeClr val="bg1"/>
                </a:gs>
                <a:gs pos="100000">
                  <a:srgbClr val="FFEAB3"/>
                </a:gs>
              </a:gsLst>
              <a:lin ang="5400000" scaled="1"/>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200">
                <a:latin typeface="Cambria" panose="02040503050406030204" pitchFamily="18" charset="0"/>
                <a:ea typeface="Cambria" panose="02040503050406030204" pitchFamily="18" charset="0"/>
              </a:endParaRPr>
            </a:p>
          </p:txBody>
        </p:sp>
        <p:sp>
          <p:nvSpPr>
            <p:cNvPr id="46" name="Google Shape;94;p7"/>
            <p:cNvSpPr/>
            <p:nvPr/>
          </p:nvSpPr>
          <p:spPr>
            <a:xfrm>
              <a:off x="227500" y="0"/>
              <a:ext cx="1825925" cy="5145275"/>
            </a:xfrm>
            <a:custGeom>
              <a:avLst/>
              <a:gdLst/>
              <a:ahLst/>
              <a:cxnLst/>
              <a:rect l="l" t="t" r="r" b="b"/>
              <a:pathLst>
                <a:path w="73037" h="205811" extrusionOk="0">
                  <a:moveTo>
                    <a:pt x="0" y="205797"/>
                  </a:moveTo>
                  <a:lnTo>
                    <a:pt x="44" y="0"/>
                  </a:lnTo>
                  <a:lnTo>
                    <a:pt x="73037" y="0"/>
                  </a:lnTo>
                  <a:lnTo>
                    <a:pt x="33572" y="205811"/>
                  </a:lnTo>
                  <a:close/>
                </a:path>
              </a:pathLst>
            </a:custGeom>
            <a:grpFill/>
            <a:ln>
              <a:noFill/>
            </a:ln>
            <a:effectLst>
              <a:outerShdw blurRad="314325" algn="bl" rotWithShape="0">
                <a:schemeClr val="accent6">
                  <a:alpha val="50000"/>
                </a:schemeClr>
              </a:outerShdw>
            </a:effectLst>
          </p:spPr>
        </p:sp>
      </p:grpSp>
      <p:sp>
        <p:nvSpPr>
          <p:cNvPr id="48" name="Google Shape;387;p31"/>
          <p:cNvSpPr txBox="1">
            <a:spLocks noGrp="1"/>
          </p:cNvSpPr>
          <p:nvPr>
            <p:ph type="title"/>
          </p:nvPr>
        </p:nvSpPr>
        <p:spPr>
          <a:xfrm>
            <a:off x="331891" y="836000"/>
            <a:ext cx="8109210" cy="396300"/>
          </a:xfrm>
          <a:prstGeom prst="rect">
            <a:avLst/>
          </a:prstGeom>
        </p:spPr>
        <p:txBody>
          <a:bodyPr spcFirstLastPara="1" wrap="square" lIns="0" tIns="0" rIns="0" bIns="0" anchor="b" anchorCtr="0">
            <a:noAutofit/>
          </a:bodyPr>
          <a:lstStyle/>
          <a:p>
            <a:pPr lvl="0"/>
            <a:r>
              <a:rPr lang="en-US" sz="2400" dirty="0">
                <a:solidFill>
                  <a:schemeClr val="bg1"/>
                </a:solidFill>
                <a:latin typeface="Cambria" panose="02040503050406030204" pitchFamily="18" charset="0"/>
                <a:ea typeface="Cambria" panose="02040503050406030204" pitchFamily="18" charset="0"/>
              </a:rPr>
              <a:t>Energy</a:t>
            </a:r>
          </a:p>
        </p:txBody>
      </p:sp>
      <p:pic>
        <p:nvPicPr>
          <p:cNvPr id="4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8450" y="64099"/>
            <a:ext cx="1188720" cy="266260"/>
          </a:xfrm>
          <a:prstGeom prst="rect">
            <a:avLst/>
          </a:prstGeom>
        </p:spPr>
      </p:pic>
      <p:sp>
        <p:nvSpPr>
          <p:cNvPr id="13" name="TextBox 12"/>
          <p:cNvSpPr txBox="1"/>
          <p:nvPr/>
        </p:nvSpPr>
        <p:spPr>
          <a:xfrm>
            <a:off x="1808668" y="4511480"/>
            <a:ext cx="5666552" cy="553998"/>
          </a:xfrm>
          <a:prstGeom prst="rect">
            <a:avLst/>
          </a:prstGeom>
          <a:noFill/>
          <a:ln w="9525">
            <a:noFill/>
          </a:ln>
        </p:spPr>
        <p:txBody>
          <a:bodyPr wrap="square" lIns="0" tIns="0" rIns="0" bIns="0" rtlCol="0">
            <a:spAutoFit/>
          </a:bodyPr>
          <a:lstStyle/>
          <a:p>
            <a:pPr algn="just">
              <a:spcAft>
                <a:spcPts val="450"/>
              </a:spcAft>
              <a:buClr>
                <a:srgbClr val="2846A8"/>
              </a:buClr>
            </a:pPr>
            <a:r>
              <a:rPr lang="en-US" sz="1200" dirty="0">
                <a:solidFill>
                  <a:srgbClr val="2846A8"/>
                </a:solidFill>
                <a:latin typeface="Cambria" panose="02040503050406030204" pitchFamily="18" charset="0"/>
                <a:ea typeface="Cambria" panose="02040503050406030204" pitchFamily="18" charset="0"/>
              </a:rPr>
              <a:t>Romania will include in its national system for energy production the small modular reactors (SMR) by 2028, thus strengthening the partnership with the USA in the civil nuclear field.</a:t>
            </a:r>
          </a:p>
        </p:txBody>
      </p:sp>
      <p:sp>
        <p:nvSpPr>
          <p:cNvPr id="14" name="TextBox 13"/>
          <p:cNvSpPr txBox="1"/>
          <p:nvPr/>
        </p:nvSpPr>
        <p:spPr>
          <a:xfrm>
            <a:off x="6187828" y="2771895"/>
            <a:ext cx="2781628" cy="1480149"/>
          </a:xfrm>
          <a:prstGeom prst="rect">
            <a:avLst/>
          </a:prstGeom>
          <a:noFill/>
          <a:ln w="9525">
            <a:noFill/>
          </a:ln>
        </p:spPr>
        <p:txBody>
          <a:bodyPr wrap="square" lIns="0" tIns="0" rIns="0" bIns="0" rtlCol="0">
            <a:spAutoFit/>
          </a:bodyPr>
          <a:lstStyle/>
          <a:p>
            <a:pPr marL="77153" algn="ctr">
              <a:lnSpc>
                <a:spcPct val="93000"/>
              </a:lnSpc>
              <a:defRPr/>
            </a:pPr>
            <a:r>
              <a:rPr lang="en-US" sz="1300" b="1" dirty="0">
                <a:solidFill>
                  <a:srgbClr val="2846A8"/>
                </a:solidFill>
                <a:latin typeface="Cambria" panose="02040503050406030204" pitchFamily="18" charset="0"/>
              </a:rPr>
              <a:t>Future projects with Government Support</a:t>
            </a:r>
          </a:p>
          <a:p>
            <a:pPr marL="403225"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Offshore wind parks of 300 MW</a:t>
            </a:r>
          </a:p>
          <a:p>
            <a:pPr marL="403225"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Power Plants Combined Cycle Gas Turbine</a:t>
            </a:r>
          </a:p>
          <a:p>
            <a:pPr marL="403225"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Smart grids and digitalization of electrical transport network</a:t>
            </a:r>
          </a:p>
          <a:p>
            <a:pPr marL="403225"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Photovoltaics parks of 700 MW</a:t>
            </a:r>
          </a:p>
        </p:txBody>
      </p:sp>
      <p:grpSp>
        <p:nvGrpSpPr>
          <p:cNvPr id="2" name="Group 1"/>
          <p:cNvGrpSpPr/>
          <p:nvPr/>
        </p:nvGrpSpPr>
        <p:grpSpPr>
          <a:xfrm>
            <a:off x="5767962" y="998922"/>
            <a:ext cx="3094814" cy="949149"/>
            <a:chOff x="6004182" y="503706"/>
            <a:chExt cx="3094814" cy="949149"/>
          </a:xfrm>
        </p:grpSpPr>
        <p:sp>
          <p:nvSpPr>
            <p:cNvPr id="12" name="TextBox 11"/>
            <p:cNvSpPr txBox="1"/>
            <p:nvPr/>
          </p:nvSpPr>
          <p:spPr>
            <a:xfrm>
              <a:off x="6004182" y="503706"/>
              <a:ext cx="2436919" cy="372153"/>
            </a:xfrm>
            <a:prstGeom prst="rect">
              <a:avLst/>
            </a:prstGeom>
            <a:noFill/>
            <a:ln w="9525">
              <a:noFill/>
            </a:ln>
          </p:spPr>
          <p:txBody>
            <a:bodyPr wrap="square" lIns="0" tIns="0" rIns="0" bIns="0" rtlCol="0">
              <a:spAutoFit/>
            </a:bodyPr>
            <a:lstStyle/>
            <a:p>
              <a:pPr marL="77153" algn="ctr">
                <a:lnSpc>
                  <a:spcPct val="93000"/>
                </a:lnSpc>
                <a:defRPr/>
              </a:pPr>
              <a:r>
                <a:rPr lang="en-US" sz="1300" b="1" dirty="0">
                  <a:solidFill>
                    <a:srgbClr val="2846A8"/>
                  </a:solidFill>
                  <a:latin typeface="Cambria" panose="02040503050406030204" pitchFamily="18" charset="0"/>
                </a:rPr>
                <a:t>Romanian renewable energy market</a:t>
              </a:r>
            </a:p>
          </p:txBody>
        </p:sp>
        <p:sp>
          <p:nvSpPr>
            <p:cNvPr id="15" name="TextBox 14"/>
            <p:cNvSpPr txBox="1"/>
            <p:nvPr/>
          </p:nvSpPr>
          <p:spPr>
            <a:xfrm>
              <a:off x="6004182" y="898857"/>
              <a:ext cx="1337667" cy="553998"/>
            </a:xfrm>
            <a:prstGeom prst="rect">
              <a:avLst/>
            </a:prstGeom>
            <a:noFill/>
            <a:ln w="9525">
              <a:noFill/>
            </a:ln>
          </p:spPr>
          <p:txBody>
            <a:bodyPr wrap="square" lIns="0" tIns="0" rIns="0" bIns="0" rtlCol="0">
              <a:spAutoFit/>
            </a:bodyPr>
            <a:lstStyle/>
            <a:p>
              <a:pPr marL="342900"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Bioenergy</a:t>
              </a:r>
            </a:p>
            <a:p>
              <a:pPr marL="342900"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Solar energy</a:t>
              </a:r>
            </a:p>
            <a:p>
              <a:pPr marL="342900" lvl="1" indent="-228600"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Wind</a:t>
              </a:r>
            </a:p>
          </p:txBody>
        </p:sp>
        <p:sp>
          <p:nvSpPr>
            <p:cNvPr id="16" name="TextBox 15"/>
            <p:cNvSpPr txBox="1"/>
            <p:nvPr/>
          </p:nvSpPr>
          <p:spPr>
            <a:xfrm>
              <a:off x="7341849" y="898857"/>
              <a:ext cx="1757147" cy="553998"/>
            </a:xfrm>
            <a:prstGeom prst="rect">
              <a:avLst/>
            </a:prstGeom>
            <a:noFill/>
            <a:ln w="9525">
              <a:noFill/>
            </a:ln>
          </p:spPr>
          <p:txBody>
            <a:bodyPr wrap="square" lIns="0" tIns="0" rIns="0" bIns="0" rtlCol="0">
              <a:spAutoFit/>
            </a:bodyPr>
            <a:lstStyle/>
            <a:p>
              <a:pPr marL="228600" lvl="1" indent="-168275">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Hydropower</a:t>
              </a:r>
            </a:p>
            <a:p>
              <a:pPr marL="228600" lvl="1" indent="-168275"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Hydrogen</a:t>
              </a:r>
            </a:p>
            <a:p>
              <a:pPr marL="228600" lvl="1" indent="-168275"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Nuclear</a:t>
              </a:r>
            </a:p>
          </p:txBody>
        </p:sp>
      </p:grpSp>
    </p:spTree>
    <p:extLst>
      <p:ext uri="{BB962C8B-B14F-4D97-AF65-F5344CB8AC3E}">
        <p14:creationId xmlns:p14="http://schemas.microsoft.com/office/powerpoint/2010/main" val="2815288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34" name="Google Shape;387;p31"/>
          <p:cNvSpPr txBox="1">
            <a:spLocks noGrp="1"/>
          </p:cNvSpPr>
          <p:nvPr>
            <p:ph type="title"/>
          </p:nvPr>
        </p:nvSpPr>
        <p:spPr>
          <a:xfrm>
            <a:off x="2348566" y="416900"/>
            <a:ext cx="6593305" cy="396300"/>
          </a:xfrm>
          <a:prstGeom prst="rect">
            <a:avLst/>
          </a:prstGeom>
        </p:spPr>
        <p:txBody>
          <a:bodyPr spcFirstLastPara="1" wrap="square" lIns="0" tIns="0" rIns="0" bIns="0" anchor="b" anchorCtr="0">
            <a:noAutofit/>
          </a:bodyPr>
          <a:lstStyle/>
          <a:p>
            <a:pPr lvl="0" algn="ctr"/>
            <a:r>
              <a:rPr lang="en-US" sz="2400" dirty="0">
                <a:solidFill>
                  <a:srgbClr val="2846A8"/>
                </a:solidFill>
                <a:latin typeface="Cambria" panose="02040503050406030204" pitchFamily="18" charset="0"/>
                <a:ea typeface="Cambria" panose="02040503050406030204" pitchFamily="18" charset="0"/>
              </a:rPr>
              <a:t>Romania at a glance</a:t>
            </a:r>
            <a:endParaRPr sz="2400" dirty="0">
              <a:solidFill>
                <a:srgbClr val="2846A8"/>
              </a:solidFill>
              <a:latin typeface="Cambria" panose="02040503050406030204" pitchFamily="18" charset="0"/>
              <a:ea typeface="Cambria" panose="02040503050406030204" pitchFamily="18" charset="0"/>
            </a:endParaRPr>
          </a:p>
        </p:txBody>
      </p:sp>
      <p:sp>
        <p:nvSpPr>
          <p:cNvPr id="32" name="Google Shape;221;p29"/>
          <p:cNvSpPr/>
          <p:nvPr/>
        </p:nvSpPr>
        <p:spPr>
          <a:xfrm>
            <a:off x="5485056" y="1077830"/>
            <a:ext cx="3562863" cy="1466923"/>
          </a:xfrm>
          <a:prstGeom prst="chevron">
            <a:avLst>
              <a:gd name="adj" fmla="val 29853"/>
            </a:avLst>
          </a:prstGeom>
          <a:solidFill>
            <a:srgbClr val="D8CED0"/>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FDI flows: </a:t>
            </a:r>
            <a:r>
              <a:rPr lang="en-US" sz="1200" dirty="0">
                <a:solidFill>
                  <a:srgbClr val="2846A8"/>
                </a:solidFill>
                <a:latin typeface="Cambria" panose="02040503050406030204" pitchFamily="18" charset="0"/>
                <a:cs typeface="Arial" panose="020B0604020202020204" pitchFamily="34" charset="0"/>
              </a:rPr>
              <a:t>€</a:t>
            </a:r>
            <a:r>
              <a:rPr lang="ro-RO" sz="1200" dirty="0">
                <a:solidFill>
                  <a:srgbClr val="2846A8"/>
                </a:solidFill>
                <a:latin typeface="Cambria" panose="02040503050406030204" pitchFamily="18" charset="0"/>
                <a:cs typeface="Arial" panose="020B0604020202020204" pitchFamily="34" charset="0"/>
              </a:rPr>
              <a:t>5</a:t>
            </a:r>
            <a:r>
              <a:rPr lang="en-US" sz="1200" dirty="0">
                <a:solidFill>
                  <a:srgbClr val="2846A8"/>
                </a:solidFill>
                <a:latin typeface="Cambria" panose="02040503050406030204" pitchFamily="18" charset="0"/>
              </a:rPr>
              <a:t>.</a:t>
            </a:r>
            <a:r>
              <a:rPr lang="ro-RO" sz="1200" dirty="0">
                <a:solidFill>
                  <a:srgbClr val="2846A8"/>
                </a:solidFill>
                <a:latin typeface="Cambria" panose="02040503050406030204" pitchFamily="18" charset="0"/>
              </a:rPr>
              <a:t>852 Bn</a:t>
            </a:r>
            <a:r>
              <a:rPr lang="en-US" sz="1200" dirty="0">
                <a:solidFill>
                  <a:srgbClr val="2846A8"/>
                </a:solidFill>
                <a:latin typeface="Cambria" panose="02040503050406030204" pitchFamily="18" charset="0"/>
              </a:rPr>
              <a:t> (Jan.-</a:t>
            </a:r>
            <a:r>
              <a:rPr lang="ro-RO" sz="1200" dirty="0">
                <a:solidFill>
                  <a:srgbClr val="2846A8"/>
                </a:solidFill>
                <a:latin typeface="Cambria" panose="02040503050406030204" pitchFamily="18" charset="0"/>
              </a:rPr>
              <a:t>Nov.</a:t>
            </a:r>
            <a:r>
              <a:rPr lang="en-US" sz="1200" dirty="0">
                <a:solidFill>
                  <a:srgbClr val="2846A8"/>
                </a:solidFill>
                <a:latin typeface="Cambria" panose="02040503050406030204" pitchFamily="18" charset="0"/>
              </a:rPr>
              <a:t> 2024)</a:t>
            </a:r>
          </a:p>
          <a:p>
            <a:pPr marL="171450" indent="-171450"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FDI stock: </a:t>
            </a:r>
            <a:r>
              <a:rPr lang="en-US" sz="1200" dirty="0">
                <a:solidFill>
                  <a:srgbClr val="2846A8"/>
                </a:solidFill>
                <a:latin typeface="Cambria" panose="02040503050406030204" pitchFamily="18" charset="0"/>
                <a:cs typeface="Arial" panose="020B0604020202020204" pitchFamily="34" charset="0"/>
              </a:rPr>
              <a:t>€</a:t>
            </a:r>
            <a:r>
              <a:rPr lang="en-US" sz="1200" dirty="0">
                <a:solidFill>
                  <a:srgbClr val="2846A8"/>
                </a:solidFill>
                <a:latin typeface="Cambria" panose="02040503050406030204" pitchFamily="18" charset="0"/>
              </a:rPr>
              <a:t>1</a:t>
            </a:r>
            <a:r>
              <a:rPr lang="ro-RO" sz="1200" dirty="0">
                <a:solidFill>
                  <a:srgbClr val="2846A8"/>
                </a:solidFill>
                <a:latin typeface="Cambria" panose="02040503050406030204" pitchFamily="18" charset="0"/>
              </a:rPr>
              <a:t>23.2</a:t>
            </a:r>
            <a:r>
              <a:rPr lang="en-US" sz="1200" dirty="0">
                <a:solidFill>
                  <a:srgbClr val="2846A8"/>
                </a:solidFill>
                <a:latin typeface="Cambria" panose="02040503050406030204" pitchFamily="18" charset="0"/>
              </a:rPr>
              <a:t> </a:t>
            </a:r>
            <a:r>
              <a:rPr lang="en-US" sz="1200" dirty="0" err="1">
                <a:solidFill>
                  <a:srgbClr val="2846A8"/>
                </a:solidFill>
                <a:latin typeface="Cambria" panose="02040503050406030204" pitchFamily="18" charset="0"/>
              </a:rPr>
              <a:t>Bn</a:t>
            </a:r>
            <a:r>
              <a:rPr lang="en-US" sz="1200" dirty="0">
                <a:solidFill>
                  <a:srgbClr val="2846A8"/>
                </a:solidFill>
                <a:latin typeface="Cambria" panose="02040503050406030204" pitchFamily="18" charset="0"/>
              </a:rPr>
              <a:t> (</a:t>
            </a:r>
            <a:r>
              <a:rPr lang="ro-RO" sz="1200" dirty="0">
                <a:solidFill>
                  <a:srgbClr val="2846A8"/>
                </a:solidFill>
                <a:latin typeface="Cambria" panose="02040503050406030204" pitchFamily="18" charset="0"/>
              </a:rPr>
              <a:t>Nov. </a:t>
            </a:r>
            <a:r>
              <a:rPr lang="en-US" sz="1200" dirty="0">
                <a:solidFill>
                  <a:srgbClr val="2846A8"/>
                </a:solidFill>
                <a:latin typeface="Cambria" panose="02040503050406030204" pitchFamily="18" charset="0"/>
              </a:rPr>
              <a:t>2024)</a:t>
            </a:r>
          </a:p>
        </p:txBody>
      </p:sp>
      <p:sp>
        <p:nvSpPr>
          <p:cNvPr id="33" name="Google Shape;222;p29"/>
          <p:cNvSpPr/>
          <p:nvPr/>
        </p:nvSpPr>
        <p:spPr>
          <a:xfrm>
            <a:off x="2897272" y="2658168"/>
            <a:ext cx="5819774" cy="2001464"/>
          </a:xfrm>
          <a:prstGeom prst="chevron">
            <a:avLst>
              <a:gd name="adj" fmla="val 29853"/>
            </a:avLst>
          </a:prstGeom>
          <a:solidFill>
            <a:srgbClr val="BEC9E9"/>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lnSpc>
                <a:spcPct val="110000"/>
              </a:lnSpc>
              <a:buClr>
                <a:srgbClr val="545558"/>
              </a:buClr>
              <a:buFont typeface="Wingdings" panose="05000000000000000000" pitchFamily="2" charset="2"/>
              <a:buChar char="ü"/>
            </a:pPr>
            <a:endParaRPr lang="en-US" sz="1200" dirty="0">
              <a:solidFill>
                <a:srgbClr val="4264D2"/>
              </a:solidFill>
              <a:latin typeface="Cambria" panose="02040503050406030204" pitchFamily="18" charset="0"/>
            </a:endParaRPr>
          </a:p>
        </p:txBody>
      </p:sp>
      <p:sp>
        <p:nvSpPr>
          <p:cNvPr id="36" name="Google Shape;221;p29"/>
          <p:cNvSpPr/>
          <p:nvPr/>
        </p:nvSpPr>
        <p:spPr>
          <a:xfrm>
            <a:off x="2348566" y="1077830"/>
            <a:ext cx="3458593" cy="1466923"/>
          </a:xfrm>
          <a:prstGeom prst="chevron">
            <a:avLst>
              <a:gd name="adj" fmla="val 29853"/>
            </a:avLst>
          </a:prstGeom>
          <a:solidFill>
            <a:srgbClr val="C9BBBE"/>
          </a:solid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lnSpc>
                <a:spcPct val="110000"/>
              </a:lnSpc>
              <a:buClr>
                <a:srgbClr val="2846A8"/>
              </a:buClr>
            </a:pPr>
            <a:r>
              <a:rPr lang="ro-RO" sz="1200" dirty="0">
                <a:solidFill>
                  <a:srgbClr val="2846A8"/>
                </a:solidFill>
                <a:latin typeface="Cambria" panose="02040503050406030204" pitchFamily="18" charset="0"/>
                <a:ea typeface="Cambria" panose="02040503050406030204" pitchFamily="18" charset="0"/>
              </a:rPr>
              <a:t>GDP per capita</a:t>
            </a:r>
            <a:r>
              <a:rPr lang="en"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cs typeface="Arial" panose="020B0604020202020204" pitchFamily="34" charset="0"/>
              </a:rPr>
              <a:t>€</a:t>
            </a:r>
            <a:r>
              <a:rPr lang="ro-RO" sz="1200" dirty="0">
                <a:solidFill>
                  <a:srgbClr val="2846A8"/>
                </a:solidFill>
                <a:latin typeface="Cambria" panose="02040503050406030204" pitchFamily="18" charset="0"/>
                <a:ea typeface="Cambria" panose="02040503050406030204" pitchFamily="18" charset="0"/>
              </a:rPr>
              <a:t> 17,020 (2023)</a:t>
            </a:r>
            <a:endParaRPr lang="en-US" sz="1200" dirty="0">
              <a:solidFill>
                <a:srgbClr val="2846A8"/>
              </a:solidFill>
              <a:latin typeface="Cambria" panose="02040503050406030204" pitchFamily="18" charset="0"/>
              <a:ea typeface="Cambria" panose="02040503050406030204" pitchFamily="18" charset="0"/>
            </a:endParaRPr>
          </a:p>
          <a:p>
            <a:pPr algn="just">
              <a:lnSpc>
                <a:spcPct val="110000"/>
              </a:lnSpc>
              <a:buClr>
                <a:srgbClr val="2846A8"/>
              </a:buClr>
            </a:pPr>
            <a:endParaRPr lang="en-US" sz="1200" dirty="0">
              <a:solidFill>
                <a:srgbClr val="2846A8"/>
              </a:solidFill>
              <a:latin typeface="Cambria" panose="02040503050406030204" pitchFamily="18" charset="0"/>
              <a:ea typeface="Cambria" panose="02040503050406030204" pitchFamily="18" charset="0"/>
            </a:endParaRPr>
          </a:p>
          <a:p>
            <a:pPr algn="just">
              <a:lnSpc>
                <a:spcPct val="110000"/>
              </a:lnSpc>
              <a:buClr>
                <a:srgbClr val="2846A8"/>
              </a:buClr>
            </a:pPr>
            <a:r>
              <a:rPr lang="en-US" sz="1200" dirty="0">
                <a:solidFill>
                  <a:srgbClr val="2846A8"/>
                </a:solidFill>
                <a:latin typeface="Cambria" panose="02040503050406030204" pitchFamily="18" charset="0"/>
                <a:ea typeface="Cambria" panose="02040503050406030204" pitchFamily="18" charset="0"/>
              </a:rPr>
              <a:t>Romania ranks as the 20</a:t>
            </a:r>
            <a:r>
              <a:rPr lang="en-US" sz="1200" baseline="30000" dirty="0">
                <a:solidFill>
                  <a:srgbClr val="2846A8"/>
                </a:solidFill>
                <a:latin typeface="Cambria" panose="02040503050406030204" pitchFamily="18" charset="0"/>
                <a:ea typeface="Cambria" panose="02040503050406030204" pitchFamily="18" charset="0"/>
              </a:rPr>
              <a:t>th</a:t>
            </a:r>
            <a:r>
              <a:rPr lang="en-US" sz="1200" dirty="0">
                <a:solidFill>
                  <a:srgbClr val="2846A8"/>
                </a:solidFill>
                <a:latin typeface="Cambria" panose="02040503050406030204" pitchFamily="18" charset="0"/>
                <a:ea typeface="Cambria" panose="02040503050406030204" pitchFamily="18" charset="0"/>
              </a:rPr>
              <a:t> most complex country in the Economic Complexity Index (ECI) ranking.</a:t>
            </a:r>
            <a:endParaRPr lang="en" sz="1200" dirty="0">
              <a:solidFill>
                <a:srgbClr val="2846A8"/>
              </a:solidFill>
              <a:latin typeface="Cambria" panose="02040503050406030204" pitchFamily="18" charset="0"/>
              <a:ea typeface="Cambria" panose="02040503050406030204" pitchFamily="18" charset="0"/>
            </a:endParaRPr>
          </a:p>
          <a:p>
            <a:pPr algn="just">
              <a:lnSpc>
                <a:spcPct val="110000"/>
              </a:lnSpc>
              <a:buClr>
                <a:srgbClr val="2846A8"/>
              </a:buClr>
            </a:pPr>
            <a:endParaRPr lang="en-US" sz="1200" dirty="0">
              <a:solidFill>
                <a:srgbClr val="2846A8"/>
              </a:solidFill>
              <a:latin typeface="Cambria" panose="02040503050406030204" pitchFamily="18" charset="0"/>
            </a:endParaRPr>
          </a:p>
        </p:txBody>
      </p:sp>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5" name="TextBox 14"/>
          <p:cNvSpPr txBox="1"/>
          <p:nvPr/>
        </p:nvSpPr>
        <p:spPr>
          <a:xfrm>
            <a:off x="3571375" y="2922798"/>
            <a:ext cx="5029200" cy="1514261"/>
          </a:xfrm>
          <a:prstGeom prst="rect">
            <a:avLst/>
          </a:prstGeom>
          <a:noFill/>
        </p:spPr>
        <p:txBody>
          <a:bodyPr wrap="square" rtlCol="0">
            <a:spAutoFit/>
          </a:bodyPr>
          <a:lstStyle/>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16% standard corporate income tax</a:t>
            </a:r>
          </a:p>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19% standard VAT</a:t>
            </a:r>
          </a:p>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10% standard personal income tax</a:t>
            </a:r>
          </a:p>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a:t>
            </a:r>
            <a:r>
              <a:rPr lang="ro-RO" sz="1200" dirty="0">
                <a:solidFill>
                  <a:srgbClr val="2846A8"/>
                </a:solidFill>
                <a:latin typeface="Cambria" panose="02040503050406030204" pitchFamily="18" charset="0"/>
              </a:rPr>
              <a:t>10</a:t>
            </a:r>
            <a:r>
              <a:rPr lang="en-US" sz="1200" dirty="0">
                <a:solidFill>
                  <a:srgbClr val="2846A8"/>
                </a:solidFill>
                <a:latin typeface="Cambria" panose="02040503050406030204" pitchFamily="18" charset="0"/>
              </a:rPr>
              <a:t>% dividend tax </a:t>
            </a:r>
          </a:p>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0% tax on reinvested profit in new technological equipment</a:t>
            </a:r>
          </a:p>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0% tax on reinvested profit in supporting vocational-dual education</a:t>
            </a:r>
          </a:p>
          <a:p>
            <a:pPr algn="just">
              <a:lnSpc>
                <a:spcPct val="110000"/>
              </a:lnSpc>
              <a:buClr>
                <a:srgbClr val="2846A8"/>
              </a:buClr>
              <a:buFont typeface="Wingdings" panose="05000000000000000000" pitchFamily="2" charset="2"/>
              <a:buChar char="ü"/>
            </a:pPr>
            <a:r>
              <a:rPr lang="en-US" sz="1200" dirty="0">
                <a:solidFill>
                  <a:srgbClr val="2846A8"/>
                </a:solidFill>
                <a:latin typeface="Cambria" panose="02040503050406030204" pitchFamily="18" charset="0"/>
              </a:rPr>
              <a:t> 0% income tax for employees in R&amp;D </a:t>
            </a:r>
          </a:p>
        </p:txBody>
      </p:sp>
      <p:sp>
        <p:nvSpPr>
          <p:cNvPr id="42" name="TextBox 41"/>
          <p:cNvSpPr txBox="1"/>
          <p:nvPr/>
        </p:nvSpPr>
        <p:spPr>
          <a:xfrm rot="18060000">
            <a:off x="2510710" y="4010252"/>
            <a:ext cx="1130396" cy="186077"/>
          </a:xfrm>
          <a:prstGeom prst="rect">
            <a:avLst/>
          </a:prstGeom>
          <a:noFill/>
          <a:ln w="9525">
            <a:noFill/>
          </a:ln>
        </p:spPr>
        <p:txBody>
          <a:bodyPr wrap="square" lIns="0" tIns="0" rIns="0" bIns="0" rtlCol="0">
            <a:spAutoFit/>
          </a:bodyPr>
          <a:lstStyle/>
          <a:p>
            <a:pPr algn="ctr">
              <a:lnSpc>
                <a:spcPct val="93000"/>
              </a:lnSpc>
            </a:pPr>
            <a:r>
              <a:rPr lang="en-US" sz="1300" b="1" dirty="0">
                <a:solidFill>
                  <a:srgbClr val="2846A8"/>
                </a:solidFill>
                <a:latin typeface="Cambria" panose="02040503050406030204" pitchFamily="18" charset="0"/>
              </a:rPr>
              <a:t>Fiscal regime</a:t>
            </a:r>
          </a:p>
        </p:txBody>
      </p:sp>
      <p:sp>
        <p:nvSpPr>
          <p:cNvPr id="43" name="Rectangle 42"/>
          <p:cNvSpPr/>
          <p:nvPr/>
        </p:nvSpPr>
        <p:spPr>
          <a:xfrm>
            <a:off x="2561897" y="1368131"/>
            <a:ext cx="1290462" cy="244682"/>
          </a:xfrm>
          <a:prstGeom prst="rect">
            <a:avLst/>
          </a:prstGeom>
        </p:spPr>
        <p:txBody>
          <a:bodyPr wrap="square">
            <a:spAutoFit/>
          </a:bodyPr>
          <a:lstStyle/>
          <a:p>
            <a:pPr>
              <a:lnSpc>
                <a:spcPct val="110000"/>
              </a:lnSpc>
              <a:buClr>
                <a:srgbClr val="99CC00"/>
              </a:buClr>
            </a:pPr>
            <a:r>
              <a:rPr lang="ro-RO" sz="900" b="0" dirty="0">
                <a:solidFill>
                  <a:srgbClr val="2846A8"/>
                </a:solidFill>
                <a:latin typeface="Cambria" panose="02040503050406030204" pitchFamily="18" charset="0"/>
              </a:rPr>
              <a:t>        </a:t>
            </a:r>
            <a:r>
              <a:rPr lang="en-US" sz="900" b="0" dirty="0">
                <a:solidFill>
                  <a:srgbClr val="2846A8"/>
                </a:solidFill>
                <a:latin typeface="Cambria" panose="02040503050406030204" pitchFamily="18" charset="0"/>
              </a:rPr>
              <a:t>(Source: </a:t>
            </a:r>
            <a:r>
              <a:rPr lang="ro-RO" sz="900" dirty="0">
                <a:solidFill>
                  <a:srgbClr val="2846A8"/>
                </a:solidFill>
                <a:latin typeface="Cambria" panose="02040503050406030204" pitchFamily="18" charset="0"/>
              </a:rPr>
              <a:t>Eurostat</a:t>
            </a:r>
            <a:r>
              <a:rPr lang="en-US" sz="900" dirty="0">
                <a:solidFill>
                  <a:srgbClr val="2846A8"/>
                </a:solidFill>
                <a:latin typeface="Cambria" panose="02040503050406030204" pitchFamily="18" charset="0"/>
              </a:rPr>
              <a:t>)</a:t>
            </a:r>
            <a:endParaRPr lang="en-US" sz="900" b="0" dirty="0">
              <a:solidFill>
                <a:srgbClr val="2846A8"/>
              </a:solidFill>
              <a:latin typeface="Cambria" panose="02040503050406030204" pitchFamily="18" charset="0"/>
            </a:endParaRPr>
          </a:p>
        </p:txBody>
      </p:sp>
      <p:sp>
        <p:nvSpPr>
          <p:cNvPr id="44" name="Rectangle 43"/>
          <p:cNvSpPr/>
          <p:nvPr/>
        </p:nvSpPr>
        <p:spPr>
          <a:xfrm>
            <a:off x="5622323" y="2238993"/>
            <a:ext cx="1946367" cy="24468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National Bank of Romania)</a:t>
            </a:r>
          </a:p>
        </p:txBody>
      </p:sp>
      <p:sp>
        <p:nvSpPr>
          <p:cNvPr id="11" name="Rectangle 10"/>
          <p:cNvSpPr/>
          <p:nvPr/>
        </p:nvSpPr>
        <p:spPr>
          <a:xfrm>
            <a:off x="2528797" y="2168749"/>
            <a:ext cx="2930610" cy="397032"/>
          </a:xfrm>
          <a:prstGeom prst="rect">
            <a:avLst/>
          </a:prstGeom>
        </p:spPr>
        <p:txBody>
          <a:bodyPr wrap="none">
            <a:spAutoFit/>
          </a:bodyPr>
          <a:lstStyle/>
          <a:p>
            <a:pPr>
              <a:lnSpc>
                <a:spcPct val="110000"/>
              </a:lnSpc>
              <a:buClr>
                <a:srgbClr val="99CC00"/>
              </a:buClr>
            </a:pPr>
            <a:r>
              <a:rPr lang="ro-RO" sz="900" b="0" dirty="0">
                <a:solidFill>
                  <a:srgbClr val="2846A8"/>
                </a:solidFill>
                <a:latin typeface="Cambria" panose="02040503050406030204" pitchFamily="18" charset="0"/>
              </a:rPr>
              <a:t> </a:t>
            </a:r>
            <a:r>
              <a:rPr lang="en-US" sz="900" b="0" dirty="0">
                <a:solidFill>
                  <a:srgbClr val="2846A8"/>
                </a:solidFill>
                <a:latin typeface="Cambria" panose="02040503050406030204" pitchFamily="18" charset="0"/>
              </a:rPr>
              <a:t>(Source: </a:t>
            </a:r>
            <a:r>
              <a:rPr lang="en-US" sz="900" dirty="0">
                <a:solidFill>
                  <a:srgbClr val="2846A8"/>
                </a:solidFill>
                <a:latin typeface="Cambria" panose="02040503050406030204" pitchFamily="18" charset="0"/>
              </a:rPr>
              <a:t>Harvard University - The Atlas of Economic</a:t>
            </a:r>
            <a:endParaRPr lang="ro-RO" sz="900" dirty="0">
              <a:solidFill>
                <a:srgbClr val="2846A8"/>
              </a:solidFill>
              <a:latin typeface="Cambria" panose="02040503050406030204" pitchFamily="18" charset="0"/>
            </a:endParaRPr>
          </a:p>
          <a:p>
            <a:pPr>
              <a:lnSpc>
                <a:spcPct val="110000"/>
              </a:lnSpc>
              <a:buClr>
                <a:srgbClr val="99CC00"/>
              </a:buClr>
            </a:pPr>
            <a:r>
              <a:rPr lang="en-US" sz="900" dirty="0">
                <a:solidFill>
                  <a:srgbClr val="2846A8"/>
                </a:solidFill>
                <a:latin typeface="Cambria" panose="02040503050406030204" pitchFamily="18" charset="0"/>
              </a:rPr>
              <a:t> Complexity, Economic Complexity Index (ECI) ranking)</a:t>
            </a:r>
            <a:endParaRPr lang="en-US" sz="900" b="0" dirty="0">
              <a:solidFill>
                <a:srgbClr val="2846A8"/>
              </a:solidFill>
              <a:latin typeface="Cambria" panose="02040503050406030204" pitchFamily="18"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Google Shape;387;p31"/>
          <p:cNvSpPr txBox="1">
            <a:spLocks/>
          </p:cNvSpPr>
          <p:nvPr/>
        </p:nvSpPr>
        <p:spPr>
          <a:xfrm>
            <a:off x="2597748" y="382780"/>
            <a:ext cx="5899223"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Largest IT&amp;C companies in Romania</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grpSp>
        <p:nvGrpSpPr>
          <p:cNvPr id="57" name="Group 56"/>
          <p:cNvGrpSpPr/>
          <p:nvPr/>
        </p:nvGrpSpPr>
        <p:grpSpPr>
          <a:xfrm>
            <a:off x="2597748" y="899741"/>
            <a:ext cx="5899223" cy="4107180"/>
            <a:chOff x="764187" y="2169850"/>
            <a:chExt cx="5192128" cy="3694882"/>
          </a:xfrm>
          <a:gradFill flip="none" rotWithShape="1">
            <a:gsLst>
              <a:gs pos="0">
                <a:srgbClr val="8298EF">
                  <a:tint val="66000"/>
                  <a:satMod val="160000"/>
                </a:srgbClr>
              </a:gs>
              <a:gs pos="50000">
                <a:srgbClr val="8298EF">
                  <a:tint val="44500"/>
                  <a:satMod val="160000"/>
                </a:srgbClr>
              </a:gs>
              <a:gs pos="100000">
                <a:srgbClr val="8298EF">
                  <a:tint val="23500"/>
                  <a:satMod val="160000"/>
                </a:srgbClr>
              </a:gs>
            </a:gsLst>
            <a:lin ang="18900000" scaled="1"/>
            <a:tileRect/>
          </a:gradFill>
        </p:grpSpPr>
        <p:sp>
          <p:nvSpPr>
            <p:cNvPr id="59" name="Freeform 4"/>
            <p:cNvSpPr>
              <a:spLocks/>
            </p:cNvSpPr>
            <p:nvPr/>
          </p:nvSpPr>
          <p:spPr bwMode="auto">
            <a:xfrm>
              <a:off x="3936563" y="2169850"/>
              <a:ext cx="689912" cy="642002"/>
            </a:xfrm>
            <a:custGeom>
              <a:avLst/>
              <a:gdLst>
                <a:gd name="T0" fmla="*/ 0 w 576"/>
                <a:gd name="T1" fmla="*/ 2147483646 h 536"/>
                <a:gd name="T2" fmla="*/ 2147483646 w 576"/>
                <a:gd name="T3" fmla="*/ 2147483646 h 536"/>
                <a:gd name="T4" fmla="*/ 2147483646 w 576"/>
                <a:gd name="T5" fmla="*/ 2147483646 h 536"/>
                <a:gd name="T6" fmla="*/ 2147483646 w 576"/>
                <a:gd name="T7" fmla="*/ 2147483646 h 536"/>
                <a:gd name="T8" fmla="*/ 2147483646 w 576"/>
                <a:gd name="T9" fmla="*/ 2147483646 h 536"/>
                <a:gd name="T10" fmla="*/ 2147483646 w 576"/>
                <a:gd name="T11" fmla="*/ 2147483646 h 536"/>
                <a:gd name="T12" fmla="*/ 2147483646 w 576"/>
                <a:gd name="T13" fmla="*/ 2147483646 h 536"/>
                <a:gd name="T14" fmla="*/ 2147483646 w 576"/>
                <a:gd name="T15" fmla="*/ 0 h 536"/>
                <a:gd name="T16" fmla="*/ 2147483646 w 576"/>
                <a:gd name="T17" fmla="*/ 2147483646 h 536"/>
                <a:gd name="T18" fmla="*/ 2147483646 w 576"/>
                <a:gd name="T19" fmla="*/ 2147483646 h 536"/>
                <a:gd name="T20" fmla="*/ 2147483646 w 576"/>
                <a:gd name="T21" fmla="*/ 2147483646 h 536"/>
                <a:gd name="T22" fmla="*/ 2147483646 w 576"/>
                <a:gd name="T23" fmla="*/ 2147483646 h 536"/>
                <a:gd name="T24" fmla="*/ 2147483646 w 576"/>
                <a:gd name="T25" fmla="*/ 2147483646 h 536"/>
                <a:gd name="T26" fmla="*/ 2147483646 w 576"/>
                <a:gd name="T27" fmla="*/ 2147483646 h 536"/>
                <a:gd name="T28" fmla="*/ 2147483646 w 576"/>
                <a:gd name="T29" fmla="*/ 2147483646 h 536"/>
                <a:gd name="T30" fmla="*/ 2147483646 w 576"/>
                <a:gd name="T31" fmla="*/ 2147483646 h 536"/>
                <a:gd name="T32" fmla="*/ 2147483646 w 576"/>
                <a:gd name="T33" fmla="*/ 2147483646 h 536"/>
                <a:gd name="T34" fmla="*/ 2147483646 w 576"/>
                <a:gd name="T35" fmla="*/ 2147483646 h 536"/>
                <a:gd name="T36" fmla="*/ 2147483646 w 576"/>
                <a:gd name="T37" fmla="*/ 2147483646 h 536"/>
                <a:gd name="T38" fmla="*/ 2147483646 w 576"/>
                <a:gd name="T39" fmla="*/ 2147483646 h 536"/>
                <a:gd name="T40" fmla="*/ 2147483646 w 576"/>
                <a:gd name="T41" fmla="*/ 2147483646 h 536"/>
                <a:gd name="T42" fmla="*/ 2147483646 w 576"/>
                <a:gd name="T43" fmla="*/ 2147483646 h 536"/>
                <a:gd name="T44" fmla="*/ 2147483646 w 576"/>
                <a:gd name="T45" fmla="*/ 2147483646 h 536"/>
                <a:gd name="T46" fmla="*/ 2147483646 w 576"/>
                <a:gd name="T47" fmla="*/ 2147483646 h 536"/>
                <a:gd name="T48" fmla="*/ 2147483646 w 576"/>
                <a:gd name="T49" fmla="*/ 2147483646 h 536"/>
                <a:gd name="T50" fmla="*/ 2147483646 w 576"/>
                <a:gd name="T51" fmla="*/ 2147483646 h 536"/>
                <a:gd name="T52" fmla="*/ 2147483646 w 576"/>
                <a:gd name="T53" fmla="*/ 2147483646 h 536"/>
                <a:gd name="T54" fmla="*/ 2147483646 w 576"/>
                <a:gd name="T55" fmla="*/ 2147483646 h 536"/>
                <a:gd name="T56" fmla="*/ 2147483646 w 576"/>
                <a:gd name="T57" fmla="*/ 2147483646 h 536"/>
                <a:gd name="T58" fmla="*/ 2147483646 w 576"/>
                <a:gd name="T59" fmla="*/ 2147483646 h 536"/>
                <a:gd name="T60" fmla="*/ 2147483646 w 576"/>
                <a:gd name="T61" fmla="*/ 2147483646 h 536"/>
                <a:gd name="T62" fmla="*/ 2147483646 w 576"/>
                <a:gd name="T63" fmla="*/ 2147483646 h 536"/>
                <a:gd name="T64" fmla="*/ 2147483646 w 576"/>
                <a:gd name="T65" fmla="*/ 2147483646 h 536"/>
                <a:gd name="T66" fmla="*/ 2147483646 w 576"/>
                <a:gd name="T67" fmla="*/ 2147483646 h 536"/>
                <a:gd name="T68" fmla="*/ 2147483646 w 576"/>
                <a:gd name="T69" fmla="*/ 2147483646 h 536"/>
                <a:gd name="T70" fmla="*/ 2147483646 w 576"/>
                <a:gd name="T71" fmla="*/ 2147483646 h 536"/>
                <a:gd name="T72" fmla="*/ 2147483646 w 576"/>
                <a:gd name="T73" fmla="*/ 2147483646 h 536"/>
                <a:gd name="T74" fmla="*/ 2147483646 w 576"/>
                <a:gd name="T75" fmla="*/ 2147483646 h 536"/>
                <a:gd name="T76" fmla="*/ 0 w 576"/>
                <a:gd name="T77" fmla="*/ 2147483646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76"/>
                <a:gd name="T118" fmla="*/ 0 h 536"/>
                <a:gd name="T119" fmla="*/ 576 w 576"/>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76" h="536">
                  <a:moveTo>
                    <a:pt x="0" y="192"/>
                  </a:moveTo>
                  <a:lnTo>
                    <a:pt x="48" y="168"/>
                  </a:lnTo>
                  <a:lnTo>
                    <a:pt x="72" y="128"/>
                  </a:lnTo>
                  <a:lnTo>
                    <a:pt x="96" y="64"/>
                  </a:lnTo>
                  <a:lnTo>
                    <a:pt x="96" y="40"/>
                  </a:lnTo>
                  <a:lnTo>
                    <a:pt x="184" y="32"/>
                  </a:lnTo>
                  <a:lnTo>
                    <a:pt x="200" y="32"/>
                  </a:lnTo>
                  <a:lnTo>
                    <a:pt x="256" y="0"/>
                  </a:lnTo>
                  <a:lnTo>
                    <a:pt x="344" y="16"/>
                  </a:lnTo>
                  <a:lnTo>
                    <a:pt x="360" y="48"/>
                  </a:lnTo>
                  <a:lnTo>
                    <a:pt x="392" y="32"/>
                  </a:lnTo>
                  <a:lnTo>
                    <a:pt x="392" y="80"/>
                  </a:lnTo>
                  <a:lnTo>
                    <a:pt x="424" y="72"/>
                  </a:lnTo>
                  <a:lnTo>
                    <a:pt x="424" y="112"/>
                  </a:lnTo>
                  <a:lnTo>
                    <a:pt x="472" y="184"/>
                  </a:lnTo>
                  <a:lnTo>
                    <a:pt x="472" y="232"/>
                  </a:lnTo>
                  <a:lnTo>
                    <a:pt x="496" y="248"/>
                  </a:lnTo>
                  <a:lnTo>
                    <a:pt x="520" y="280"/>
                  </a:lnTo>
                  <a:lnTo>
                    <a:pt x="536" y="344"/>
                  </a:lnTo>
                  <a:lnTo>
                    <a:pt x="536" y="384"/>
                  </a:lnTo>
                  <a:lnTo>
                    <a:pt x="576" y="424"/>
                  </a:lnTo>
                  <a:lnTo>
                    <a:pt x="504" y="464"/>
                  </a:lnTo>
                  <a:lnTo>
                    <a:pt x="456" y="456"/>
                  </a:lnTo>
                  <a:lnTo>
                    <a:pt x="432" y="512"/>
                  </a:lnTo>
                  <a:lnTo>
                    <a:pt x="400" y="488"/>
                  </a:lnTo>
                  <a:lnTo>
                    <a:pt x="304" y="488"/>
                  </a:lnTo>
                  <a:lnTo>
                    <a:pt x="328" y="512"/>
                  </a:lnTo>
                  <a:lnTo>
                    <a:pt x="280" y="512"/>
                  </a:lnTo>
                  <a:lnTo>
                    <a:pt x="224" y="536"/>
                  </a:lnTo>
                  <a:lnTo>
                    <a:pt x="208" y="504"/>
                  </a:lnTo>
                  <a:lnTo>
                    <a:pt x="240" y="472"/>
                  </a:lnTo>
                  <a:lnTo>
                    <a:pt x="184" y="376"/>
                  </a:lnTo>
                  <a:lnTo>
                    <a:pt x="184" y="328"/>
                  </a:lnTo>
                  <a:lnTo>
                    <a:pt x="136" y="288"/>
                  </a:lnTo>
                  <a:lnTo>
                    <a:pt x="120" y="312"/>
                  </a:lnTo>
                  <a:lnTo>
                    <a:pt x="64" y="240"/>
                  </a:lnTo>
                  <a:lnTo>
                    <a:pt x="40" y="248"/>
                  </a:lnTo>
                  <a:lnTo>
                    <a:pt x="8" y="216"/>
                  </a:lnTo>
                  <a:lnTo>
                    <a:pt x="0" y="192"/>
                  </a:lnTo>
                  <a:close/>
                </a:path>
              </a:pathLst>
            </a:custGeom>
            <a:grpFill/>
            <a:ln w="9525">
              <a:solidFill>
                <a:schemeClr val="bg1"/>
              </a:solidFill>
              <a:round/>
              <a:headEnd/>
              <a:tailEnd/>
            </a:ln>
          </p:spPr>
          <p:txBody>
            <a:bodyPr/>
            <a:lstStyle/>
            <a:p>
              <a:endParaRPr lang="en-US"/>
            </a:p>
          </p:txBody>
        </p:sp>
        <p:sp>
          <p:nvSpPr>
            <p:cNvPr id="61" name="Freeform 5"/>
            <p:cNvSpPr>
              <a:spLocks/>
            </p:cNvSpPr>
            <p:nvPr/>
          </p:nvSpPr>
          <p:spPr bwMode="auto">
            <a:xfrm>
              <a:off x="4182504" y="2674089"/>
              <a:ext cx="871971" cy="642002"/>
            </a:xfrm>
            <a:custGeom>
              <a:avLst/>
              <a:gdLst>
                <a:gd name="T0" fmla="*/ 2147483646 w 728"/>
                <a:gd name="T1" fmla="*/ 0 h 536"/>
                <a:gd name="T2" fmla="*/ 2147483646 w 728"/>
                <a:gd name="T3" fmla="*/ 2147483646 h 536"/>
                <a:gd name="T4" fmla="*/ 2147483646 w 728"/>
                <a:gd name="T5" fmla="*/ 2147483646 h 536"/>
                <a:gd name="T6" fmla="*/ 2147483646 w 728"/>
                <a:gd name="T7" fmla="*/ 2147483646 h 536"/>
                <a:gd name="T8" fmla="*/ 2147483646 w 728"/>
                <a:gd name="T9" fmla="*/ 2147483646 h 536"/>
                <a:gd name="T10" fmla="*/ 2147483646 w 728"/>
                <a:gd name="T11" fmla="*/ 2147483646 h 536"/>
                <a:gd name="T12" fmla="*/ 2147483646 w 728"/>
                <a:gd name="T13" fmla="*/ 2147483646 h 536"/>
                <a:gd name="T14" fmla="*/ 2147483646 w 728"/>
                <a:gd name="T15" fmla="*/ 2147483646 h 536"/>
                <a:gd name="T16" fmla="*/ 2147483646 w 728"/>
                <a:gd name="T17" fmla="*/ 2147483646 h 536"/>
                <a:gd name="T18" fmla="*/ 2147483646 w 728"/>
                <a:gd name="T19" fmla="*/ 2147483646 h 536"/>
                <a:gd name="T20" fmla="*/ 2147483646 w 728"/>
                <a:gd name="T21" fmla="*/ 2147483646 h 536"/>
                <a:gd name="T22" fmla="*/ 0 w 728"/>
                <a:gd name="T23" fmla="*/ 2147483646 h 536"/>
                <a:gd name="T24" fmla="*/ 2147483646 w 728"/>
                <a:gd name="T25" fmla="*/ 2147483646 h 536"/>
                <a:gd name="T26" fmla="*/ 2147483646 w 728"/>
                <a:gd name="T27" fmla="*/ 2147483646 h 536"/>
                <a:gd name="T28" fmla="*/ 2147483646 w 728"/>
                <a:gd name="T29" fmla="*/ 2147483646 h 536"/>
                <a:gd name="T30" fmla="*/ 2147483646 w 728"/>
                <a:gd name="T31" fmla="*/ 2147483646 h 536"/>
                <a:gd name="T32" fmla="*/ 2147483646 w 728"/>
                <a:gd name="T33" fmla="*/ 2147483646 h 536"/>
                <a:gd name="T34" fmla="*/ 2147483646 w 728"/>
                <a:gd name="T35" fmla="*/ 2147483646 h 536"/>
                <a:gd name="T36" fmla="*/ 2147483646 w 728"/>
                <a:gd name="T37" fmla="*/ 2147483646 h 536"/>
                <a:gd name="T38" fmla="*/ 2147483646 w 728"/>
                <a:gd name="T39" fmla="*/ 2147483646 h 536"/>
                <a:gd name="T40" fmla="*/ 2147483646 w 728"/>
                <a:gd name="T41" fmla="*/ 2147483646 h 536"/>
                <a:gd name="T42" fmla="*/ 2147483646 w 728"/>
                <a:gd name="T43" fmla="*/ 2147483646 h 536"/>
                <a:gd name="T44" fmla="*/ 2147483646 w 728"/>
                <a:gd name="T45" fmla="*/ 2147483646 h 536"/>
                <a:gd name="T46" fmla="*/ 2147483646 w 728"/>
                <a:gd name="T47" fmla="*/ 2147483646 h 536"/>
                <a:gd name="T48" fmla="*/ 2147483646 w 728"/>
                <a:gd name="T49" fmla="*/ 2147483646 h 536"/>
                <a:gd name="T50" fmla="*/ 2147483646 w 728"/>
                <a:gd name="T51" fmla="*/ 2147483646 h 536"/>
                <a:gd name="T52" fmla="*/ 2147483646 w 728"/>
                <a:gd name="T53" fmla="*/ 2147483646 h 536"/>
                <a:gd name="T54" fmla="*/ 2147483646 w 728"/>
                <a:gd name="T55" fmla="*/ 2147483646 h 536"/>
                <a:gd name="T56" fmla="*/ 2147483646 w 728"/>
                <a:gd name="T57" fmla="*/ 2147483646 h 536"/>
                <a:gd name="T58" fmla="*/ 2147483646 w 728"/>
                <a:gd name="T59" fmla="*/ 2147483646 h 536"/>
                <a:gd name="T60" fmla="*/ 2147483646 w 728"/>
                <a:gd name="T61" fmla="*/ 2147483646 h 536"/>
                <a:gd name="T62" fmla="*/ 2147483646 w 728"/>
                <a:gd name="T63" fmla="*/ 2147483646 h 536"/>
                <a:gd name="T64" fmla="*/ 2147483646 w 728"/>
                <a:gd name="T65" fmla="*/ 2147483646 h 536"/>
                <a:gd name="T66" fmla="*/ 2147483646 w 728"/>
                <a:gd name="T67" fmla="*/ 2147483646 h 536"/>
                <a:gd name="T68" fmla="*/ 2147483646 w 728"/>
                <a:gd name="T69" fmla="*/ 2147483646 h 536"/>
                <a:gd name="T70" fmla="*/ 2147483646 w 728"/>
                <a:gd name="T71" fmla="*/ 2147483646 h 536"/>
                <a:gd name="T72" fmla="*/ 2147483646 w 728"/>
                <a:gd name="T73" fmla="*/ 2147483646 h 536"/>
                <a:gd name="T74" fmla="*/ 2147483646 w 728"/>
                <a:gd name="T75" fmla="*/ 2147483646 h 536"/>
                <a:gd name="T76" fmla="*/ 2147483646 w 728"/>
                <a:gd name="T77" fmla="*/ 2147483646 h 536"/>
                <a:gd name="T78" fmla="*/ 2147483646 w 728"/>
                <a:gd name="T79" fmla="*/ 2147483646 h 536"/>
                <a:gd name="T80" fmla="*/ 2147483646 w 728"/>
                <a:gd name="T81" fmla="*/ 2147483646 h 536"/>
                <a:gd name="T82" fmla="*/ 2147483646 w 728"/>
                <a:gd name="T83" fmla="*/ 2147483646 h 536"/>
                <a:gd name="T84" fmla="*/ 2147483646 w 728"/>
                <a:gd name="T85" fmla="*/ 2147483646 h 536"/>
                <a:gd name="T86" fmla="*/ 2147483646 w 728"/>
                <a:gd name="T87" fmla="*/ 2147483646 h 536"/>
                <a:gd name="T88" fmla="*/ 2147483646 w 728"/>
                <a:gd name="T89" fmla="*/ 2147483646 h 536"/>
                <a:gd name="T90" fmla="*/ 2147483646 w 728"/>
                <a:gd name="T91" fmla="*/ 2147483646 h 536"/>
                <a:gd name="T92" fmla="*/ 2147483646 w 728"/>
                <a:gd name="T93" fmla="*/ 2147483646 h 536"/>
                <a:gd name="T94" fmla="*/ 2147483646 w 728"/>
                <a:gd name="T95" fmla="*/ 0 h 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8"/>
                <a:gd name="T145" fmla="*/ 0 h 536"/>
                <a:gd name="T146" fmla="*/ 728 w 728"/>
                <a:gd name="T147" fmla="*/ 536 h 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8" h="536">
                  <a:moveTo>
                    <a:pt x="368" y="0"/>
                  </a:moveTo>
                  <a:lnTo>
                    <a:pt x="296" y="40"/>
                  </a:lnTo>
                  <a:lnTo>
                    <a:pt x="248" y="32"/>
                  </a:lnTo>
                  <a:lnTo>
                    <a:pt x="224" y="88"/>
                  </a:lnTo>
                  <a:lnTo>
                    <a:pt x="192" y="64"/>
                  </a:lnTo>
                  <a:lnTo>
                    <a:pt x="96" y="64"/>
                  </a:lnTo>
                  <a:lnTo>
                    <a:pt x="120" y="88"/>
                  </a:lnTo>
                  <a:lnTo>
                    <a:pt x="72" y="88"/>
                  </a:lnTo>
                  <a:lnTo>
                    <a:pt x="80" y="152"/>
                  </a:lnTo>
                  <a:lnTo>
                    <a:pt x="48" y="144"/>
                  </a:lnTo>
                  <a:lnTo>
                    <a:pt x="48" y="176"/>
                  </a:lnTo>
                  <a:lnTo>
                    <a:pt x="0" y="160"/>
                  </a:lnTo>
                  <a:lnTo>
                    <a:pt x="16" y="240"/>
                  </a:lnTo>
                  <a:lnTo>
                    <a:pt x="48" y="312"/>
                  </a:lnTo>
                  <a:lnTo>
                    <a:pt x="80" y="352"/>
                  </a:lnTo>
                  <a:lnTo>
                    <a:pt x="128" y="352"/>
                  </a:lnTo>
                  <a:lnTo>
                    <a:pt x="152" y="392"/>
                  </a:lnTo>
                  <a:lnTo>
                    <a:pt x="216" y="384"/>
                  </a:lnTo>
                  <a:lnTo>
                    <a:pt x="272" y="344"/>
                  </a:lnTo>
                  <a:lnTo>
                    <a:pt x="296" y="392"/>
                  </a:lnTo>
                  <a:lnTo>
                    <a:pt x="248" y="424"/>
                  </a:lnTo>
                  <a:lnTo>
                    <a:pt x="304" y="496"/>
                  </a:lnTo>
                  <a:lnTo>
                    <a:pt x="360" y="488"/>
                  </a:lnTo>
                  <a:lnTo>
                    <a:pt x="392" y="456"/>
                  </a:lnTo>
                  <a:lnTo>
                    <a:pt x="432" y="496"/>
                  </a:lnTo>
                  <a:lnTo>
                    <a:pt x="496" y="464"/>
                  </a:lnTo>
                  <a:lnTo>
                    <a:pt x="496" y="416"/>
                  </a:lnTo>
                  <a:lnTo>
                    <a:pt x="536" y="424"/>
                  </a:lnTo>
                  <a:lnTo>
                    <a:pt x="552" y="480"/>
                  </a:lnTo>
                  <a:lnTo>
                    <a:pt x="592" y="440"/>
                  </a:lnTo>
                  <a:lnTo>
                    <a:pt x="600" y="496"/>
                  </a:lnTo>
                  <a:lnTo>
                    <a:pt x="640" y="536"/>
                  </a:lnTo>
                  <a:lnTo>
                    <a:pt x="656" y="488"/>
                  </a:lnTo>
                  <a:lnTo>
                    <a:pt x="688" y="512"/>
                  </a:lnTo>
                  <a:lnTo>
                    <a:pt x="728" y="504"/>
                  </a:lnTo>
                  <a:lnTo>
                    <a:pt x="704" y="400"/>
                  </a:lnTo>
                  <a:lnTo>
                    <a:pt x="656" y="376"/>
                  </a:lnTo>
                  <a:lnTo>
                    <a:pt x="616" y="352"/>
                  </a:lnTo>
                  <a:lnTo>
                    <a:pt x="600" y="320"/>
                  </a:lnTo>
                  <a:lnTo>
                    <a:pt x="560" y="312"/>
                  </a:lnTo>
                  <a:lnTo>
                    <a:pt x="560" y="256"/>
                  </a:lnTo>
                  <a:lnTo>
                    <a:pt x="528" y="208"/>
                  </a:lnTo>
                  <a:lnTo>
                    <a:pt x="480" y="208"/>
                  </a:lnTo>
                  <a:lnTo>
                    <a:pt x="464" y="160"/>
                  </a:lnTo>
                  <a:lnTo>
                    <a:pt x="464" y="96"/>
                  </a:lnTo>
                  <a:lnTo>
                    <a:pt x="424" y="88"/>
                  </a:lnTo>
                  <a:lnTo>
                    <a:pt x="400" y="48"/>
                  </a:lnTo>
                  <a:lnTo>
                    <a:pt x="368" y="0"/>
                  </a:lnTo>
                  <a:close/>
                </a:path>
              </a:pathLst>
            </a:custGeom>
            <a:grpFill/>
            <a:ln w="9525">
              <a:solidFill>
                <a:schemeClr val="bg1"/>
              </a:solidFill>
              <a:round/>
              <a:headEnd/>
              <a:tailEnd/>
            </a:ln>
          </p:spPr>
          <p:txBody>
            <a:bodyPr/>
            <a:lstStyle/>
            <a:p>
              <a:endParaRPr lang="en-US"/>
            </a:p>
          </p:txBody>
        </p:sp>
        <p:sp>
          <p:nvSpPr>
            <p:cNvPr id="62" name="Freeform 6"/>
            <p:cNvSpPr>
              <a:spLocks/>
            </p:cNvSpPr>
            <p:nvPr/>
          </p:nvSpPr>
          <p:spPr bwMode="auto">
            <a:xfrm>
              <a:off x="3340225" y="2385829"/>
              <a:ext cx="948627" cy="709075"/>
            </a:xfrm>
            <a:custGeom>
              <a:avLst/>
              <a:gdLst>
                <a:gd name="T0" fmla="*/ 2147483646 w 792"/>
                <a:gd name="T1" fmla="*/ 2147483646 h 592"/>
                <a:gd name="T2" fmla="*/ 2147483646 w 792"/>
                <a:gd name="T3" fmla="*/ 2147483646 h 592"/>
                <a:gd name="T4" fmla="*/ 2147483646 w 792"/>
                <a:gd name="T5" fmla="*/ 2147483646 h 592"/>
                <a:gd name="T6" fmla="*/ 2147483646 w 792"/>
                <a:gd name="T7" fmla="*/ 2147483646 h 592"/>
                <a:gd name="T8" fmla="*/ 2147483646 w 792"/>
                <a:gd name="T9" fmla="*/ 2147483646 h 592"/>
                <a:gd name="T10" fmla="*/ 2147483646 w 792"/>
                <a:gd name="T11" fmla="*/ 2147483646 h 592"/>
                <a:gd name="T12" fmla="*/ 2147483646 w 792"/>
                <a:gd name="T13" fmla="*/ 2147483646 h 592"/>
                <a:gd name="T14" fmla="*/ 2147483646 w 792"/>
                <a:gd name="T15" fmla="*/ 2147483646 h 592"/>
                <a:gd name="T16" fmla="*/ 2147483646 w 792"/>
                <a:gd name="T17" fmla="*/ 2147483646 h 592"/>
                <a:gd name="T18" fmla="*/ 2147483646 w 792"/>
                <a:gd name="T19" fmla="*/ 2147483646 h 592"/>
                <a:gd name="T20" fmla="*/ 2147483646 w 792"/>
                <a:gd name="T21" fmla="*/ 2147483646 h 592"/>
                <a:gd name="T22" fmla="*/ 2147483646 w 792"/>
                <a:gd name="T23" fmla="*/ 2147483646 h 592"/>
                <a:gd name="T24" fmla="*/ 2147483646 w 792"/>
                <a:gd name="T25" fmla="*/ 2147483646 h 592"/>
                <a:gd name="T26" fmla="*/ 2147483646 w 792"/>
                <a:gd name="T27" fmla="*/ 2147483646 h 592"/>
                <a:gd name="T28" fmla="*/ 2147483646 w 792"/>
                <a:gd name="T29" fmla="*/ 2147483646 h 592"/>
                <a:gd name="T30" fmla="*/ 2147483646 w 792"/>
                <a:gd name="T31" fmla="*/ 2147483646 h 592"/>
                <a:gd name="T32" fmla="*/ 2147483646 w 792"/>
                <a:gd name="T33" fmla="*/ 2147483646 h 592"/>
                <a:gd name="T34" fmla="*/ 2147483646 w 792"/>
                <a:gd name="T35" fmla="*/ 2147483646 h 592"/>
                <a:gd name="T36" fmla="*/ 2147483646 w 792"/>
                <a:gd name="T37" fmla="*/ 2147483646 h 592"/>
                <a:gd name="T38" fmla="*/ 2147483646 w 792"/>
                <a:gd name="T39" fmla="*/ 2147483646 h 592"/>
                <a:gd name="T40" fmla="*/ 2147483646 w 792"/>
                <a:gd name="T41" fmla="*/ 2147483646 h 592"/>
                <a:gd name="T42" fmla="*/ 2147483646 w 792"/>
                <a:gd name="T43" fmla="*/ 2147483646 h 592"/>
                <a:gd name="T44" fmla="*/ 2147483646 w 792"/>
                <a:gd name="T45" fmla="*/ 2147483646 h 592"/>
                <a:gd name="T46" fmla="*/ 2147483646 w 792"/>
                <a:gd name="T47" fmla="*/ 2147483646 h 592"/>
                <a:gd name="T48" fmla="*/ 2147483646 w 792"/>
                <a:gd name="T49" fmla="*/ 2147483646 h 592"/>
                <a:gd name="T50" fmla="*/ 2147483646 w 792"/>
                <a:gd name="T51" fmla="*/ 2147483646 h 592"/>
                <a:gd name="T52" fmla="*/ 2147483646 w 792"/>
                <a:gd name="T53" fmla="*/ 2147483646 h 592"/>
                <a:gd name="T54" fmla="*/ 2147483646 w 792"/>
                <a:gd name="T55" fmla="*/ 2147483646 h 592"/>
                <a:gd name="T56" fmla="*/ 2147483646 w 792"/>
                <a:gd name="T57" fmla="*/ 2147483646 h 592"/>
                <a:gd name="T58" fmla="*/ 2147483646 w 792"/>
                <a:gd name="T59" fmla="*/ 2147483646 h 592"/>
                <a:gd name="T60" fmla="*/ 2147483646 w 792"/>
                <a:gd name="T61" fmla="*/ 2147483646 h 592"/>
                <a:gd name="T62" fmla="*/ 2147483646 w 792"/>
                <a:gd name="T63" fmla="*/ 2147483646 h 592"/>
                <a:gd name="T64" fmla="*/ 2147483646 w 792"/>
                <a:gd name="T65" fmla="*/ 2147483646 h 592"/>
                <a:gd name="T66" fmla="*/ 2147483646 w 792"/>
                <a:gd name="T67" fmla="*/ 2147483646 h 592"/>
                <a:gd name="T68" fmla="*/ 2147483646 w 792"/>
                <a:gd name="T69" fmla="*/ 2147483646 h 592"/>
                <a:gd name="T70" fmla="*/ 2147483646 w 792"/>
                <a:gd name="T71" fmla="*/ 2147483646 h 592"/>
                <a:gd name="T72" fmla="*/ 2147483646 w 792"/>
                <a:gd name="T73" fmla="*/ 2147483646 h 592"/>
                <a:gd name="T74" fmla="*/ 2147483646 w 792"/>
                <a:gd name="T75" fmla="*/ 2147483646 h 592"/>
                <a:gd name="T76" fmla="*/ 2147483646 w 792"/>
                <a:gd name="T77" fmla="*/ 2147483646 h 592"/>
                <a:gd name="T78" fmla="*/ 0 w 792"/>
                <a:gd name="T79" fmla="*/ 2147483646 h 592"/>
                <a:gd name="T80" fmla="*/ 2147483646 w 792"/>
                <a:gd name="T81" fmla="*/ 2147483646 h 592"/>
                <a:gd name="T82" fmla="*/ 2147483646 w 792"/>
                <a:gd name="T83" fmla="*/ 2147483646 h 592"/>
                <a:gd name="T84" fmla="*/ 2147483646 w 792"/>
                <a:gd name="T85" fmla="*/ 2147483646 h 592"/>
                <a:gd name="T86" fmla="*/ 2147483646 w 792"/>
                <a:gd name="T87" fmla="*/ 2147483646 h 592"/>
                <a:gd name="T88" fmla="*/ 2147483646 w 792"/>
                <a:gd name="T89" fmla="*/ 2147483646 h 592"/>
                <a:gd name="T90" fmla="*/ 2147483646 w 792"/>
                <a:gd name="T91" fmla="*/ 2147483646 h 592"/>
                <a:gd name="T92" fmla="*/ 2147483646 w 792"/>
                <a:gd name="T93" fmla="*/ 2147483646 h 592"/>
                <a:gd name="T94" fmla="*/ 2147483646 w 792"/>
                <a:gd name="T95" fmla="*/ 2147483646 h 592"/>
                <a:gd name="T96" fmla="*/ 2147483646 w 792"/>
                <a:gd name="T97" fmla="*/ 2147483646 h 592"/>
                <a:gd name="T98" fmla="*/ 2147483646 w 792"/>
                <a:gd name="T99" fmla="*/ 2147483646 h 592"/>
                <a:gd name="T100" fmla="*/ 2147483646 w 792"/>
                <a:gd name="T101" fmla="*/ 0 h 592"/>
                <a:gd name="T102" fmla="*/ 2147483646 w 792"/>
                <a:gd name="T103" fmla="*/ 2147483646 h 5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2"/>
                <a:gd name="T157" fmla="*/ 0 h 592"/>
                <a:gd name="T158" fmla="*/ 792 w 792"/>
                <a:gd name="T159" fmla="*/ 592 h 5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2" h="592">
                  <a:moveTo>
                    <a:pt x="504" y="8"/>
                  </a:moveTo>
                  <a:lnTo>
                    <a:pt x="512" y="32"/>
                  </a:lnTo>
                  <a:lnTo>
                    <a:pt x="544" y="64"/>
                  </a:lnTo>
                  <a:lnTo>
                    <a:pt x="568" y="56"/>
                  </a:lnTo>
                  <a:lnTo>
                    <a:pt x="624" y="128"/>
                  </a:lnTo>
                  <a:lnTo>
                    <a:pt x="640" y="104"/>
                  </a:lnTo>
                  <a:lnTo>
                    <a:pt x="688" y="144"/>
                  </a:lnTo>
                  <a:lnTo>
                    <a:pt x="688" y="192"/>
                  </a:lnTo>
                  <a:lnTo>
                    <a:pt x="744" y="288"/>
                  </a:lnTo>
                  <a:lnTo>
                    <a:pt x="712" y="320"/>
                  </a:lnTo>
                  <a:lnTo>
                    <a:pt x="728" y="352"/>
                  </a:lnTo>
                  <a:lnTo>
                    <a:pt x="784" y="328"/>
                  </a:lnTo>
                  <a:lnTo>
                    <a:pt x="792" y="392"/>
                  </a:lnTo>
                  <a:lnTo>
                    <a:pt x="760" y="384"/>
                  </a:lnTo>
                  <a:lnTo>
                    <a:pt x="760" y="416"/>
                  </a:lnTo>
                  <a:lnTo>
                    <a:pt x="712" y="400"/>
                  </a:lnTo>
                  <a:lnTo>
                    <a:pt x="728" y="480"/>
                  </a:lnTo>
                  <a:lnTo>
                    <a:pt x="664" y="424"/>
                  </a:lnTo>
                  <a:lnTo>
                    <a:pt x="544" y="424"/>
                  </a:lnTo>
                  <a:lnTo>
                    <a:pt x="480" y="432"/>
                  </a:lnTo>
                  <a:lnTo>
                    <a:pt x="432" y="456"/>
                  </a:lnTo>
                  <a:lnTo>
                    <a:pt x="376" y="416"/>
                  </a:lnTo>
                  <a:lnTo>
                    <a:pt x="392" y="480"/>
                  </a:lnTo>
                  <a:lnTo>
                    <a:pt x="336" y="528"/>
                  </a:lnTo>
                  <a:lnTo>
                    <a:pt x="328" y="584"/>
                  </a:lnTo>
                  <a:lnTo>
                    <a:pt x="240" y="592"/>
                  </a:lnTo>
                  <a:lnTo>
                    <a:pt x="256" y="536"/>
                  </a:lnTo>
                  <a:lnTo>
                    <a:pt x="176" y="528"/>
                  </a:lnTo>
                  <a:lnTo>
                    <a:pt x="136" y="584"/>
                  </a:lnTo>
                  <a:lnTo>
                    <a:pt x="96" y="552"/>
                  </a:lnTo>
                  <a:lnTo>
                    <a:pt x="56" y="576"/>
                  </a:lnTo>
                  <a:lnTo>
                    <a:pt x="16" y="560"/>
                  </a:lnTo>
                  <a:lnTo>
                    <a:pt x="32" y="496"/>
                  </a:lnTo>
                  <a:lnTo>
                    <a:pt x="8" y="456"/>
                  </a:lnTo>
                  <a:lnTo>
                    <a:pt x="32" y="408"/>
                  </a:lnTo>
                  <a:lnTo>
                    <a:pt x="8" y="360"/>
                  </a:lnTo>
                  <a:lnTo>
                    <a:pt x="48" y="360"/>
                  </a:lnTo>
                  <a:lnTo>
                    <a:pt x="56" y="328"/>
                  </a:lnTo>
                  <a:lnTo>
                    <a:pt x="40" y="288"/>
                  </a:lnTo>
                  <a:lnTo>
                    <a:pt x="0" y="264"/>
                  </a:lnTo>
                  <a:lnTo>
                    <a:pt x="32" y="232"/>
                  </a:lnTo>
                  <a:lnTo>
                    <a:pt x="8" y="176"/>
                  </a:lnTo>
                  <a:lnTo>
                    <a:pt x="72" y="152"/>
                  </a:lnTo>
                  <a:lnTo>
                    <a:pt x="96" y="104"/>
                  </a:lnTo>
                  <a:lnTo>
                    <a:pt x="136" y="56"/>
                  </a:lnTo>
                  <a:lnTo>
                    <a:pt x="184" y="48"/>
                  </a:lnTo>
                  <a:lnTo>
                    <a:pt x="248" y="32"/>
                  </a:lnTo>
                  <a:lnTo>
                    <a:pt x="360" y="40"/>
                  </a:lnTo>
                  <a:lnTo>
                    <a:pt x="392" y="16"/>
                  </a:lnTo>
                  <a:lnTo>
                    <a:pt x="448" y="16"/>
                  </a:lnTo>
                  <a:lnTo>
                    <a:pt x="472" y="0"/>
                  </a:lnTo>
                  <a:lnTo>
                    <a:pt x="504" y="8"/>
                  </a:lnTo>
                  <a:close/>
                </a:path>
              </a:pathLst>
            </a:custGeom>
            <a:grpFill/>
            <a:ln w="9525">
              <a:solidFill>
                <a:schemeClr val="bg1"/>
              </a:solidFill>
              <a:round/>
              <a:headEnd/>
              <a:tailEnd/>
            </a:ln>
          </p:spPr>
          <p:txBody>
            <a:bodyPr/>
            <a:lstStyle/>
            <a:p>
              <a:endParaRPr lang="en-US"/>
            </a:p>
          </p:txBody>
        </p:sp>
        <p:sp>
          <p:nvSpPr>
            <p:cNvPr id="63" name="Freeform 7"/>
            <p:cNvSpPr>
              <a:spLocks/>
            </p:cNvSpPr>
            <p:nvPr/>
          </p:nvSpPr>
          <p:spPr bwMode="auto">
            <a:xfrm>
              <a:off x="3717144" y="2878067"/>
              <a:ext cx="824060" cy="613254"/>
            </a:xfrm>
            <a:custGeom>
              <a:avLst/>
              <a:gdLst>
                <a:gd name="T0" fmla="*/ 2147483646 w 688"/>
                <a:gd name="T1" fmla="*/ 2147483646 h 512"/>
                <a:gd name="T2" fmla="*/ 2147483646 w 688"/>
                <a:gd name="T3" fmla="*/ 2147483646 h 512"/>
                <a:gd name="T4" fmla="*/ 2147483646 w 688"/>
                <a:gd name="T5" fmla="*/ 2147483646 h 512"/>
                <a:gd name="T6" fmla="*/ 2147483646 w 688"/>
                <a:gd name="T7" fmla="*/ 2147483646 h 512"/>
                <a:gd name="T8" fmla="*/ 2147483646 w 688"/>
                <a:gd name="T9" fmla="*/ 2147483646 h 512"/>
                <a:gd name="T10" fmla="*/ 2147483646 w 688"/>
                <a:gd name="T11" fmla="*/ 2147483646 h 512"/>
                <a:gd name="T12" fmla="*/ 2147483646 w 688"/>
                <a:gd name="T13" fmla="*/ 2147483646 h 512"/>
                <a:gd name="T14" fmla="*/ 2147483646 w 688"/>
                <a:gd name="T15" fmla="*/ 2147483646 h 512"/>
                <a:gd name="T16" fmla="*/ 2147483646 w 688"/>
                <a:gd name="T17" fmla="*/ 2147483646 h 512"/>
                <a:gd name="T18" fmla="*/ 2147483646 w 688"/>
                <a:gd name="T19" fmla="*/ 2147483646 h 512"/>
                <a:gd name="T20" fmla="*/ 2147483646 w 688"/>
                <a:gd name="T21" fmla="*/ 2147483646 h 512"/>
                <a:gd name="T22" fmla="*/ 2147483646 w 688"/>
                <a:gd name="T23" fmla="*/ 2147483646 h 512"/>
                <a:gd name="T24" fmla="*/ 2147483646 w 688"/>
                <a:gd name="T25" fmla="*/ 2147483646 h 512"/>
                <a:gd name="T26" fmla="*/ 2147483646 w 688"/>
                <a:gd name="T27" fmla="*/ 2147483646 h 512"/>
                <a:gd name="T28" fmla="*/ 2147483646 w 688"/>
                <a:gd name="T29" fmla="*/ 0 h 512"/>
                <a:gd name="T30" fmla="*/ 2147483646 w 688"/>
                <a:gd name="T31" fmla="*/ 2147483646 h 512"/>
                <a:gd name="T32" fmla="*/ 2147483646 w 688"/>
                <a:gd name="T33" fmla="*/ 2147483646 h 512"/>
                <a:gd name="T34" fmla="*/ 0 w 688"/>
                <a:gd name="T35" fmla="*/ 2147483646 h 512"/>
                <a:gd name="T36" fmla="*/ 2147483646 w 688"/>
                <a:gd name="T37" fmla="*/ 2147483646 h 512"/>
                <a:gd name="T38" fmla="*/ 2147483646 w 688"/>
                <a:gd name="T39" fmla="*/ 2147483646 h 512"/>
                <a:gd name="T40" fmla="*/ 2147483646 w 688"/>
                <a:gd name="T41" fmla="*/ 2147483646 h 512"/>
                <a:gd name="T42" fmla="*/ 2147483646 w 688"/>
                <a:gd name="T43" fmla="*/ 2147483646 h 512"/>
                <a:gd name="T44" fmla="*/ 2147483646 w 688"/>
                <a:gd name="T45" fmla="*/ 2147483646 h 512"/>
                <a:gd name="T46" fmla="*/ 2147483646 w 688"/>
                <a:gd name="T47" fmla="*/ 2147483646 h 512"/>
                <a:gd name="T48" fmla="*/ 2147483646 w 688"/>
                <a:gd name="T49" fmla="*/ 2147483646 h 512"/>
                <a:gd name="T50" fmla="*/ 2147483646 w 688"/>
                <a:gd name="T51" fmla="*/ 2147483646 h 512"/>
                <a:gd name="T52" fmla="*/ 2147483646 w 688"/>
                <a:gd name="T53" fmla="*/ 2147483646 h 512"/>
                <a:gd name="T54" fmla="*/ 2147483646 w 688"/>
                <a:gd name="T55" fmla="*/ 2147483646 h 512"/>
                <a:gd name="T56" fmla="*/ 2147483646 w 688"/>
                <a:gd name="T57" fmla="*/ 2147483646 h 512"/>
                <a:gd name="T58" fmla="*/ 2147483646 w 688"/>
                <a:gd name="T59" fmla="*/ 2147483646 h 512"/>
                <a:gd name="T60" fmla="*/ 2147483646 w 688"/>
                <a:gd name="T61" fmla="*/ 2147483646 h 512"/>
                <a:gd name="T62" fmla="*/ 2147483646 w 688"/>
                <a:gd name="T63" fmla="*/ 2147483646 h 512"/>
                <a:gd name="T64" fmla="*/ 2147483646 w 688"/>
                <a:gd name="T65" fmla="*/ 2147483646 h 512"/>
                <a:gd name="T66" fmla="*/ 2147483646 w 688"/>
                <a:gd name="T67" fmla="*/ 2147483646 h 512"/>
                <a:gd name="T68" fmla="*/ 2147483646 w 688"/>
                <a:gd name="T69" fmla="*/ 2147483646 h 512"/>
                <a:gd name="T70" fmla="*/ 2147483646 w 688"/>
                <a:gd name="T71" fmla="*/ 2147483646 h 512"/>
                <a:gd name="T72" fmla="*/ 2147483646 w 688"/>
                <a:gd name="T73" fmla="*/ 2147483646 h 512"/>
                <a:gd name="T74" fmla="*/ 2147483646 w 688"/>
                <a:gd name="T75" fmla="*/ 2147483646 h 512"/>
                <a:gd name="T76" fmla="*/ 2147483646 w 688"/>
                <a:gd name="T77" fmla="*/ 2147483646 h 512"/>
                <a:gd name="T78" fmla="*/ 2147483646 w 688"/>
                <a:gd name="T79" fmla="*/ 2147483646 h 512"/>
                <a:gd name="T80" fmla="*/ 2147483646 w 688"/>
                <a:gd name="T81" fmla="*/ 2147483646 h 512"/>
                <a:gd name="T82" fmla="*/ 2147483646 w 688"/>
                <a:gd name="T83" fmla="*/ 2147483646 h 512"/>
                <a:gd name="T84" fmla="*/ 2147483646 w 688"/>
                <a:gd name="T85" fmla="*/ 2147483646 h 5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8"/>
                <a:gd name="T130" fmla="*/ 0 h 512"/>
                <a:gd name="T131" fmla="*/ 688 w 688"/>
                <a:gd name="T132" fmla="*/ 512 h 5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8" h="512">
                  <a:moveTo>
                    <a:pt x="688" y="320"/>
                  </a:moveTo>
                  <a:lnTo>
                    <a:pt x="632" y="248"/>
                  </a:lnTo>
                  <a:lnTo>
                    <a:pt x="680" y="216"/>
                  </a:lnTo>
                  <a:lnTo>
                    <a:pt x="656" y="168"/>
                  </a:lnTo>
                  <a:lnTo>
                    <a:pt x="600" y="208"/>
                  </a:lnTo>
                  <a:lnTo>
                    <a:pt x="536" y="216"/>
                  </a:lnTo>
                  <a:lnTo>
                    <a:pt x="512" y="176"/>
                  </a:lnTo>
                  <a:lnTo>
                    <a:pt x="464" y="176"/>
                  </a:lnTo>
                  <a:lnTo>
                    <a:pt x="432" y="136"/>
                  </a:lnTo>
                  <a:lnTo>
                    <a:pt x="400" y="64"/>
                  </a:lnTo>
                  <a:lnTo>
                    <a:pt x="336" y="8"/>
                  </a:lnTo>
                  <a:lnTo>
                    <a:pt x="216" y="8"/>
                  </a:lnTo>
                  <a:lnTo>
                    <a:pt x="152" y="16"/>
                  </a:lnTo>
                  <a:lnTo>
                    <a:pt x="104" y="40"/>
                  </a:lnTo>
                  <a:lnTo>
                    <a:pt x="48" y="0"/>
                  </a:lnTo>
                  <a:lnTo>
                    <a:pt x="64" y="64"/>
                  </a:lnTo>
                  <a:lnTo>
                    <a:pt x="8" y="112"/>
                  </a:lnTo>
                  <a:lnTo>
                    <a:pt x="0" y="168"/>
                  </a:lnTo>
                  <a:lnTo>
                    <a:pt x="32" y="192"/>
                  </a:lnTo>
                  <a:lnTo>
                    <a:pt x="40" y="256"/>
                  </a:lnTo>
                  <a:lnTo>
                    <a:pt x="72" y="256"/>
                  </a:lnTo>
                  <a:lnTo>
                    <a:pt x="80" y="304"/>
                  </a:lnTo>
                  <a:lnTo>
                    <a:pt x="48" y="280"/>
                  </a:lnTo>
                  <a:lnTo>
                    <a:pt x="40" y="336"/>
                  </a:lnTo>
                  <a:lnTo>
                    <a:pt x="64" y="344"/>
                  </a:lnTo>
                  <a:lnTo>
                    <a:pt x="64" y="456"/>
                  </a:lnTo>
                  <a:lnTo>
                    <a:pt x="96" y="512"/>
                  </a:lnTo>
                  <a:lnTo>
                    <a:pt x="120" y="480"/>
                  </a:lnTo>
                  <a:lnTo>
                    <a:pt x="144" y="480"/>
                  </a:lnTo>
                  <a:lnTo>
                    <a:pt x="168" y="456"/>
                  </a:lnTo>
                  <a:lnTo>
                    <a:pt x="200" y="480"/>
                  </a:lnTo>
                  <a:lnTo>
                    <a:pt x="256" y="432"/>
                  </a:lnTo>
                  <a:lnTo>
                    <a:pt x="280" y="464"/>
                  </a:lnTo>
                  <a:lnTo>
                    <a:pt x="392" y="440"/>
                  </a:lnTo>
                  <a:lnTo>
                    <a:pt x="440" y="384"/>
                  </a:lnTo>
                  <a:lnTo>
                    <a:pt x="520" y="384"/>
                  </a:lnTo>
                  <a:lnTo>
                    <a:pt x="552" y="352"/>
                  </a:lnTo>
                  <a:lnTo>
                    <a:pt x="576" y="392"/>
                  </a:lnTo>
                  <a:lnTo>
                    <a:pt x="624" y="376"/>
                  </a:lnTo>
                  <a:lnTo>
                    <a:pt x="648" y="408"/>
                  </a:lnTo>
                  <a:lnTo>
                    <a:pt x="688" y="392"/>
                  </a:lnTo>
                  <a:lnTo>
                    <a:pt x="680" y="352"/>
                  </a:lnTo>
                  <a:lnTo>
                    <a:pt x="688" y="320"/>
                  </a:lnTo>
                  <a:close/>
                </a:path>
              </a:pathLst>
            </a:custGeom>
            <a:grpFill/>
            <a:ln w="9525">
              <a:solidFill>
                <a:schemeClr val="bg1"/>
              </a:solidFill>
              <a:round/>
              <a:headEnd/>
              <a:tailEnd/>
            </a:ln>
          </p:spPr>
          <p:txBody>
            <a:bodyPr/>
            <a:lstStyle/>
            <a:p>
              <a:endParaRPr lang="en-US"/>
            </a:p>
          </p:txBody>
        </p:sp>
        <p:sp>
          <p:nvSpPr>
            <p:cNvPr id="64" name="Freeform 8"/>
            <p:cNvSpPr>
              <a:spLocks/>
            </p:cNvSpPr>
            <p:nvPr/>
          </p:nvSpPr>
          <p:spPr bwMode="auto">
            <a:xfrm>
              <a:off x="3286674" y="3013906"/>
              <a:ext cx="756986" cy="871971"/>
            </a:xfrm>
            <a:custGeom>
              <a:avLst/>
              <a:gdLst>
                <a:gd name="T0" fmla="*/ 2147483646 w 632"/>
                <a:gd name="T1" fmla="*/ 2147483646 h 728"/>
                <a:gd name="T2" fmla="*/ 2147483646 w 632"/>
                <a:gd name="T3" fmla="*/ 0 h 728"/>
                <a:gd name="T4" fmla="*/ 2147483646 w 632"/>
                <a:gd name="T5" fmla="*/ 2147483646 h 728"/>
                <a:gd name="T6" fmla="*/ 2147483646 w 632"/>
                <a:gd name="T7" fmla="*/ 2147483646 h 728"/>
                <a:gd name="T8" fmla="*/ 2147483646 w 632"/>
                <a:gd name="T9" fmla="*/ 2147483646 h 728"/>
                <a:gd name="T10" fmla="*/ 2147483646 w 632"/>
                <a:gd name="T11" fmla="*/ 2147483646 h 728"/>
                <a:gd name="T12" fmla="*/ 2147483646 w 632"/>
                <a:gd name="T13" fmla="*/ 2147483646 h 728"/>
                <a:gd name="T14" fmla="*/ 2147483646 w 632"/>
                <a:gd name="T15" fmla="*/ 2147483646 h 728"/>
                <a:gd name="T16" fmla="*/ 2147483646 w 632"/>
                <a:gd name="T17" fmla="*/ 2147483646 h 728"/>
                <a:gd name="T18" fmla="*/ 2147483646 w 632"/>
                <a:gd name="T19" fmla="*/ 2147483646 h 728"/>
                <a:gd name="T20" fmla="*/ 2147483646 w 632"/>
                <a:gd name="T21" fmla="*/ 2147483646 h 728"/>
                <a:gd name="T22" fmla="*/ 2147483646 w 632"/>
                <a:gd name="T23" fmla="*/ 2147483646 h 728"/>
                <a:gd name="T24" fmla="*/ 2147483646 w 632"/>
                <a:gd name="T25" fmla="*/ 2147483646 h 728"/>
                <a:gd name="T26" fmla="*/ 2147483646 w 632"/>
                <a:gd name="T27" fmla="*/ 2147483646 h 728"/>
                <a:gd name="T28" fmla="*/ 2147483646 w 632"/>
                <a:gd name="T29" fmla="*/ 2147483646 h 728"/>
                <a:gd name="T30" fmla="*/ 2147483646 w 632"/>
                <a:gd name="T31" fmla="*/ 2147483646 h 728"/>
                <a:gd name="T32" fmla="*/ 2147483646 w 632"/>
                <a:gd name="T33" fmla="*/ 2147483646 h 728"/>
                <a:gd name="T34" fmla="*/ 2147483646 w 632"/>
                <a:gd name="T35" fmla="*/ 2147483646 h 728"/>
                <a:gd name="T36" fmla="*/ 2147483646 w 632"/>
                <a:gd name="T37" fmla="*/ 2147483646 h 728"/>
                <a:gd name="T38" fmla="*/ 2147483646 w 632"/>
                <a:gd name="T39" fmla="*/ 2147483646 h 728"/>
                <a:gd name="T40" fmla="*/ 2147483646 w 632"/>
                <a:gd name="T41" fmla="*/ 2147483646 h 728"/>
                <a:gd name="T42" fmla="*/ 2147483646 w 632"/>
                <a:gd name="T43" fmla="*/ 2147483646 h 728"/>
                <a:gd name="T44" fmla="*/ 2147483646 w 632"/>
                <a:gd name="T45" fmla="*/ 2147483646 h 728"/>
                <a:gd name="T46" fmla="*/ 2147483646 w 632"/>
                <a:gd name="T47" fmla="*/ 2147483646 h 728"/>
                <a:gd name="T48" fmla="*/ 2147483646 w 632"/>
                <a:gd name="T49" fmla="*/ 2147483646 h 728"/>
                <a:gd name="T50" fmla="*/ 2147483646 w 632"/>
                <a:gd name="T51" fmla="*/ 2147483646 h 728"/>
                <a:gd name="T52" fmla="*/ 2147483646 w 632"/>
                <a:gd name="T53" fmla="*/ 2147483646 h 728"/>
                <a:gd name="T54" fmla="*/ 2147483646 w 632"/>
                <a:gd name="T55" fmla="*/ 2147483646 h 728"/>
                <a:gd name="T56" fmla="*/ 2147483646 w 632"/>
                <a:gd name="T57" fmla="*/ 2147483646 h 728"/>
                <a:gd name="T58" fmla="*/ 2147483646 w 632"/>
                <a:gd name="T59" fmla="*/ 2147483646 h 728"/>
                <a:gd name="T60" fmla="*/ 2147483646 w 632"/>
                <a:gd name="T61" fmla="*/ 2147483646 h 728"/>
                <a:gd name="T62" fmla="*/ 2147483646 w 632"/>
                <a:gd name="T63" fmla="*/ 2147483646 h 728"/>
                <a:gd name="T64" fmla="*/ 2147483646 w 632"/>
                <a:gd name="T65" fmla="*/ 2147483646 h 728"/>
                <a:gd name="T66" fmla="*/ 2147483646 w 632"/>
                <a:gd name="T67" fmla="*/ 2147483646 h 728"/>
                <a:gd name="T68" fmla="*/ 0 w 632"/>
                <a:gd name="T69" fmla="*/ 2147483646 h 728"/>
                <a:gd name="T70" fmla="*/ 2147483646 w 632"/>
                <a:gd name="T71" fmla="*/ 2147483646 h 728"/>
                <a:gd name="T72" fmla="*/ 2147483646 w 632"/>
                <a:gd name="T73" fmla="*/ 2147483646 h 728"/>
                <a:gd name="T74" fmla="*/ 2147483646 w 632"/>
                <a:gd name="T75" fmla="*/ 2147483646 h 728"/>
                <a:gd name="T76" fmla="*/ 2147483646 w 632"/>
                <a:gd name="T77" fmla="*/ 2147483646 h 728"/>
                <a:gd name="T78" fmla="*/ 2147483646 w 632"/>
                <a:gd name="T79" fmla="*/ 2147483646 h 728"/>
                <a:gd name="T80" fmla="*/ 2147483646 w 632"/>
                <a:gd name="T81" fmla="*/ 2147483646 h 728"/>
                <a:gd name="T82" fmla="*/ 2147483646 w 632"/>
                <a:gd name="T83" fmla="*/ 2147483646 h 728"/>
                <a:gd name="T84" fmla="*/ 2147483646 w 632"/>
                <a:gd name="T85" fmla="*/ 2147483646 h 728"/>
                <a:gd name="T86" fmla="*/ 2147483646 w 632"/>
                <a:gd name="T87" fmla="*/ 2147483646 h 728"/>
                <a:gd name="T88" fmla="*/ 2147483646 w 632"/>
                <a:gd name="T89" fmla="*/ 2147483646 h 728"/>
                <a:gd name="T90" fmla="*/ 2147483646 w 632"/>
                <a:gd name="T91" fmla="*/ 2147483646 h 7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2"/>
                <a:gd name="T139" fmla="*/ 0 h 728"/>
                <a:gd name="T140" fmla="*/ 632 w 632"/>
                <a:gd name="T141" fmla="*/ 728 h 7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2" h="728">
                  <a:moveTo>
                    <a:pt x="176" y="56"/>
                  </a:moveTo>
                  <a:lnTo>
                    <a:pt x="216" y="0"/>
                  </a:lnTo>
                  <a:lnTo>
                    <a:pt x="296" y="8"/>
                  </a:lnTo>
                  <a:lnTo>
                    <a:pt x="280" y="64"/>
                  </a:lnTo>
                  <a:lnTo>
                    <a:pt x="368" y="56"/>
                  </a:lnTo>
                  <a:lnTo>
                    <a:pt x="400" y="80"/>
                  </a:lnTo>
                  <a:lnTo>
                    <a:pt x="408" y="144"/>
                  </a:lnTo>
                  <a:lnTo>
                    <a:pt x="440" y="144"/>
                  </a:lnTo>
                  <a:lnTo>
                    <a:pt x="448" y="192"/>
                  </a:lnTo>
                  <a:lnTo>
                    <a:pt x="416" y="168"/>
                  </a:lnTo>
                  <a:lnTo>
                    <a:pt x="408" y="224"/>
                  </a:lnTo>
                  <a:lnTo>
                    <a:pt x="432" y="232"/>
                  </a:lnTo>
                  <a:lnTo>
                    <a:pt x="432" y="344"/>
                  </a:lnTo>
                  <a:lnTo>
                    <a:pt x="464" y="400"/>
                  </a:lnTo>
                  <a:lnTo>
                    <a:pt x="488" y="368"/>
                  </a:lnTo>
                  <a:lnTo>
                    <a:pt x="512" y="368"/>
                  </a:lnTo>
                  <a:lnTo>
                    <a:pt x="528" y="432"/>
                  </a:lnTo>
                  <a:lnTo>
                    <a:pt x="560" y="472"/>
                  </a:lnTo>
                  <a:lnTo>
                    <a:pt x="528" y="504"/>
                  </a:lnTo>
                  <a:lnTo>
                    <a:pt x="520" y="544"/>
                  </a:lnTo>
                  <a:lnTo>
                    <a:pt x="576" y="552"/>
                  </a:lnTo>
                  <a:lnTo>
                    <a:pt x="560" y="584"/>
                  </a:lnTo>
                  <a:lnTo>
                    <a:pt x="632" y="584"/>
                  </a:lnTo>
                  <a:lnTo>
                    <a:pt x="632" y="648"/>
                  </a:lnTo>
                  <a:lnTo>
                    <a:pt x="600" y="712"/>
                  </a:lnTo>
                  <a:lnTo>
                    <a:pt x="424" y="728"/>
                  </a:lnTo>
                  <a:lnTo>
                    <a:pt x="376" y="680"/>
                  </a:lnTo>
                  <a:lnTo>
                    <a:pt x="352" y="600"/>
                  </a:lnTo>
                  <a:lnTo>
                    <a:pt x="296" y="632"/>
                  </a:lnTo>
                  <a:lnTo>
                    <a:pt x="240" y="720"/>
                  </a:lnTo>
                  <a:lnTo>
                    <a:pt x="192" y="680"/>
                  </a:lnTo>
                  <a:lnTo>
                    <a:pt x="168" y="696"/>
                  </a:lnTo>
                  <a:lnTo>
                    <a:pt x="120" y="664"/>
                  </a:lnTo>
                  <a:lnTo>
                    <a:pt x="40" y="632"/>
                  </a:lnTo>
                  <a:lnTo>
                    <a:pt x="0" y="552"/>
                  </a:lnTo>
                  <a:lnTo>
                    <a:pt x="32" y="544"/>
                  </a:lnTo>
                  <a:lnTo>
                    <a:pt x="32" y="496"/>
                  </a:lnTo>
                  <a:lnTo>
                    <a:pt x="112" y="424"/>
                  </a:lnTo>
                  <a:lnTo>
                    <a:pt x="112" y="392"/>
                  </a:lnTo>
                  <a:lnTo>
                    <a:pt x="160" y="376"/>
                  </a:lnTo>
                  <a:lnTo>
                    <a:pt x="176" y="328"/>
                  </a:lnTo>
                  <a:lnTo>
                    <a:pt x="208" y="312"/>
                  </a:lnTo>
                  <a:lnTo>
                    <a:pt x="168" y="216"/>
                  </a:lnTo>
                  <a:lnTo>
                    <a:pt x="200" y="152"/>
                  </a:lnTo>
                  <a:lnTo>
                    <a:pt x="192" y="104"/>
                  </a:lnTo>
                  <a:lnTo>
                    <a:pt x="176" y="56"/>
                  </a:lnTo>
                  <a:close/>
                </a:path>
              </a:pathLst>
            </a:custGeom>
            <a:grpFill/>
            <a:ln w="9525">
              <a:solidFill>
                <a:schemeClr val="bg1"/>
              </a:solidFill>
              <a:round/>
              <a:headEnd/>
              <a:tailEnd/>
            </a:ln>
          </p:spPr>
          <p:txBody>
            <a:bodyPr/>
            <a:lstStyle/>
            <a:p>
              <a:endParaRPr lang="en-US"/>
            </a:p>
          </p:txBody>
        </p:sp>
        <p:sp>
          <p:nvSpPr>
            <p:cNvPr id="65" name="Freeform 9"/>
            <p:cNvSpPr>
              <a:spLocks/>
            </p:cNvSpPr>
            <p:nvPr/>
          </p:nvSpPr>
          <p:spPr bwMode="auto">
            <a:xfrm>
              <a:off x="3887192" y="3293019"/>
              <a:ext cx="833642" cy="632418"/>
            </a:xfrm>
            <a:custGeom>
              <a:avLst/>
              <a:gdLst>
                <a:gd name="T0" fmla="*/ 2147483646 w 696"/>
                <a:gd name="T1" fmla="*/ 2147483646 h 528"/>
                <a:gd name="T2" fmla="*/ 2147483646 w 696"/>
                <a:gd name="T3" fmla="*/ 2147483646 h 528"/>
                <a:gd name="T4" fmla="*/ 2147483646 w 696"/>
                <a:gd name="T5" fmla="*/ 2147483646 h 528"/>
                <a:gd name="T6" fmla="*/ 2147483646 w 696"/>
                <a:gd name="T7" fmla="*/ 2147483646 h 528"/>
                <a:gd name="T8" fmla="*/ 2147483646 w 696"/>
                <a:gd name="T9" fmla="*/ 2147483646 h 528"/>
                <a:gd name="T10" fmla="*/ 2147483646 w 696"/>
                <a:gd name="T11" fmla="*/ 2147483646 h 528"/>
                <a:gd name="T12" fmla="*/ 2147483646 w 696"/>
                <a:gd name="T13" fmla="*/ 2147483646 h 528"/>
                <a:gd name="T14" fmla="*/ 2147483646 w 696"/>
                <a:gd name="T15" fmla="*/ 2147483646 h 528"/>
                <a:gd name="T16" fmla="*/ 0 w 696"/>
                <a:gd name="T17" fmla="*/ 2147483646 h 528"/>
                <a:gd name="T18" fmla="*/ 2147483646 w 696"/>
                <a:gd name="T19" fmla="*/ 2147483646 h 528"/>
                <a:gd name="T20" fmla="*/ 2147483646 w 696"/>
                <a:gd name="T21" fmla="*/ 2147483646 h 528"/>
                <a:gd name="T22" fmla="*/ 2147483646 w 696"/>
                <a:gd name="T23" fmla="*/ 2147483646 h 528"/>
                <a:gd name="T24" fmla="*/ 2147483646 w 696"/>
                <a:gd name="T25" fmla="*/ 2147483646 h 528"/>
                <a:gd name="T26" fmla="*/ 2147483646 w 696"/>
                <a:gd name="T27" fmla="*/ 2147483646 h 528"/>
                <a:gd name="T28" fmla="*/ 2147483646 w 696"/>
                <a:gd name="T29" fmla="*/ 2147483646 h 528"/>
                <a:gd name="T30" fmla="*/ 2147483646 w 696"/>
                <a:gd name="T31" fmla="*/ 2147483646 h 528"/>
                <a:gd name="T32" fmla="*/ 2147483646 w 696"/>
                <a:gd name="T33" fmla="*/ 0 h 528"/>
                <a:gd name="T34" fmla="*/ 2147483646 w 696"/>
                <a:gd name="T35" fmla="*/ 2147483646 h 528"/>
                <a:gd name="T36" fmla="*/ 2147483646 w 696"/>
                <a:gd name="T37" fmla="*/ 2147483646 h 528"/>
                <a:gd name="T38" fmla="*/ 2147483646 w 696"/>
                <a:gd name="T39" fmla="*/ 2147483646 h 528"/>
                <a:gd name="T40" fmla="*/ 2147483646 w 696"/>
                <a:gd name="T41" fmla="*/ 2147483646 h 528"/>
                <a:gd name="T42" fmla="*/ 2147483646 w 696"/>
                <a:gd name="T43" fmla="*/ 2147483646 h 528"/>
                <a:gd name="T44" fmla="*/ 2147483646 w 696"/>
                <a:gd name="T45" fmla="*/ 2147483646 h 528"/>
                <a:gd name="T46" fmla="*/ 2147483646 w 696"/>
                <a:gd name="T47" fmla="*/ 2147483646 h 528"/>
                <a:gd name="T48" fmla="*/ 2147483646 w 696"/>
                <a:gd name="T49" fmla="*/ 2147483646 h 528"/>
                <a:gd name="T50" fmla="*/ 2147483646 w 696"/>
                <a:gd name="T51" fmla="*/ 2147483646 h 528"/>
                <a:gd name="T52" fmla="*/ 2147483646 w 696"/>
                <a:gd name="T53" fmla="*/ 2147483646 h 528"/>
                <a:gd name="T54" fmla="*/ 2147483646 w 696"/>
                <a:gd name="T55" fmla="*/ 2147483646 h 528"/>
                <a:gd name="T56" fmla="*/ 2147483646 w 696"/>
                <a:gd name="T57" fmla="*/ 2147483646 h 528"/>
                <a:gd name="T58" fmla="*/ 2147483646 w 696"/>
                <a:gd name="T59" fmla="*/ 2147483646 h 528"/>
                <a:gd name="T60" fmla="*/ 2147483646 w 696"/>
                <a:gd name="T61" fmla="*/ 2147483646 h 528"/>
                <a:gd name="T62" fmla="*/ 2147483646 w 696"/>
                <a:gd name="T63" fmla="*/ 2147483646 h 528"/>
                <a:gd name="T64" fmla="*/ 2147483646 w 696"/>
                <a:gd name="T65" fmla="*/ 2147483646 h 528"/>
                <a:gd name="T66" fmla="*/ 2147483646 w 696"/>
                <a:gd name="T67" fmla="*/ 2147483646 h 528"/>
                <a:gd name="T68" fmla="*/ 2147483646 w 696"/>
                <a:gd name="T69" fmla="*/ 2147483646 h 528"/>
                <a:gd name="T70" fmla="*/ 2147483646 w 696"/>
                <a:gd name="T71" fmla="*/ 2147483646 h 528"/>
                <a:gd name="T72" fmla="*/ 2147483646 w 696"/>
                <a:gd name="T73" fmla="*/ 2147483646 h 528"/>
                <a:gd name="T74" fmla="*/ 2147483646 w 696"/>
                <a:gd name="T75" fmla="*/ 2147483646 h 5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6"/>
                <a:gd name="T115" fmla="*/ 0 h 528"/>
                <a:gd name="T116" fmla="*/ 696 w 696"/>
                <a:gd name="T117" fmla="*/ 528 h 5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6" h="528">
                  <a:moveTo>
                    <a:pt x="120" y="408"/>
                  </a:moveTo>
                  <a:lnTo>
                    <a:pt x="120" y="344"/>
                  </a:lnTo>
                  <a:lnTo>
                    <a:pt x="48" y="344"/>
                  </a:lnTo>
                  <a:lnTo>
                    <a:pt x="64" y="312"/>
                  </a:lnTo>
                  <a:lnTo>
                    <a:pt x="8" y="304"/>
                  </a:lnTo>
                  <a:lnTo>
                    <a:pt x="16" y="264"/>
                  </a:lnTo>
                  <a:lnTo>
                    <a:pt x="48" y="232"/>
                  </a:lnTo>
                  <a:lnTo>
                    <a:pt x="16" y="192"/>
                  </a:lnTo>
                  <a:lnTo>
                    <a:pt x="0" y="128"/>
                  </a:lnTo>
                  <a:lnTo>
                    <a:pt x="24" y="104"/>
                  </a:lnTo>
                  <a:lnTo>
                    <a:pt x="56" y="128"/>
                  </a:lnTo>
                  <a:lnTo>
                    <a:pt x="112" y="80"/>
                  </a:lnTo>
                  <a:lnTo>
                    <a:pt x="136" y="112"/>
                  </a:lnTo>
                  <a:lnTo>
                    <a:pt x="248" y="88"/>
                  </a:lnTo>
                  <a:lnTo>
                    <a:pt x="296" y="32"/>
                  </a:lnTo>
                  <a:lnTo>
                    <a:pt x="376" y="32"/>
                  </a:lnTo>
                  <a:lnTo>
                    <a:pt x="408" y="0"/>
                  </a:lnTo>
                  <a:lnTo>
                    <a:pt x="432" y="40"/>
                  </a:lnTo>
                  <a:lnTo>
                    <a:pt x="480" y="24"/>
                  </a:lnTo>
                  <a:lnTo>
                    <a:pt x="504" y="56"/>
                  </a:lnTo>
                  <a:lnTo>
                    <a:pt x="544" y="40"/>
                  </a:lnTo>
                  <a:lnTo>
                    <a:pt x="584" y="72"/>
                  </a:lnTo>
                  <a:lnTo>
                    <a:pt x="576" y="144"/>
                  </a:lnTo>
                  <a:lnTo>
                    <a:pt x="656" y="264"/>
                  </a:lnTo>
                  <a:lnTo>
                    <a:pt x="664" y="304"/>
                  </a:lnTo>
                  <a:lnTo>
                    <a:pt x="696" y="352"/>
                  </a:lnTo>
                  <a:lnTo>
                    <a:pt x="696" y="432"/>
                  </a:lnTo>
                  <a:lnTo>
                    <a:pt x="648" y="424"/>
                  </a:lnTo>
                  <a:lnTo>
                    <a:pt x="624" y="448"/>
                  </a:lnTo>
                  <a:lnTo>
                    <a:pt x="576" y="432"/>
                  </a:lnTo>
                  <a:lnTo>
                    <a:pt x="512" y="456"/>
                  </a:lnTo>
                  <a:lnTo>
                    <a:pt x="440" y="504"/>
                  </a:lnTo>
                  <a:lnTo>
                    <a:pt x="336" y="488"/>
                  </a:lnTo>
                  <a:lnTo>
                    <a:pt x="272" y="528"/>
                  </a:lnTo>
                  <a:lnTo>
                    <a:pt x="192" y="512"/>
                  </a:lnTo>
                  <a:lnTo>
                    <a:pt x="160" y="472"/>
                  </a:lnTo>
                  <a:lnTo>
                    <a:pt x="152" y="408"/>
                  </a:lnTo>
                  <a:lnTo>
                    <a:pt x="120" y="408"/>
                  </a:lnTo>
                  <a:close/>
                </a:path>
              </a:pathLst>
            </a:custGeom>
            <a:grpFill/>
            <a:ln w="9525">
              <a:solidFill>
                <a:schemeClr val="bg1"/>
              </a:solidFill>
              <a:round/>
              <a:headEnd/>
              <a:tailEnd/>
            </a:ln>
          </p:spPr>
          <p:txBody>
            <a:bodyPr/>
            <a:lstStyle/>
            <a:p>
              <a:endParaRPr lang="en-US"/>
            </a:p>
          </p:txBody>
        </p:sp>
        <p:sp>
          <p:nvSpPr>
            <p:cNvPr id="66" name="Freeform 10"/>
            <p:cNvSpPr>
              <a:spLocks/>
            </p:cNvSpPr>
            <p:nvPr/>
          </p:nvSpPr>
          <p:spPr bwMode="auto">
            <a:xfrm>
              <a:off x="4533033" y="3166708"/>
              <a:ext cx="603672" cy="785732"/>
            </a:xfrm>
            <a:custGeom>
              <a:avLst/>
              <a:gdLst>
                <a:gd name="T0" fmla="*/ 2147483646 w 504"/>
                <a:gd name="T1" fmla="*/ 2147483646 h 656"/>
                <a:gd name="T2" fmla="*/ 2147483646 w 504"/>
                <a:gd name="T3" fmla="*/ 2147483646 h 656"/>
                <a:gd name="T4" fmla="*/ 2147483646 w 504"/>
                <a:gd name="T5" fmla="*/ 2147483646 h 656"/>
                <a:gd name="T6" fmla="*/ 2147483646 w 504"/>
                <a:gd name="T7" fmla="*/ 2147483646 h 656"/>
                <a:gd name="T8" fmla="*/ 2147483646 w 504"/>
                <a:gd name="T9" fmla="*/ 2147483646 h 656"/>
                <a:gd name="T10" fmla="*/ 2147483646 w 504"/>
                <a:gd name="T11" fmla="*/ 2147483646 h 656"/>
                <a:gd name="T12" fmla="*/ 2147483646 w 504"/>
                <a:gd name="T13" fmla="*/ 2147483646 h 656"/>
                <a:gd name="T14" fmla="*/ 2147483646 w 504"/>
                <a:gd name="T15" fmla="*/ 2147483646 h 656"/>
                <a:gd name="T16" fmla="*/ 2147483646 w 504"/>
                <a:gd name="T17" fmla="*/ 0 h 656"/>
                <a:gd name="T18" fmla="*/ 2147483646 w 504"/>
                <a:gd name="T19" fmla="*/ 2147483646 h 656"/>
                <a:gd name="T20" fmla="*/ 2147483646 w 504"/>
                <a:gd name="T21" fmla="*/ 2147483646 h 656"/>
                <a:gd name="T22" fmla="*/ 2147483646 w 504"/>
                <a:gd name="T23" fmla="*/ 2147483646 h 656"/>
                <a:gd name="T24" fmla="*/ 2147483646 w 504"/>
                <a:gd name="T25" fmla="*/ 2147483646 h 656"/>
                <a:gd name="T26" fmla="*/ 2147483646 w 504"/>
                <a:gd name="T27" fmla="*/ 2147483646 h 656"/>
                <a:gd name="T28" fmla="*/ 0 w 504"/>
                <a:gd name="T29" fmla="*/ 2147483646 h 656"/>
                <a:gd name="T30" fmla="*/ 2147483646 w 504"/>
                <a:gd name="T31" fmla="*/ 2147483646 h 656"/>
                <a:gd name="T32" fmla="*/ 2147483646 w 504"/>
                <a:gd name="T33" fmla="*/ 2147483646 h 656"/>
                <a:gd name="T34" fmla="*/ 2147483646 w 504"/>
                <a:gd name="T35" fmla="*/ 2147483646 h 656"/>
                <a:gd name="T36" fmla="*/ 2147483646 w 504"/>
                <a:gd name="T37" fmla="*/ 2147483646 h 656"/>
                <a:gd name="T38" fmla="*/ 2147483646 w 504"/>
                <a:gd name="T39" fmla="*/ 2147483646 h 656"/>
                <a:gd name="T40" fmla="*/ 2147483646 w 504"/>
                <a:gd name="T41" fmla="*/ 2147483646 h 656"/>
                <a:gd name="T42" fmla="*/ 2147483646 w 504"/>
                <a:gd name="T43" fmla="*/ 2147483646 h 656"/>
                <a:gd name="T44" fmla="*/ 2147483646 w 504"/>
                <a:gd name="T45" fmla="*/ 2147483646 h 656"/>
                <a:gd name="T46" fmla="*/ 2147483646 w 504"/>
                <a:gd name="T47" fmla="*/ 2147483646 h 656"/>
                <a:gd name="T48" fmla="*/ 2147483646 w 504"/>
                <a:gd name="T49" fmla="*/ 2147483646 h 656"/>
                <a:gd name="T50" fmla="*/ 2147483646 w 504"/>
                <a:gd name="T51" fmla="*/ 2147483646 h 656"/>
                <a:gd name="T52" fmla="*/ 2147483646 w 504"/>
                <a:gd name="T53" fmla="*/ 2147483646 h 656"/>
                <a:gd name="T54" fmla="*/ 2147483646 w 504"/>
                <a:gd name="T55" fmla="*/ 2147483646 h 656"/>
                <a:gd name="T56" fmla="*/ 2147483646 w 504"/>
                <a:gd name="T57" fmla="*/ 2147483646 h 656"/>
                <a:gd name="T58" fmla="*/ 2147483646 w 504"/>
                <a:gd name="T59" fmla="*/ 2147483646 h 656"/>
                <a:gd name="T60" fmla="*/ 2147483646 w 504"/>
                <a:gd name="T61" fmla="*/ 2147483646 h 656"/>
                <a:gd name="T62" fmla="*/ 2147483646 w 504"/>
                <a:gd name="T63" fmla="*/ 2147483646 h 656"/>
                <a:gd name="T64" fmla="*/ 2147483646 w 504"/>
                <a:gd name="T65" fmla="*/ 2147483646 h 656"/>
                <a:gd name="T66" fmla="*/ 2147483646 w 504"/>
                <a:gd name="T67" fmla="*/ 2147483646 h 656"/>
                <a:gd name="T68" fmla="*/ 2147483646 w 504"/>
                <a:gd name="T69" fmla="*/ 2147483646 h 656"/>
                <a:gd name="T70" fmla="*/ 2147483646 w 504"/>
                <a:gd name="T71" fmla="*/ 2147483646 h 656"/>
                <a:gd name="T72" fmla="*/ 2147483646 w 504"/>
                <a:gd name="T73" fmla="*/ 2147483646 h 656"/>
                <a:gd name="T74" fmla="*/ 2147483646 w 504"/>
                <a:gd name="T75" fmla="*/ 2147483646 h 656"/>
                <a:gd name="T76" fmla="*/ 2147483646 w 504"/>
                <a:gd name="T77" fmla="*/ 2147483646 h 656"/>
                <a:gd name="T78" fmla="*/ 2147483646 w 504"/>
                <a:gd name="T79" fmla="*/ 2147483646 h 656"/>
                <a:gd name="T80" fmla="*/ 2147483646 w 504"/>
                <a:gd name="T81" fmla="*/ 2147483646 h 656"/>
                <a:gd name="T82" fmla="*/ 2147483646 w 504"/>
                <a:gd name="T83" fmla="*/ 2147483646 h 6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4"/>
                <a:gd name="T127" fmla="*/ 0 h 656"/>
                <a:gd name="T128" fmla="*/ 504 w 504"/>
                <a:gd name="T129" fmla="*/ 656 h 6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4" h="656">
                  <a:moveTo>
                    <a:pt x="432" y="88"/>
                  </a:moveTo>
                  <a:lnTo>
                    <a:pt x="392" y="96"/>
                  </a:lnTo>
                  <a:lnTo>
                    <a:pt x="360" y="72"/>
                  </a:lnTo>
                  <a:lnTo>
                    <a:pt x="344" y="120"/>
                  </a:lnTo>
                  <a:lnTo>
                    <a:pt x="304" y="80"/>
                  </a:lnTo>
                  <a:lnTo>
                    <a:pt x="296" y="24"/>
                  </a:lnTo>
                  <a:lnTo>
                    <a:pt x="256" y="64"/>
                  </a:lnTo>
                  <a:lnTo>
                    <a:pt x="240" y="8"/>
                  </a:lnTo>
                  <a:lnTo>
                    <a:pt x="200" y="0"/>
                  </a:lnTo>
                  <a:lnTo>
                    <a:pt x="200" y="48"/>
                  </a:lnTo>
                  <a:lnTo>
                    <a:pt x="136" y="80"/>
                  </a:lnTo>
                  <a:lnTo>
                    <a:pt x="96" y="40"/>
                  </a:lnTo>
                  <a:lnTo>
                    <a:pt x="64" y="72"/>
                  </a:lnTo>
                  <a:lnTo>
                    <a:pt x="8" y="80"/>
                  </a:lnTo>
                  <a:lnTo>
                    <a:pt x="0" y="112"/>
                  </a:lnTo>
                  <a:lnTo>
                    <a:pt x="8" y="152"/>
                  </a:lnTo>
                  <a:lnTo>
                    <a:pt x="48" y="184"/>
                  </a:lnTo>
                  <a:lnTo>
                    <a:pt x="40" y="256"/>
                  </a:lnTo>
                  <a:lnTo>
                    <a:pt x="120" y="376"/>
                  </a:lnTo>
                  <a:lnTo>
                    <a:pt x="128" y="416"/>
                  </a:lnTo>
                  <a:lnTo>
                    <a:pt x="160" y="464"/>
                  </a:lnTo>
                  <a:lnTo>
                    <a:pt x="160" y="544"/>
                  </a:lnTo>
                  <a:lnTo>
                    <a:pt x="160" y="584"/>
                  </a:lnTo>
                  <a:lnTo>
                    <a:pt x="184" y="592"/>
                  </a:lnTo>
                  <a:lnTo>
                    <a:pt x="184" y="656"/>
                  </a:lnTo>
                  <a:lnTo>
                    <a:pt x="232" y="624"/>
                  </a:lnTo>
                  <a:lnTo>
                    <a:pt x="240" y="576"/>
                  </a:lnTo>
                  <a:lnTo>
                    <a:pt x="312" y="568"/>
                  </a:lnTo>
                  <a:lnTo>
                    <a:pt x="344" y="536"/>
                  </a:lnTo>
                  <a:lnTo>
                    <a:pt x="376" y="568"/>
                  </a:lnTo>
                  <a:lnTo>
                    <a:pt x="456" y="576"/>
                  </a:lnTo>
                  <a:lnTo>
                    <a:pt x="464" y="528"/>
                  </a:lnTo>
                  <a:lnTo>
                    <a:pt x="432" y="496"/>
                  </a:lnTo>
                  <a:lnTo>
                    <a:pt x="456" y="464"/>
                  </a:lnTo>
                  <a:lnTo>
                    <a:pt x="480" y="440"/>
                  </a:lnTo>
                  <a:lnTo>
                    <a:pt x="472" y="416"/>
                  </a:lnTo>
                  <a:lnTo>
                    <a:pt x="504" y="344"/>
                  </a:lnTo>
                  <a:lnTo>
                    <a:pt x="472" y="312"/>
                  </a:lnTo>
                  <a:lnTo>
                    <a:pt x="496" y="248"/>
                  </a:lnTo>
                  <a:lnTo>
                    <a:pt x="488" y="208"/>
                  </a:lnTo>
                  <a:lnTo>
                    <a:pt x="456" y="152"/>
                  </a:lnTo>
                  <a:lnTo>
                    <a:pt x="432" y="88"/>
                  </a:lnTo>
                  <a:close/>
                </a:path>
              </a:pathLst>
            </a:custGeom>
            <a:grpFill/>
            <a:ln w="9525">
              <a:solidFill>
                <a:schemeClr val="bg1"/>
              </a:solidFill>
              <a:round/>
              <a:headEnd/>
              <a:tailEnd/>
            </a:ln>
          </p:spPr>
          <p:txBody>
            <a:bodyPr/>
            <a:lstStyle/>
            <a:p>
              <a:endParaRPr lang="en-US"/>
            </a:p>
          </p:txBody>
        </p:sp>
        <p:sp>
          <p:nvSpPr>
            <p:cNvPr id="67" name="Freeform 11"/>
            <p:cNvSpPr>
              <a:spLocks/>
            </p:cNvSpPr>
            <p:nvPr/>
          </p:nvSpPr>
          <p:spPr bwMode="auto">
            <a:xfrm>
              <a:off x="2289823" y="2344157"/>
              <a:ext cx="1092360" cy="546181"/>
            </a:xfrm>
            <a:custGeom>
              <a:avLst/>
              <a:gdLst>
                <a:gd name="T0" fmla="*/ 2147483646 w 912"/>
                <a:gd name="T1" fmla="*/ 2147483646 h 456"/>
                <a:gd name="T2" fmla="*/ 2147483646 w 912"/>
                <a:gd name="T3" fmla="*/ 2147483646 h 456"/>
                <a:gd name="T4" fmla="*/ 2147483646 w 912"/>
                <a:gd name="T5" fmla="*/ 2147483646 h 456"/>
                <a:gd name="T6" fmla="*/ 2147483646 w 912"/>
                <a:gd name="T7" fmla="*/ 2147483646 h 456"/>
                <a:gd name="T8" fmla="*/ 2147483646 w 912"/>
                <a:gd name="T9" fmla="*/ 2147483646 h 456"/>
                <a:gd name="T10" fmla="*/ 2147483646 w 912"/>
                <a:gd name="T11" fmla="*/ 2147483646 h 456"/>
                <a:gd name="T12" fmla="*/ 2147483646 w 912"/>
                <a:gd name="T13" fmla="*/ 2147483646 h 456"/>
                <a:gd name="T14" fmla="*/ 2147483646 w 912"/>
                <a:gd name="T15" fmla="*/ 2147483646 h 456"/>
                <a:gd name="T16" fmla="*/ 2147483646 w 912"/>
                <a:gd name="T17" fmla="*/ 2147483646 h 456"/>
                <a:gd name="T18" fmla="*/ 2147483646 w 912"/>
                <a:gd name="T19" fmla="*/ 2147483646 h 456"/>
                <a:gd name="T20" fmla="*/ 2147483646 w 912"/>
                <a:gd name="T21" fmla="*/ 2147483646 h 456"/>
                <a:gd name="T22" fmla="*/ 2147483646 w 912"/>
                <a:gd name="T23" fmla="*/ 2147483646 h 456"/>
                <a:gd name="T24" fmla="*/ 2147483646 w 912"/>
                <a:gd name="T25" fmla="*/ 2147483646 h 456"/>
                <a:gd name="T26" fmla="*/ 2147483646 w 912"/>
                <a:gd name="T27" fmla="*/ 2147483646 h 456"/>
                <a:gd name="T28" fmla="*/ 2147483646 w 912"/>
                <a:gd name="T29" fmla="*/ 2147483646 h 456"/>
                <a:gd name="T30" fmla="*/ 2147483646 w 912"/>
                <a:gd name="T31" fmla="*/ 2147483646 h 456"/>
                <a:gd name="T32" fmla="*/ 2147483646 w 912"/>
                <a:gd name="T33" fmla="*/ 2147483646 h 456"/>
                <a:gd name="T34" fmla="*/ 2147483646 w 912"/>
                <a:gd name="T35" fmla="*/ 2147483646 h 456"/>
                <a:gd name="T36" fmla="*/ 2147483646 w 912"/>
                <a:gd name="T37" fmla="*/ 2147483646 h 456"/>
                <a:gd name="T38" fmla="*/ 0 w 912"/>
                <a:gd name="T39" fmla="*/ 2147483646 h 456"/>
                <a:gd name="T40" fmla="*/ 0 w 912"/>
                <a:gd name="T41" fmla="*/ 2147483646 h 456"/>
                <a:gd name="T42" fmla="*/ 2147483646 w 912"/>
                <a:gd name="T43" fmla="*/ 2147483646 h 456"/>
                <a:gd name="T44" fmla="*/ 2147483646 w 912"/>
                <a:gd name="T45" fmla="*/ 2147483646 h 456"/>
                <a:gd name="T46" fmla="*/ 2147483646 w 912"/>
                <a:gd name="T47" fmla="*/ 2147483646 h 456"/>
                <a:gd name="T48" fmla="*/ 2147483646 w 912"/>
                <a:gd name="T49" fmla="*/ 2147483646 h 456"/>
                <a:gd name="T50" fmla="*/ 2147483646 w 912"/>
                <a:gd name="T51" fmla="*/ 2147483646 h 456"/>
                <a:gd name="T52" fmla="*/ 2147483646 w 912"/>
                <a:gd name="T53" fmla="*/ 2147483646 h 456"/>
                <a:gd name="T54" fmla="*/ 2147483646 w 912"/>
                <a:gd name="T55" fmla="*/ 2147483646 h 456"/>
                <a:gd name="T56" fmla="*/ 2147483646 w 912"/>
                <a:gd name="T57" fmla="*/ 2147483646 h 456"/>
                <a:gd name="T58" fmla="*/ 2147483646 w 912"/>
                <a:gd name="T59" fmla="*/ 2147483646 h 456"/>
                <a:gd name="T60" fmla="*/ 2147483646 w 912"/>
                <a:gd name="T61" fmla="*/ 2147483646 h 456"/>
                <a:gd name="T62" fmla="*/ 2147483646 w 912"/>
                <a:gd name="T63" fmla="*/ 2147483646 h 456"/>
                <a:gd name="T64" fmla="*/ 2147483646 w 912"/>
                <a:gd name="T65" fmla="*/ 0 h 456"/>
                <a:gd name="T66" fmla="*/ 2147483646 w 912"/>
                <a:gd name="T67" fmla="*/ 2147483646 h 456"/>
                <a:gd name="T68" fmla="*/ 2147483646 w 912"/>
                <a:gd name="T69" fmla="*/ 2147483646 h 456"/>
                <a:gd name="T70" fmla="*/ 2147483646 w 912"/>
                <a:gd name="T71" fmla="*/ 2147483646 h 456"/>
                <a:gd name="T72" fmla="*/ 2147483646 w 912"/>
                <a:gd name="T73" fmla="*/ 2147483646 h 456"/>
                <a:gd name="T74" fmla="*/ 2147483646 w 912"/>
                <a:gd name="T75" fmla="*/ 2147483646 h 456"/>
                <a:gd name="T76" fmla="*/ 2147483646 w 912"/>
                <a:gd name="T77" fmla="*/ 2147483646 h 456"/>
                <a:gd name="T78" fmla="*/ 2147483646 w 912"/>
                <a:gd name="T79" fmla="*/ 2147483646 h 456"/>
                <a:gd name="T80" fmla="*/ 2147483646 w 912"/>
                <a:gd name="T81" fmla="*/ 2147483646 h 456"/>
                <a:gd name="T82" fmla="*/ 2147483646 w 912"/>
                <a:gd name="T83" fmla="*/ 2147483646 h 456"/>
                <a:gd name="T84" fmla="*/ 2147483646 w 912"/>
                <a:gd name="T85" fmla="*/ 2147483646 h 456"/>
                <a:gd name="T86" fmla="*/ 2147483646 w 912"/>
                <a:gd name="T87" fmla="*/ 2147483646 h 456"/>
                <a:gd name="T88" fmla="*/ 2147483646 w 912"/>
                <a:gd name="T89" fmla="*/ 2147483646 h 456"/>
                <a:gd name="T90" fmla="*/ 2147483646 w 912"/>
                <a:gd name="T91" fmla="*/ 2147483646 h 456"/>
                <a:gd name="T92" fmla="*/ 2147483646 w 912"/>
                <a:gd name="T93" fmla="*/ 2147483646 h 456"/>
                <a:gd name="T94" fmla="*/ 2147483646 w 912"/>
                <a:gd name="T95" fmla="*/ 2147483646 h 456"/>
                <a:gd name="T96" fmla="*/ 2147483646 w 912"/>
                <a:gd name="T97" fmla="*/ 214748364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12"/>
                <a:gd name="T148" fmla="*/ 0 h 456"/>
                <a:gd name="T149" fmla="*/ 912 w 912"/>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12" h="456">
                  <a:moveTo>
                    <a:pt x="888" y="200"/>
                  </a:moveTo>
                  <a:lnTo>
                    <a:pt x="912" y="256"/>
                  </a:lnTo>
                  <a:lnTo>
                    <a:pt x="880" y="288"/>
                  </a:lnTo>
                  <a:lnTo>
                    <a:pt x="776" y="312"/>
                  </a:lnTo>
                  <a:lnTo>
                    <a:pt x="672" y="288"/>
                  </a:lnTo>
                  <a:lnTo>
                    <a:pt x="616" y="280"/>
                  </a:lnTo>
                  <a:lnTo>
                    <a:pt x="592" y="296"/>
                  </a:lnTo>
                  <a:lnTo>
                    <a:pt x="568" y="296"/>
                  </a:lnTo>
                  <a:lnTo>
                    <a:pt x="544" y="336"/>
                  </a:lnTo>
                  <a:lnTo>
                    <a:pt x="496" y="344"/>
                  </a:lnTo>
                  <a:lnTo>
                    <a:pt x="488" y="392"/>
                  </a:lnTo>
                  <a:lnTo>
                    <a:pt x="448" y="432"/>
                  </a:lnTo>
                  <a:lnTo>
                    <a:pt x="376" y="448"/>
                  </a:lnTo>
                  <a:lnTo>
                    <a:pt x="328" y="456"/>
                  </a:lnTo>
                  <a:lnTo>
                    <a:pt x="312" y="408"/>
                  </a:lnTo>
                  <a:lnTo>
                    <a:pt x="240" y="424"/>
                  </a:lnTo>
                  <a:lnTo>
                    <a:pt x="152" y="408"/>
                  </a:lnTo>
                  <a:lnTo>
                    <a:pt x="120" y="376"/>
                  </a:lnTo>
                  <a:lnTo>
                    <a:pt x="64" y="408"/>
                  </a:lnTo>
                  <a:lnTo>
                    <a:pt x="0" y="408"/>
                  </a:lnTo>
                  <a:lnTo>
                    <a:pt x="0" y="368"/>
                  </a:lnTo>
                  <a:lnTo>
                    <a:pt x="32" y="360"/>
                  </a:lnTo>
                  <a:lnTo>
                    <a:pt x="24" y="312"/>
                  </a:lnTo>
                  <a:lnTo>
                    <a:pt x="72" y="264"/>
                  </a:lnTo>
                  <a:lnTo>
                    <a:pt x="136" y="296"/>
                  </a:lnTo>
                  <a:lnTo>
                    <a:pt x="144" y="232"/>
                  </a:lnTo>
                  <a:lnTo>
                    <a:pt x="168" y="192"/>
                  </a:lnTo>
                  <a:lnTo>
                    <a:pt x="96" y="184"/>
                  </a:lnTo>
                  <a:lnTo>
                    <a:pt x="104" y="152"/>
                  </a:lnTo>
                  <a:lnTo>
                    <a:pt x="256" y="128"/>
                  </a:lnTo>
                  <a:lnTo>
                    <a:pt x="296" y="56"/>
                  </a:lnTo>
                  <a:lnTo>
                    <a:pt x="248" y="40"/>
                  </a:lnTo>
                  <a:lnTo>
                    <a:pt x="248" y="0"/>
                  </a:lnTo>
                  <a:lnTo>
                    <a:pt x="296" y="24"/>
                  </a:lnTo>
                  <a:lnTo>
                    <a:pt x="352" y="16"/>
                  </a:lnTo>
                  <a:lnTo>
                    <a:pt x="384" y="64"/>
                  </a:lnTo>
                  <a:lnTo>
                    <a:pt x="432" y="40"/>
                  </a:lnTo>
                  <a:lnTo>
                    <a:pt x="504" y="72"/>
                  </a:lnTo>
                  <a:lnTo>
                    <a:pt x="520" y="64"/>
                  </a:lnTo>
                  <a:lnTo>
                    <a:pt x="552" y="88"/>
                  </a:lnTo>
                  <a:lnTo>
                    <a:pt x="584" y="56"/>
                  </a:lnTo>
                  <a:lnTo>
                    <a:pt x="608" y="72"/>
                  </a:lnTo>
                  <a:lnTo>
                    <a:pt x="632" y="40"/>
                  </a:lnTo>
                  <a:lnTo>
                    <a:pt x="704" y="48"/>
                  </a:lnTo>
                  <a:lnTo>
                    <a:pt x="752" y="88"/>
                  </a:lnTo>
                  <a:lnTo>
                    <a:pt x="744" y="112"/>
                  </a:lnTo>
                  <a:lnTo>
                    <a:pt x="816" y="152"/>
                  </a:lnTo>
                  <a:lnTo>
                    <a:pt x="848" y="208"/>
                  </a:lnTo>
                  <a:lnTo>
                    <a:pt x="888" y="200"/>
                  </a:lnTo>
                  <a:close/>
                </a:path>
              </a:pathLst>
            </a:custGeom>
            <a:grpFill/>
            <a:ln w="9525">
              <a:solidFill>
                <a:schemeClr val="bg1"/>
              </a:solidFill>
              <a:round/>
              <a:headEnd/>
              <a:tailEnd/>
            </a:ln>
          </p:spPr>
          <p:txBody>
            <a:bodyPr/>
            <a:lstStyle/>
            <a:p>
              <a:endParaRPr lang="en-US"/>
            </a:p>
          </p:txBody>
        </p:sp>
        <p:sp>
          <p:nvSpPr>
            <p:cNvPr id="68" name="Freeform 12"/>
            <p:cNvSpPr>
              <a:spLocks/>
            </p:cNvSpPr>
            <p:nvPr/>
          </p:nvSpPr>
          <p:spPr bwMode="auto">
            <a:xfrm>
              <a:off x="2781821" y="2679838"/>
              <a:ext cx="632419" cy="680329"/>
            </a:xfrm>
            <a:custGeom>
              <a:avLst/>
              <a:gdLst>
                <a:gd name="T0" fmla="*/ 2147483646 w 528"/>
                <a:gd name="T1" fmla="*/ 2147483646 h 568"/>
                <a:gd name="T2" fmla="*/ 2147483646 w 528"/>
                <a:gd name="T3" fmla="*/ 2147483646 h 568"/>
                <a:gd name="T4" fmla="*/ 2147483646 w 528"/>
                <a:gd name="T5" fmla="*/ 2147483646 h 568"/>
                <a:gd name="T6" fmla="*/ 2147483646 w 528"/>
                <a:gd name="T7" fmla="*/ 2147483646 h 568"/>
                <a:gd name="T8" fmla="*/ 2147483646 w 528"/>
                <a:gd name="T9" fmla="*/ 2147483646 h 568"/>
                <a:gd name="T10" fmla="*/ 2147483646 w 528"/>
                <a:gd name="T11" fmla="*/ 2147483646 h 568"/>
                <a:gd name="T12" fmla="*/ 2147483646 w 528"/>
                <a:gd name="T13" fmla="*/ 2147483646 h 568"/>
                <a:gd name="T14" fmla="*/ 2147483646 w 528"/>
                <a:gd name="T15" fmla="*/ 2147483646 h 568"/>
                <a:gd name="T16" fmla="*/ 2147483646 w 528"/>
                <a:gd name="T17" fmla="*/ 2147483646 h 568"/>
                <a:gd name="T18" fmla="*/ 2147483646 w 528"/>
                <a:gd name="T19" fmla="*/ 2147483646 h 568"/>
                <a:gd name="T20" fmla="*/ 2147483646 w 528"/>
                <a:gd name="T21" fmla="*/ 2147483646 h 568"/>
                <a:gd name="T22" fmla="*/ 2147483646 w 528"/>
                <a:gd name="T23" fmla="*/ 2147483646 h 568"/>
                <a:gd name="T24" fmla="*/ 2147483646 w 528"/>
                <a:gd name="T25" fmla="*/ 2147483646 h 568"/>
                <a:gd name="T26" fmla="*/ 2147483646 w 528"/>
                <a:gd name="T27" fmla="*/ 2147483646 h 568"/>
                <a:gd name="T28" fmla="*/ 2147483646 w 528"/>
                <a:gd name="T29" fmla="*/ 2147483646 h 568"/>
                <a:gd name="T30" fmla="*/ 2147483646 w 528"/>
                <a:gd name="T31" fmla="*/ 2147483646 h 568"/>
                <a:gd name="T32" fmla="*/ 2147483646 w 528"/>
                <a:gd name="T33" fmla="*/ 2147483646 h 568"/>
                <a:gd name="T34" fmla="*/ 2147483646 w 528"/>
                <a:gd name="T35" fmla="*/ 2147483646 h 568"/>
                <a:gd name="T36" fmla="*/ 2147483646 w 528"/>
                <a:gd name="T37" fmla="*/ 2147483646 h 568"/>
                <a:gd name="T38" fmla="*/ 2147483646 w 528"/>
                <a:gd name="T39" fmla="*/ 2147483646 h 568"/>
                <a:gd name="T40" fmla="*/ 2147483646 w 528"/>
                <a:gd name="T41" fmla="*/ 2147483646 h 568"/>
                <a:gd name="T42" fmla="*/ 2147483646 w 528"/>
                <a:gd name="T43" fmla="*/ 2147483646 h 568"/>
                <a:gd name="T44" fmla="*/ 2147483646 w 528"/>
                <a:gd name="T45" fmla="*/ 2147483646 h 568"/>
                <a:gd name="T46" fmla="*/ 0 w 528"/>
                <a:gd name="T47" fmla="*/ 2147483646 h 568"/>
                <a:gd name="T48" fmla="*/ 2147483646 w 528"/>
                <a:gd name="T49" fmla="*/ 2147483646 h 568"/>
                <a:gd name="T50" fmla="*/ 2147483646 w 528"/>
                <a:gd name="T51" fmla="*/ 2147483646 h 568"/>
                <a:gd name="T52" fmla="*/ 2147483646 w 528"/>
                <a:gd name="T53" fmla="*/ 2147483646 h 568"/>
                <a:gd name="T54" fmla="*/ 2147483646 w 528"/>
                <a:gd name="T55" fmla="*/ 2147483646 h 568"/>
                <a:gd name="T56" fmla="*/ 2147483646 w 528"/>
                <a:gd name="T57" fmla="*/ 2147483646 h 568"/>
                <a:gd name="T58" fmla="*/ 2147483646 w 528"/>
                <a:gd name="T59" fmla="*/ 2147483646 h 568"/>
                <a:gd name="T60" fmla="*/ 2147483646 w 528"/>
                <a:gd name="T61" fmla="*/ 2147483646 h 568"/>
                <a:gd name="T62" fmla="*/ 2147483646 w 528"/>
                <a:gd name="T63" fmla="*/ 2147483646 h 568"/>
                <a:gd name="T64" fmla="*/ 2147483646 w 528"/>
                <a:gd name="T65" fmla="*/ 0 h 568"/>
                <a:gd name="T66" fmla="*/ 2147483646 w 528"/>
                <a:gd name="T67" fmla="*/ 2147483646 h 568"/>
                <a:gd name="T68" fmla="*/ 2147483646 w 528"/>
                <a:gd name="T69" fmla="*/ 2147483646 h 568"/>
                <a:gd name="T70" fmla="*/ 2147483646 w 528"/>
                <a:gd name="T71" fmla="*/ 2147483646 h 5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8"/>
                <a:gd name="T109" fmla="*/ 0 h 568"/>
                <a:gd name="T110" fmla="*/ 528 w 528"/>
                <a:gd name="T111" fmla="*/ 568 h 5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8" h="568">
                  <a:moveTo>
                    <a:pt x="472" y="8"/>
                  </a:moveTo>
                  <a:lnTo>
                    <a:pt x="512" y="32"/>
                  </a:lnTo>
                  <a:lnTo>
                    <a:pt x="528" y="72"/>
                  </a:lnTo>
                  <a:lnTo>
                    <a:pt x="520" y="104"/>
                  </a:lnTo>
                  <a:lnTo>
                    <a:pt x="480" y="104"/>
                  </a:lnTo>
                  <a:lnTo>
                    <a:pt x="504" y="152"/>
                  </a:lnTo>
                  <a:lnTo>
                    <a:pt x="480" y="200"/>
                  </a:lnTo>
                  <a:lnTo>
                    <a:pt x="504" y="240"/>
                  </a:lnTo>
                  <a:lnTo>
                    <a:pt x="488" y="304"/>
                  </a:lnTo>
                  <a:lnTo>
                    <a:pt x="408" y="336"/>
                  </a:lnTo>
                  <a:lnTo>
                    <a:pt x="376" y="384"/>
                  </a:lnTo>
                  <a:lnTo>
                    <a:pt x="376" y="440"/>
                  </a:lnTo>
                  <a:lnTo>
                    <a:pt x="328" y="424"/>
                  </a:lnTo>
                  <a:lnTo>
                    <a:pt x="264" y="472"/>
                  </a:lnTo>
                  <a:lnTo>
                    <a:pt x="272" y="528"/>
                  </a:lnTo>
                  <a:lnTo>
                    <a:pt x="224" y="568"/>
                  </a:lnTo>
                  <a:lnTo>
                    <a:pt x="168" y="560"/>
                  </a:lnTo>
                  <a:lnTo>
                    <a:pt x="112" y="544"/>
                  </a:lnTo>
                  <a:lnTo>
                    <a:pt x="120" y="464"/>
                  </a:lnTo>
                  <a:lnTo>
                    <a:pt x="88" y="432"/>
                  </a:lnTo>
                  <a:lnTo>
                    <a:pt x="104" y="360"/>
                  </a:lnTo>
                  <a:lnTo>
                    <a:pt x="72" y="328"/>
                  </a:lnTo>
                  <a:lnTo>
                    <a:pt x="40" y="280"/>
                  </a:lnTo>
                  <a:lnTo>
                    <a:pt x="0" y="280"/>
                  </a:lnTo>
                  <a:lnTo>
                    <a:pt x="8" y="224"/>
                  </a:lnTo>
                  <a:lnTo>
                    <a:pt x="56" y="192"/>
                  </a:lnTo>
                  <a:lnTo>
                    <a:pt x="40" y="152"/>
                  </a:lnTo>
                  <a:lnTo>
                    <a:pt x="80" y="112"/>
                  </a:lnTo>
                  <a:lnTo>
                    <a:pt x="88" y="64"/>
                  </a:lnTo>
                  <a:lnTo>
                    <a:pt x="136" y="56"/>
                  </a:lnTo>
                  <a:lnTo>
                    <a:pt x="160" y="16"/>
                  </a:lnTo>
                  <a:lnTo>
                    <a:pt x="184" y="16"/>
                  </a:lnTo>
                  <a:lnTo>
                    <a:pt x="208" y="0"/>
                  </a:lnTo>
                  <a:lnTo>
                    <a:pt x="272" y="8"/>
                  </a:lnTo>
                  <a:lnTo>
                    <a:pt x="368" y="32"/>
                  </a:lnTo>
                  <a:lnTo>
                    <a:pt x="472" y="8"/>
                  </a:lnTo>
                  <a:close/>
                </a:path>
              </a:pathLst>
            </a:custGeom>
            <a:grpFill/>
            <a:ln w="9525">
              <a:solidFill>
                <a:schemeClr val="bg1"/>
              </a:solidFill>
              <a:round/>
              <a:headEnd/>
              <a:tailEnd/>
            </a:ln>
          </p:spPr>
          <p:txBody>
            <a:bodyPr/>
            <a:lstStyle/>
            <a:p>
              <a:endParaRPr lang="en-US"/>
            </a:p>
          </p:txBody>
        </p:sp>
        <p:sp>
          <p:nvSpPr>
            <p:cNvPr id="69" name="Freeform 13"/>
            <p:cNvSpPr>
              <a:spLocks/>
            </p:cNvSpPr>
            <p:nvPr/>
          </p:nvSpPr>
          <p:spPr bwMode="auto">
            <a:xfrm>
              <a:off x="2778653" y="3029856"/>
              <a:ext cx="766567" cy="833642"/>
            </a:xfrm>
            <a:custGeom>
              <a:avLst/>
              <a:gdLst>
                <a:gd name="T0" fmla="*/ 2147483646 w 640"/>
                <a:gd name="T1" fmla="*/ 2147483646 h 696"/>
                <a:gd name="T2" fmla="*/ 2147483646 w 640"/>
                <a:gd name="T3" fmla="*/ 2147483646 h 696"/>
                <a:gd name="T4" fmla="*/ 2147483646 w 640"/>
                <a:gd name="T5" fmla="*/ 2147483646 h 696"/>
                <a:gd name="T6" fmla="*/ 2147483646 w 640"/>
                <a:gd name="T7" fmla="*/ 2147483646 h 696"/>
                <a:gd name="T8" fmla="*/ 2147483646 w 640"/>
                <a:gd name="T9" fmla="*/ 2147483646 h 696"/>
                <a:gd name="T10" fmla="*/ 2147483646 w 640"/>
                <a:gd name="T11" fmla="*/ 2147483646 h 696"/>
                <a:gd name="T12" fmla="*/ 2147483646 w 640"/>
                <a:gd name="T13" fmla="*/ 2147483646 h 696"/>
                <a:gd name="T14" fmla="*/ 2147483646 w 640"/>
                <a:gd name="T15" fmla="*/ 2147483646 h 696"/>
                <a:gd name="T16" fmla="*/ 2147483646 w 640"/>
                <a:gd name="T17" fmla="*/ 2147483646 h 696"/>
                <a:gd name="T18" fmla="*/ 2147483646 w 640"/>
                <a:gd name="T19" fmla="*/ 2147483646 h 696"/>
                <a:gd name="T20" fmla="*/ 2147483646 w 640"/>
                <a:gd name="T21" fmla="*/ 2147483646 h 696"/>
                <a:gd name="T22" fmla="*/ 2147483646 w 640"/>
                <a:gd name="T23" fmla="*/ 2147483646 h 696"/>
                <a:gd name="T24" fmla="*/ 2147483646 w 640"/>
                <a:gd name="T25" fmla="*/ 2147483646 h 696"/>
                <a:gd name="T26" fmla="*/ 2147483646 w 640"/>
                <a:gd name="T27" fmla="*/ 2147483646 h 696"/>
                <a:gd name="T28" fmla="*/ 2147483646 w 640"/>
                <a:gd name="T29" fmla="*/ 0 h 696"/>
                <a:gd name="T30" fmla="*/ 2147483646 w 640"/>
                <a:gd name="T31" fmla="*/ 2147483646 h 696"/>
                <a:gd name="T32" fmla="*/ 2147483646 w 640"/>
                <a:gd name="T33" fmla="*/ 2147483646 h 696"/>
                <a:gd name="T34" fmla="*/ 2147483646 w 640"/>
                <a:gd name="T35" fmla="*/ 2147483646 h 696"/>
                <a:gd name="T36" fmla="*/ 2147483646 w 640"/>
                <a:gd name="T37" fmla="*/ 2147483646 h 696"/>
                <a:gd name="T38" fmla="*/ 2147483646 w 640"/>
                <a:gd name="T39" fmla="*/ 2147483646 h 696"/>
                <a:gd name="T40" fmla="*/ 2147483646 w 640"/>
                <a:gd name="T41" fmla="*/ 2147483646 h 696"/>
                <a:gd name="T42" fmla="*/ 2147483646 w 640"/>
                <a:gd name="T43" fmla="*/ 2147483646 h 696"/>
                <a:gd name="T44" fmla="*/ 2147483646 w 640"/>
                <a:gd name="T45" fmla="*/ 2147483646 h 696"/>
                <a:gd name="T46" fmla="*/ 2147483646 w 640"/>
                <a:gd name="T47" fmla="*/ 2147483646 h 696"/>
                <a:gd name="T48" fmla="*/ 2147483646 w 640"/>
                <a:gd name="T49" fmla="*/ 2147483646 h 696"/>
                <a:gd name="T50" fmla="*/ 2147483646 w 640"/>
                <a:gd name="T51" fmla="*/ 2147483646 h 696"/>
                <a:gd name="T52" fmla="*/ 2147483646 w 640"/>
                <a:gd name="T53" fmla="*/ 2147483646 h 696"/>
                <a:gd name="T54" fmla="*/ 2147483646 w 640"/>
                <a:gd name="T55" fmla="*/ 2147483646 h 696"/>
                <a:gd name="T56" fmla="*/ 2147483646 w 640"/>
                <a:gd name="T57" fmla="*/ 2147483646 h 696"/>
                <a:gd name="T58" fmla="*/ 2147483646 w 640"/>
                <a:gd name="T59" fmla="*/ 2147483646 h 696"/>
                <a:gd name="T60" fmla="*/ 2147483646 w 640"/>
                <a:gd name="T61" fmla="*/ 2147483646 h 696"/>
                <a:gd name="T62" fmla="*/ 2147483646 w 640"/>
                <a:gd name="T63" fmla="*/ 2147483646 h 696"/>
                <a:gd name="T64" fmla="*/ 0 w 640"/>
                <a:gd name="T65" fmla="*/ 2147483646 h 696"/>
                <a:gd name="T66" fmla="*/ 2147483646 w 640"/>
                <a:gd name="T67" fmla="*/ 2147483646 h 696"/>
                <a:gd name="T68" fmla="*/ 2147483646 w 640"/>
                <a:gd name="T69" fmla="*/ 2147483646 h 696"/>
                <a:gd name="T70" fmla="*/ 2147483646 w 640"/>
                <a:gd name="T71" fmla="*/ 2147483646 h 696"/>
                <a:gd name="T72" fmla="*/ 2147483646 w 640"/>
                <a:gd name="T73" fmla="*/ 2147483646 h 696"/>
                <a:gd name="T74" fmla="*/ 2147483646 w 640"/>
                <a:gd name="T75" fmla="*/ 2147483646 h 696"/>
                <a:gd name="T76" fmla="*/ 2147483646 w 640"/>
                <a:gd name="T77" fmla="*/ 2147483646 h 696"/>
                <a:gd name="T78" fmla="*/ 2147483646 w 640"/>
                <a:gd name="T79" fmla="*/ 2147483646 h 696"/>
                <a:gd name="T80" fmla="*/ 2147483646 w 640"/>
                <a:gd name="T81" fmla="*/ 2147483646 h 696"/>
                <a:gd name="T82" fmla="*/ 2147483646 w 640"/>
                <a:gd name="T83" fmla="*/ 2147483646 h 696"/>
                <a:gd name="T84" fmla="*/ 2147483646 w 640"/>
                <a:gd name="T85" fmla="*/ 2147483646 h 696"/>
                <a:gd name="T86" fmla="*/ 2147483646 w 640"/>
                <a:gd name="T87" fmla="*/ 2147483646 h 696"/>
                <a:gd name="T88" fmla="*/ 2147483646 w 640"/>
                <a:gd name="T89" fmla="*/ 2147483646 h 696"/>
                <a:gd name="T90" fmla="*/ 2147483646 w 640"/>
                <a:gd name="T91" fmla="*/ 2147483646 h 696"/>
                <a:gd name="T92" fmla="*/ 2147483646 w 640"/>
                <a:gd name="T93" fmla="*/ 2147483646 h 696"/>
                <a:gd name="T94" fmla="*/ 2147483646 w 640"/>
                <a:gd name="T95" fmla="*/ 2147483646 h 696"/>
                <a:gd name="T96" fmla="*/ 2147483646 w 640"/>
                <a:gd name="T97" fmla="*/ 2147483646 h 696"/>
                <a:gd name="T98" fmla="*/ 2147483646 w 640"/>
                <a:gd name="T99" fmla="*/ 2147483646 h 6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0"/>
                <a:gd name="T151" fmla="*/ 0 h 696"/>
                <a:gd name="T152" fmla="*/ 640 w 640"/>
                <a:gd name="T153" fmla="*/ 696 h 6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0" h="696">
                  <a:moveTo>
                    <a:pt x="552" y="640"/>
                  </a:moveTo>
                  <a:lnTo>
                    <a:pt x="472" y="608"/>
                  </a:lnTo>
                  <a:lnTo>
                    <a:pt x="432" y="528"/>
                  </a:lnTo>
                  <a:lnTo>
                    <a:pt x="464" y="520"/>
                  </a:lnTo>
                  <a:lnTo>
                    <a:pt x="464" y="472"/>
                  </a:lnTo>
                  <a:lnTo>
                    <a:pt x="544" y="400"/>
                  </a:lnTo>
                  <a:lnTo>
                    <a:pt x="544" y="368"/>
                  </a:lnTo>
                  <a:lnTo>
                    <a:pt x="592" y="352"/>
                  </a:lnTo>
                  <a:lnTo>
                    <a:pt x="608" y="304"/>
                  </a:lnTo>
                  <a:lnTo>
                    <a:pt x="640" y="288"/>
                  </a:lnTo>
                  <a:lnTo>
                    <a:pt x="600" y="192"/>
                  </a:lnTo>
                  <a:lnTo>
                    <a:pt x="632" y="128"/>
                  </a:lnTo>
                  <a:lnTo>
                    <a:pt x="624" y="80"/>
                  </a:lnTo>
                  <a:lnTo>
                    <a:pt x="608" y="32"/>
                  </a:lnTo>
                  <a:lnTo>
                    <a:pt x="568" y="0"/>
                  </a:lnTo>
                  <a:lnTo>
                    <a:pt x="528" y="24"/>
                  </a:lnTo>
                  <a:lnTo>
                    <a:pt x="488" y="8"/>
                  </a:lnTo>
                  <a:lnTo>
                    <a:pt x="408" y="40"/>
                  </a:lnTo>
                  <a:lnTo>
                    <a:pt x="376" y="88"/>
                  </a:lnTo>
                  <a:lnTo>
                    <a:pt x="376" y="144"/>
                  </a:lnTo>
                  <a:lnTo>
                    <a:pt x="328" y="128"/>
                  </a:lnTo>
                  <a:lnTo>
                    <a:pt x="264" y="176"/>
                  </a:lnTo>
                  <a:lnTo>
                    <a:pt x="272" y="232"/>
                  </a:lnTo>
                  <a:lnTo>
                    <a:pt x="224" y="272"/>
                  </a:lnTo>
                  <a:lnTo>
                    <a:pt x="168" y="264"/>
                  </a:lnTo>
                  <a:lnTo>
                    <a:pt x="112" y="248"/>
                  </a:lnTo>
                  <a:lnTo>
                    <a:pt x="80" y="264"/>
                  </a:lnTo>
                  <a:lnTo>
                    <a:pt x="88" y="288"/>
                  </a:lnTo>
                  <a:lnTo>
                    <a:pt x="56" y="288"/>
                  </a:lnTo>
                  <a:lnTo>
                    <a:pt x="88" y="328"/>
                  </a:lnTo>
                  <a:lnTo>
                    <a:pt x="56" y="344"/>
                  </a:lnTo>
                  <a:lnTo>
                    <a:pt x="40" y="376"/>
                  </a:lnTo>
                  <a:lnTo>
                    <a:pt x="0" y="384"/>
                  </a:lnTo>
                  <a:lnTo>
                    <a:pt x="24" y="448"/>
                  </a:lnTo>
                  <a:lnTo>
                    <a:pt x="72" y="424"/>
                  </a:lnTo>
                  <a:lnTo>
                    <a:pt x="72" y="464"/>
                  </a:lnTo>
                  <a:lnTo>
                    <a:pt x="40" y="488"/>
                  </a:lnTo>
                  <a:lnTo>
                    <a:pt x="56" y="536"/>
                  </a:lnTo>
                  <a:lnTo>
                    <a:pt x="136" y="592"/>
                  </a:lnTo>
                  <a:lnTo>
                    <a:pt x="192" y="584"/>
                  </a:lnTo>
                  <a:lnTo>
                    <a:pt x="256" y="592"/>
                  </a:lnTo>
                  <a:lnTo>
                    <a:pt x="336" y="560"/>
                  </a:lnTo>
                  <a:lnTo>
                    <a:pt x="344" y="616"/>
                  </a:lnTo>
                  <a:lnTo>
                    <a:pt x="328" y="672"/>
                  </a:lnTo>
                  <a:lnTo>
                    <a:pt x="360" y="696"/>
                  </a:lnTo>
                  <a:lnTo>
                    <a:pt x="408" y="680"/>
                  </a:lnTo>
                  <a:lnTo>
                    <a:pt x="464" y="696"/>
                  </a:lnTo>
                  <a:lnTo>
                    <a:pt x="504" y="672"/>
                  </a:lnTo>
                  <a:lnTo>
                    <a:pt x="544" y="664"/>
                  </a:lnTo>
                  <a:lnTo>
                    <a:pt x="552" y="640"/>
                  </a:lnTo>
                  <a:close/>
                </a:path>
              </a:pathLst>
            </a:custGeom>
            <a:grpFill/>
            <a:ln w="9525">
              <a:solidFill>
                <a:schemeClr val="bg1"/>
              </a:solidFill>
              <a:round/>
              <a:headEnd/>
              <a:tailEnd/>
            </a:ln>
          </p:spPr>
          <p:txBody>
            <a:bodyPr/>
            <a:lstStyle/>
            <a:p>
              <a:endParaRPr lang="en-US"/>
            </a:p>
          </p:txBody>
        </p:sp>
        <p:sp>
          <p:nvSpPr>
            <p:cNvPr id="70" name="Freeform 14"/>
            <p:cNvSpPr>
              <a:spLocks/>
            </p:cNvSpPr>
            <p:nvPr/>
          </p:nvSpPr>
          <p:spPr bwMode="auto">
            <a:xfrm>
              <a:off x="2040652" y="2792742"/>
              <a:ext cx="709074" cy="440776"/>
            </a:xfrm>
            <a:custGeom>
              <a:avLst/>
              <a:gdLst>
                <a:gd name="T0" fmla="*/ 2147483646 w 592"/>
                <a:gd name="T1" fmla="*/ 2147483646 h 368"/>
                <a:gd name="T2" fmla="*/ 2147483646 w 592"/>
                <a:gd name="T3" fmla="*/ 0 h 368"/>
                <a:gd name="T4" fmla="*/ 2147483646 w 592"/>
                <a:gd name="T5" fmla="*/ 2147483646 h 368"/>
                <a:gd name="T6" fmla="*/ 2147483646 w 592"/>
                <a:gd name="T7" fmla="*/ 2147483646 h 368"/>
                <a:gd name="T8" fmla="*/ 2147483646 w 592"/>
                <a:gd name="T9" fmla="*/ 2147483646 h 368"/>
                <a:gd name="T10" fmla="*/ 2147483646 w 592"/>
                <a:gd name="T11" fmla="*/ 2147483646 h 368"/>
                <a:gd name="T12" fmla="*/ 2147483646 w 592"/>
                <a:gd name="T13" fmla="*/ 2147483646 h 368"/>
                <a:gd name="T14" fmla="*/ 2147483646 w 592"/>
                <a:gd name="T15" fmla="*/ 2147483646 h 368"/>
                <a:gd name="T16" fmla="*/ 2147483646 w 592"/>
                <a:gd name="T17" fmla="*/ 2147483646 h 368"/>
                <a:gd name="T18" fmla="*/ 2147483646 w 592"/>
                <a:gd name="T19" fmla="*/ 2147483646 h 368"/>
                <a:gd name="T20" fmla="*/ 2147483646 w 592"/>
                <a:gd name="T21" fmla="*/ 2147483646 h 368"/>
                <a:gd name="T22" fmla="*/ 2147483646 w 592"/>
                <a:gd name="T23" fmla="*/ 2147483646 h 368"/>
                <a:gd name="T24" fmla="*/ 2147483646 w 592"/>
                <a:gd name="T25" fmla="*/ 2147483646 h 368"/>
                <a:gd name="T26" fmla="*/ 2147483646 w 592"/>
                <a:gd name="T27" fmla="*/ 2147483646 h 368"/>
                <a:gd name="T28" fmla="*/ 2147483646 w 592"/>
                <a:gd name="T29" fmla="*/ 2147483646 h 368"/>
                <a:gd name="T30" fmla="*/ 2147483646 w 592"/>
                <a:gd name="T31" fmla="*/ 2147483646 h 368"/>
                <a:gd name="T32" fmla="*/ 2147483646 w 592"/>
                <a:gd name="T33" fmla="*/ 2147483646 h 368"/>
                <a:gd name="T34" fmla="*/ 2147483646 w 592"/>
                <a:gd name="T35" fmla="*/ 2147483646 h 368"/>
                <a:gd name="T36" fmla="*/ 2147483646 w 592"/>
                <a:gd name="T37" fmla="*/ 2147483646 h 368"/>
                <a:gd name="T38" fmla="*/ 2147483646 w 592"/>
                <a:gd name="T39" fmla="*/ 2147483646 h 368"/>
                <a:gd name="T40" fmla="*/ 2147483646 w 592"/>
                <a:gd name="T41" fmla="*/ 2147483646 h 368"/>
                <a:gd name="T42" fmla="*/ 2147483646 w 592"/>
                <a:gd name="T43" fmla="*/ 2147483646 h 368"/>
                <a:gd name="T44" fmla="*/ 2147483646 w 592"/>
                <a:gd name="T45" fmla="*/ 2147483646 h 368"/>
                <a:gd name="T46" fmla="*/ 2147483646 w 592"/>
                <a:gd name="T47" fmla="*/ 2147483646 h 368"/>
                <a:gd name="T48" fmla="*/ 0 w 592"/>
                <a:gd name="T49" fmla="*/ 2147483646 h 368"/>
                <a:gd name="T50" fmla="*/ 2147483646 w 592"/>
                <a:gd name="T51" fmla="*/ 2147483646 h 368"/>
                <a:gd name="T52" fmla="*/ 2147483646 w 592"/>
                <a:gd name="T53" fmla="*/ 2147483646 h 368"/>
                <a:gd name="T54" fmla="*/ 2147483646 w 592"/>
                <a:gd name="T55" fmla="*/ 2147483646 h 368"/>
                <a:gd name="T56" fmla="*/ 2147483646 w 592"/>
                <a:gd name="T57" fmla="*/ 2147483646 h 368"/>
                <a:gd name="T58" fmla="*/ 2147483646 w 592"/>
                <a:gd name="T59" fmla="*/ 2147483646 h 368"/>
                <a:gd name="T60" fmla="*/ 2147483646 w 592"/>
                <a:gd name="T61" fmla="*/ 2147483646 h 368"/>
                <a:gd name="T62" fmla="*/ 2147483646 w 592"/>
                <a:gd name="T63" fmla="*/ 2147483646 h 368"/>
                <a:gd name="T64" fmla="*/ 2147483646 w 592"/>
                <a:gd name="T65" fmla="*/ 2147483646 h 368"/>
                <a:gd name="T66" fmla="*/ 2147483646 w 592"/>
                <a:gd name="T67" fmla="*/ 2147483646 h 368"/>
                <a:gd name="T68" fmla="*/ 2147483646 w 592"/>
                <a:gd name="T69" fmla="*/ 2147483646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2"/>
                <a:gd name="T106" fmla="*/ 0 h 368"/>
                <a:gd name="T107" fmla="*/ 592 w 592"/>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2" h="368">
                  <a:moveTo>
                    <a:pt x="280" y="32"/>
                  </a:moveTo>
                  <a:lnTo>
                    <a:pt x="336" y="0"/>
                  </a:lnTo>
                  <a:lnTo>
                    <a:pt x="368" y="32"/>
                  </a:lnTo>
                  <a:lnTo>
                    <a:pt x="456" y="48"/>
                  </a:lnTo>
                  <a:lnTo>
                    <a:pt x="528" y="32"/>
                  </a:lnTo>
                  <a:lnTo>
                    <a:pt x="544" y="80"/>
                  </a:lnTo>
                  <a:lnTo>
                    <a:pt x="592" y="72"/>
                  </a:lnTo>
                  <a:lnTo>
                    <a:pt x="584" y="136"/>
                  </a:lnTo>
                  <a:lnTo>
                    <a:pt x="544" y="144"/>
                  </a:lnTo>
                  <a:lnTo>
                    <a:pt x="536" y="168"/>
                  </a:lnTo>
                  <a:lnTo>
                    <a:pt x="480" y="176"/>
                  </a:lnTo>
                  <a:lnTo>
                    <a:pt x="480" y="272"/>
                  </a:lnTo>
                  <a:lnTo>
                    <a:pt x="432" y="288"/>
                  </a:lnTo>
                  <a:lnTo>
                    <a:pt x="392" y="344"/>
                  </a:lnTo>
                  <a:lnTo>
                    <a:pt x="328" y="312"/>
                  </a:lnTo>
                  <a:lnTo>
                    <a:pt x="312" y="352"/>
                  </a:lnTo>
                  <a:lnTo>
                    <a:pt x="248" y="368"/>
                  </a:lnTo>
                  <a:lnTo>
                    <a:pt x="184" y="336"/>
                  </a:lnTo>
                  <a:lnTo>
                    <a:pt x="184" y="304"/>
                  </a:lnTo>
                  <a:lnTo>
                    <a:pt x="128" y="280"/>
                  </a:lnTo>
                  <a:lnTo>
                    <a:pt x="120" y="248"/>
                  </a:lnTo>
                  <a:lnTo>
                    <a:pt x="80" y="240"/>
                  </a:lnTo>
                  <a:lnTo>
                    <a:pt x="40" y="184"/>
                  </a:lnTo>
                  <a:lnTo>
                    <a:pt x="16" y="184"/>
                  </a:lnTo>
                  <a:lnTo>
                    <a:pt x="0" y="152"/>
                  </a:lnTo>
                  <a:lnTo>
                    <a:pt x="56" y="120"/>
                  </a:lnTo>
                  <a:lnTo>
                    <a:pt x="56" y="88"/>
                  </a:lnTo>
                  <a:lnTo>
                    <a:pt x="88" y="80"/>
                  </a:lnTo>
                  <a:lnTo>
                    <a:pt x="80" y="40"/>
                  </a:lnTo>
                  <a:lnTo>
                    <a:pt x="176" y="8"/>
                  </a:lnTo>
                  <a:lnTo>
                    <a:pt x="160" y="40"/>
                  </a:lnTo>
                  <a:lnTo>
                    <a:pt x="192" y="40"/>
                  </a:lnTo>
                  <a:lnTo>
                    <a:pt x="248" y="80"/>
                  </a:lnTo>
                  <a:lnTo>
                    <a:pt x="280" y="48"/>
                  </a:lnTo>
                  <a:lnTo>
                    <a:pt x="280" y="32"/>
                  </a:lnTo>
                  <a:close/>
                </a:path>
              </a:pathLst>
            </a:custGeom>
            <a:grpFill/>
            <a:ln w="9525">
              <a:solidFill>
                <a:schemeClr val="bg1"/>
              </a:solidFill>
              <a:round/>
              <a:headEnd/>
              <a:tailEnd/>
            </a:ln>
          </p:spPr>
          <p:txBody>
            <a:bodyPr/>
            <a:lstStyle/>
            <a:p>
              <a:endParaRPr lang="en-US"/>
            </a:p>
          </p:txBody>
        </p:sp>
        <p:sp>
          <p:nvSpPr>
            <p:cNvPr id="71" name="Freeform 15"/>
            <p:cNvSpPr>
              <a:spLocks/>
            </p:cNvSpPr>
            <p:nvPr/>
          </p:nvSpPr>
          <p:spPr bwMode="auto">
            <a:xfrm>
              <a:off x="2096576" y="2853957"/>
              <a:ext cx="833643" cy="756987"/>
            </a:xfrm>
            <a:custGeom>
              <a:avLst/>
              <a:gdLst>
                <a:gd name="T0" fmla="*/ 2147483646 w 696"/>
                <a:gd name="T1" fmla="*/ 2147483646 h 632"/>
                <a:gd name="T2" fmla="*/ 2147483646 w 696"/>
                <a:gd name="T3" fmla="*/ 2147483646 h 632"/>
                <a:gd name="T4" fmla="*/ 2147483646 w 696"/>
                <a:gd name="T5" fmla="*/ 2147483646 h 632"/>
                <a:gd name="T6" fmla="*/ 2147483646 w 696"/>
                <a:gd name="T7" fmla="*/ 2147483646 h 632"/>
                <a:gd name="T8" fmla="*/ 2147483646 w 696"/>
                <a:gd name="T9" fmla="*/ 2147483646 h 632"/>
                <a:gd name="T10" fmla="*/ 2147483646 w 696"/>
                <a:gd name="T11" fmla="*/ 2147483646 h 632"/>
                <a:gd name="T12" fmla="*/ 2147483646 w 696"/>
                <a:gd name="T13" fmla="*/ 2147483646 h 632"/>
                <a:gd name="T14" fmla="*/ 2147483646 w 696"/>
                <a:gd name="T15" fmla="*/ 2147483646 h 632"/>
                <a:gd name="T16" fmla="*/ 2147483646 w 696"/>
                <a:gd name="T17" fmla="*/ 2147483646 h 632"/>
                <a:gd name="T18" fmla="*/ 2147483646 w 696"/>
                <a:gd name="T19" fmla="*/ 2147483646 h 632"/>
                <a:gd name="T20" fmla="*/ 2147483646 w 696"/>
                <a:gd name="T21" fmla="*/ 2147483646 h 632"/>
                <a:gd name="T22" fmla="*/ 2147483646 w 696"/>
                <a:gd name="T23" fmla="*/ 2147483646 h 632"/>
                <a:gd name="T24" fmla="*/ 2147483646 w 696"/>
                <a:gd name="T25" fmla="*/ 2147483646 h 632"/>
                <a:gd name="T26" fmla="*/ 2147483646 w 696"/>
                <a:gd name="T27" fmla="*/ 2147483646 h 632"/>
                <a:gd name="T28" fmla="*/ 2147483646 w 696"/>
                <a:gd name="T29" fmla="*/ 0 h 632"/>
                <a:gd name="T30" fmla="*/ 2147483646 w 696"/>
                <a:gd name="T31" fmla="*/ 2147483646 h 632"/>
                <a:gd name="T32" fmla="*/ 2147483646 w 696"/>
                <a:gd name="T33" fmla="*/ 2147483646 h 632"/>
                <a:gd name="T34" fmla="*/ 2147483646 w 696"/>
                <a:gd name="T35" fmla="*/ 2147483646 h 632"/>
                <a:gd name="T36" fmla="*/ 2147483646 w 696"/>
                <a:gd name="T37" fmla="*/ 2147483646 h 632"/>
                <a:gd name="T38" fmla="*/ 2147483646 w 696"/>
                <a:gd name="T39" fmla="*/ 2147483646 h 632"/>
                <a:gd name="T40" fmla="*/ 2147483646 w 696"/>
                <a:gd name="T41" fmla="*/ 2147483646 h 632"/>
                <a:gd name="T42" fmla="*/ 2147483646 w 696"/>
                <a:gd name="T43" fmla="*/ 2147483646 h 632"/>
                <a:gd name="T44" fmla="*/ 2147483646 w 696"/>
                <a:gd name="T45" fmla="*/ 2147483646 h 632"/>
                <a:gd name="T46" fmla="*/ 2147483646 w 696"/>
                <a:gd name="T47" fmla="*/ 2147483646 h 632"/>
                <a:gd name="T48" fmla="*/ 2147483646 w 696"/>
                <a:gd name="T49" fmla="*/ 2147483646 h 632"/>
                <a:gd name="T50" fmla="*/ 2147483646 w 696"/>
                <a:gd name="T51" fmla="*/ 2147483646 h 632"/>
                <a:gd name="T52" fmla="*/ 2147483646 w 696"/>
                <a:gd name="T53" fmla="*/ 2147483646 h 632"/>
                <a:gd name="T54" fmla="*/ 2147483646 w 696"/>
                <a:gd name="T55" fmla="*/ 2147483646 h 632"/>
                <a:gd name="T56" fmla="*/ 2147483646 w 696"/>
                <a:gd name="T57" fmla="*/ 2147483646 h 632"/>
                <a:gd name="T58" fmla="*/ 2147483646 w 696"/>
                <a:gd name="T59" fmla="*/ 2147483646 h 632"/>
                <a:gd name="T60" fmla="*/ 2147483646 w 696"/>
                <a:gd name="T61" fmla="*/ 2147483646 h 632"/>
                <a:gd name="T62" fmla="*/ 2147483646 w 696"/>
                <a:gd name="T63" fmla="*/ 2147483646 h 632"/>
                <a:gd name="T64" fmla="*/ 2147483646 w 696"/>
                <a:gd name="T65" fmla="*/ 2147483646 h 632"/>
                <a:gd name="T66" fmla="*/ 2147483646 w 696"/>
                <a:gd name="T67" fmla="*/ 2147483646 h 632"/>
                <a:gd name="T68" fmla="*/ 2147483646 w 696"/>
                <a:gd name="T69" fmla="*/ 2147483646 h 632"/>
                <a:gd name="T70" fmla="*/ 2147483646 w 696"/>
                <a:gd name="T71" fmla="*/ 2147483646 h 632"/>
                <a:gd name="T72" fmla="*/ 2147483646 w 696"/>
                <a:gd name="T73" fmla="*/ 2147483646 h 632"/>
                <a:gd name="T74" fmla="*/ 2147483646 w 696"/>
                <a:gd name="T75" fmla="*/ 2147483646 h 632"/>
                <a:gd name="T76" fmla="*/ 2147483646 w 696"/>
                <a:gd name="T77" fmla="*/ 2147483646 h 632"/>
                <a:gd name="T78" fmla="*/ 2147483646 w 696"/>
                <a:gd name="T79" fmla="*/ 2147483646 h 632"/>
                <a:gd name="T80" fmla="*/ 2147483646 w 696"/>
                <a:gd name="T81" fmla="*/ 2147483646 h 632"/>
                <a:gd name="T82" fmla="*/ 2147483646 w 696"/>
                <a:gd name="T83" fmla="*/ 2147483646 h 632"/>
                <a:gd name="T84" fmla="*/ 2147483646 w 696"/>
                <a:gd name="T85" fmla="*/ 2147483646 h 632"/>
                <a:gd name="T86" fmla="*/ 2147483646 w 696"/>
                <a:gd name="T87" fmla="*/ 2147483646 h 632"/>
                <a:gd name="T88" fmla="*/ 2147483646 w 696"/>
                <a:gd name="T89" fmla="*/ 2147483646 h 632"/>
                <a:gd name="T90" fmla="*/ 0 w 696"/>
                <a:gd name="T91" fmla="*/ 2147483646 h 632"/>
                <a:gd name="T92" fmla="*/ 2147483646 w 696"/>
                <a:gd name="T93" fmla="*/ 2147483646 h 632"/>
                <a:gd name="T94" fmla="*/ 2147483646 w 696"/>
                <a:gd name="T95" fmla="*/ 2147483646 h 632"/>
                <a:gd name="T96" fmla="*/ 2147483646 w 696"/>
                <a:gd name="T97" fmla="*/ 2147483646 h 632"/>
                <a:gd name="T98" fmla="*/ 2147483646 w 696"/>
                <a:gd name="T99" fmla="*/ 2147483646 h 63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96"/>
                <a:gd name="T151" fmla="*/ 0 h 632"/>
                <a:gd name="T152" fmla="*/ 696 w 696"/>
                <a:gd name="T153" fmla="*/ 632 h 63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96" h="632">
                  <a:moveTo>
                    <a:pt x="80" y="224"/>
                  </a:moveTo>
                  <a:lnTo>
                    <a:pt x="136" y="248"/>
                  </a:lnTo>
                  <a:lnTo>
                    <a:pt x="136" y="280"/>
                  </a:lnTo>
                  <a:lnTo>
                    <a:pt x="200" y="312"/>
                  </a:lnTo>
                  <a:lnTo>
                    <a:pt x="264" y="296"/>
                  </a:lnTo>
                  <a:lnTo>
                    <a:pt x="280" y="256"/>
                  </a:lnTo>
                  <a:lnTo>
                    <a:pt x="344" y="280"/>
                  </a:lnTo>
                  <a:lnTo>
                    <a:pt x="384" y="232"/>
                  </a:lnTo>
                  <a:lnTo>
                    <a:pt x="432" y="216"/>
                  </a:lnTo>
                  <a:lnTo>
                    <a:pt x="432" y="120"/>
                  </a:lnTo>
                  <a:lnTo>
                    <a:pt x="488" y="112"/>
                  </a:lnTo>
                  <a:lnTo>
                    <a:pt x="488" y="80"/>
                  </a:lnTo>
                  <a:lnTo>
                    <a:pt x="536" y="80"/>
                  </a:lnTo>
                  <a:lnTo>
                    <a:pt x="544" y="8"/>
                  </a:lnTo>
                  <a:lnTo>
                    <a:pt x="616" y="0"/>
                  </a:lnTo>
                  <a:lnTo>
                    <a:pt x="624" y="40"/>
                  </a:lnTo>
                  <a:lnTo>
                    <a:pt x="584" y="72"/>
                  </a:lnTo>
                  <a:lnTo>
                    <a:pt x="576" y="128"/>
                  </a:lnTo>
                  <a:lnTo>
                    <a:pt x="616" y="128"/>
                  </a:lnTo>
                  <a:lnTo>
                    <a:pt x="680" y="208"/>
                  </a:lnTo>
                  <a:lnTo>
                    <a:pt x="664" y="272"/>
                  </a:lnTo>
                  <a:lnTo>
                    <a:pt x="696" y="312"/>
                  </a:lnTo>
                  <a:lnTo>
                    <a:pt x="688" y="384"/>
                  </a:lnTo>
                  <a:lnTo>
                    <a:pt x="656" y="408"/>
                  </a:lnTo>
                  <a:lnTo>
                    <a:pt x="664" y="432"/>
                  </a:lnTo>
                  <a:lnTo>
                    <a:pt x="632" y="432"/>
                  </a:lnTo>
                  <a:lnTo>
                    <a:pt x="664" y="472"/>
                  </a:lnTo>
                  <a:lnTo>
                    <a:pt x="632" y="488"/>
                  </a:lnTo>
                  <a:lnTo>
                    <a:pt x="616" y="520"/>
                  </a:lnTo>
                  <a:lnTo>
                    <a:pt x="576" y="520"/>
                  </a:lnTo>
                  <a:lnTo>
                    <a:pt x="600" y="592"/>
                  </a:lnTo>
                  <a:lnTo>
                    <a:pt x="544" y="608"/>
                  </a:lnTo>
                  <a:lnTo>
                    <a:pt x="496" y="584"/>
                  </a:lnTo>
                  <a:lnTo>
                    <a:pt x="456" y="632"/>
                  </a:lnTo>
                  <a:lnTo>
                    <a:pt x="440" y="608"/>
                  </a:lnTo>
                  <a:lnTo>
                    <a:pt x="448" y="568"/>
                  </a:lnTo>
                  <a:lnTo>
                    <a:pt x="392" y="576"/>
                  </a:lnTo>
                  <a:lnTo>
                    <a:pt x="368" y="552"/>
                  </a:lnTo>
                  <a:lnTo>
                    <a:pt x="272" y="544"/>
                  </a:lnTo>
                  <a:lnTo>
                    <a:pt x="248" y="536"/>
                  </a:lnTo>
                  <a:lnTo>
                    <a:pt x="184" y="568"/>
                  </a:lnTo>
                  <a:lnTo>
                    <a:pt x="144" y="480"/>
                  </a:lnTo>
                  <a:lnTo>
                    <a:pt x="88" y="488"/>
                  </a:lnTo>
                  <a:lnTo>
                    <a:pt x="72" y="472"/>
                  </a:lnTo>
                  <a:lnTo>
                    <a:pt x="64" y="424"/>
                  </a:lnTo>
                  <a:lnTo>
                    <a:pt x="0" y="360"/>
                  </a:lnTo>
                  <a:lnTo>
                    <a:pt x="56" y="344"/>
                  </a:lnTo>
                  <a:lnTo>
                    <a:pt x="88" y="288"/>
                  </a:lnTo>
                  <a:lnTo>
                    <a:pt x="56" y="256"/>
                  </a:lnTo>
                  <a:lnTo>
                    <a:pt x="80" y="224"/>
                  </a:lnTo>
                  <a:close/>
                </a:path>
              </a:pathLst>
            </a:custGeom>
            <a:grpFill/>
            <a:ln w="9525">
              <a:solidFill>
                <a:schemeClr val="bg1"/>
              </a:solidFill>
              <a:round/>
              <a:headEnd/>
              <a:tailEnd/>
            </a:ln>
          </p:spPr>
          <p:txBody>
            <a:bodyPr/>
            <a:lstStyle/>
            <a:p>
              <a:endParaRPr lang="en-US"/>
            </a:p>
          </p:txBody>
        </p:sp>
        <p:sp>
          <p:nvSpPr>
            <p:cNvPr id="72" name="Freeform 16"/>
            <p:cNvSpPr>
              <a:spLocks/>
            </p:cNvSpPr>
            <p:nvPr/>
          </p:nvSpPr>
          <p:spPr bwMode="auto">
            <a:xfrm>
              <a:off x="2096576" y="3417213"/>
              <a:ext cx="852807" cy="939047"/>
            </a:xfrm>
            <a:custGeom>
              <a:avLst/>
              <a:gdLst>
                <a:gd name="T0" fmla="*/ 2147483646 w 712"/>
                <a:gd name="T1" fmla="*/ 0 h 784"/>
                <a:gd name="T2" fmla="*/ 2147483646 w 712"/>
                <a:gd name="T3" fmla="*/ 2147483646 h 784"/>
                <a:gd name="T4" fmla="*/ 2147483646 w 712"/>
                <a:gd name="T5" fmla="*/ 2147483646 h 784"/>
                <a:gd name="T6" fmla="*/ 2147483646 w 712"/>
                <a:gd name="T7" fmla="*/ 2147483646 h 784"/>
                <a:gd name="T8" fmla="*/ 2147483646 w 712"/>
                <a:gd name="T9" fmla="*/ 2147483646 h 784"/>
                <a:gd name="T10" fmla="*/ 2147483646 w 712"/>
                <a:gd name="T11" fmla="*/ 2147483646 h 784"/>
                <a:gd name="T12" fmla="*/ 2147483646 w 712"/>
                <a:gd name="T13" fmla="*/ 2147483646 h 784"/>
                <a:gd name="T14" fmla="*/ 2147483646 w 712"/>
                <a:gd name="T15" fmla="*/ 2147483646 h 784"/>
                <a:gd name="T16" fmla="*/ 2147483646 w 712"/>
                <a:gd name="T17" fmla="*/ 2147483646 h 784"/>
                <a:gd name="T18" fmla="*/ 2147483646 w 712"/>
                <a:gd name="T19" fmla="*/ 2147483646 h 784"/>
                <a:gd name="T20" fmla="*/ 2147483646 w 712"/>
                <a:gd name="T21" fmla="*/ 2147483646 h 784"/>
                <a:gd name="T22" fmla="*/ 2147483646 w 712"/>
                <a:gd name="T23" fmla="*/ 2147483646 h 784"/>
                <a:gd name="T24" fmla="*/ 2147483646 w 712"/>
                <a:gd name="T25" fmla="*/ 2147483646 h 784"/>
                <a:gd name="T26" fmla="*/ 2147483646 w 712"/>
                <a:gd name="T27" fmla="*/ 2147483646 h 784"/>
                <a:gd name="T28" fmla="*/ 2147483646 w 712"/>
                <a:gd name="T29" fmla="*/ 2147483646 h 784"/>
                <a:gd name="T30" fmla="*/ 2147483646 w 712"/>
                <a:gd name="T31" fmla="*/ 2147483646 h 784"/>
                <a:gd name="T32" fmla="*/ 2147483646 w 712"/>
                <a:gd name="T33" fmla="*/ 2147483646 h 784"/>
                <a:gd name="T34" fmla="*/ 2147483646 w 712"/>
                <a:gd name="T35" fmla="*/ 2147483646 h 784"/>
                <a:gd name="T36" fmla="*/ 2147483646 w 712"/>
                <a:gd name="T37" fmla="*/ 2147483646 h 784"/>
                <a:gd name="T38" fmla="*/ 2147483646 w 712"/>
                <a:gd name="T39" fmla="*/ 2147483646 h 784"/>
                <a:gd name="T40" fmla="*/ 2147483646 w 712"/>
                <a:gd name="T41" fmla="*/ 2147483646 h 784"/>
                <a:gd name="T42" fmla="*/ 2147483646 w 712"/>
                <a:gd name="T43" fmla="*/ 2147483646 h 784"/>
                <a:gd name="T44" fmla="*/ 2147483646 w 712"/>
                <a:gd name="T45" fmla="*/ 2147483646 h 784"/>
                <a:gd name="T46" fmla="*/ 2147483646 w 712"/>
                <a:gd name="T47" fmla="*/ 2147483646 h 784"/>
                <a:gd name="T48" fmla="*/ 2147483646 w 712"/>
                <a:gd name="T49" fmla="*/ 2147483646 h 784"/>
                <a:gd name="T50" fmla="*/ 2147483646 w 712"/>
                <a:gd name="T51" fmla="*/ 2147483646 h 784"/>
                <a:gd name="T52" fmla="*/ 2147483646 w 712"/>
                <a:gd name="T53" fmla="*/ 2147483646 h 784"/>
                <a:gd name="T54" fmla="*/ 2147483646 w 712"/>
                <a:gd name="T55" fmla="*/ 2147483646 h 784"/>
                <a:gd name="T56" fmla="*/ 2147483646 w 712"/>
                <a:gd name="T57" fmla="*/ 2147483646 h 784"/>
                <a:gd name="T58" fmla="*/ 2147483646 w 712"/>
                <a:gd name="T59" fmla="*/ 2147483646 h 784"/>
                <a:gd name="T60" fmla="*/ 2147483646 w 712"/>
                <a:gd name="T61" fmla="*/ 2147483646 h 784"/>
                <a:gd name="T62" fmla="*/ 2147483646 w 712"/>
                <a:gd name="T63" fmla="*/ 2147483646 h 784"/>
                <a:gd name="T64" fmla="*/ 2147483646 w 712"/>
                <a:gd name="T65" fmla="*/ 2147483646 h 784"/>
                <a:gd name="T66" fmla="*/ 2147483646 w 712"/>
                <a:gd name="T67" fmla="*/ 2147483646 h 784"/>
                <a:gd name="T68" fmla="*/ 2147483646 w 712"/>
                <a:gd name="T69" fmla="*/ 2147483646 h 784"/>
                <a:gd name="T70" fmla="*/ 2147483646 w 712"/>
                <a:gd name="T71" fmla="*/ 2147483646 h 784"/>
                <a:gd name="T72" fmla="*/ 2147483646 w 712"/>
                <a:gd name="T73" fmla="*/ 2147483646 h 784"/>
                <a:gd name="T74" fmla="*/ 2147483646 w 712"/>
                <a:gd name="T75" fmla="*/ 2147483646 h 784"/>
                <a:gd name="T76" fmla="*/ 2147483646 w 712"/>
                <a:gd name="T77" fmla="*/ 2147483646 h 784"/>
                <a:gd name="T78" fmla="*/ 2147483646 w 712"/>
                <a:gd name="T79" fmla="*/ 2147483646 h 784"/>
                <a:gd name="T80" fmla="*/ 2147483646 w 712"/>
                <a:gd name="T81" fmla="*/ 2147483646 h 784"/>
                <a:gd name="T82" fmla="*/ 2147483646 w 712"/>
                <a:gd name="T83" fmla="*/ 2147483646 h 784"/>
                <a:gd name="T84" fmla="*/ 2147483646 w 712"/>
                <a:gd name="T85" fmla="*/ 2147483646 h 784"/>
                <a:gd name="T86" fmla="*/ 2147483646 w 712"/>
                <a:gd name="T87" fmla="*/ 2147483646 h 784"/>
                <a:gd name="T88" fmla="*/ 2147483646 w 712"/>
                <a:gd name="T89" fmla="*/ 2147483646 h 784"/>
                <a:gd name="T90" fmla="*/ 0 w 712"/>
                <a:gd name="T91" fmla="*/ 2147483646 h 784"/>
                <a:gd name="T92" fmla="*/ 2147483646 w 712"/>
                <a:gd name="T93" fmla="*/ 2147483646 h 784"/>
                <a:gd name="T94" fmla="*/ 2147483646 w 712"/>
                <a:gd name="T95" fmla="*/ 0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2"/>
                <a:gd name="T145" fmla="*/ 0 h 784"/>
                <a:gd name="T146" fmla="*/ 712 w 712"/>
                <a:gd name="T147" fmla="*/ 784 h 7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2" h="784">
                  <a:moveTo>
                    <a:pt x="72" y="0"/>
                  </a:moveTo>
                  <a:lnTo>
                    <a:pt x="96" y="24"/>
                  </a:lnTo>
                  <a:lnTo>
                    <a:pt x="144" y="8"/>
                  </a:lnTo>
                  <a:lnTo>
                    <a:pt x="184" y="96"/>
                  </a:lnTo>
                  <a:lnTo>
                    <a:pt x="248" y="64"/>
                  </a:lnTo>
                  <a:lnTo>
                    <a:pt x="272" y="72"/>
                  </a:lnTo>
                  <a:lnTo>
                    <a:pt x="368" y="80"/>
                  </a:lnTo>
                  <a:lnTo>
                    <a:pt x="392" y="112"/>
                  </a:lnTo>
                  <a:lnTo>
                    <a:pt x="448" y="96"/>
                  </a:lnTo>
                  <a:lnTo>
                    <a:pt x="440" y="144"/>
                  </a:lnTo>
                  <a:lnTo>
                    <a:pt x="456" y="160"/>
                  </a:lnTo>
                  <a:lnTo>
                    <a:pt x="496" y="112"/>
                  </a:lnTo>
                  <a:lnTo>
                    <a:pt x="544" y="136"/>
                  </a:lnTo>
                  <a:lnTo>
                    <a:pt x="600" y="120"/>
                  </a:lnTo>
                  <a:lnTo>
                    <a:pt x="648" y="96"/>
                  </a:lnTo>
                  <a:lnTo>
                    <a:pt x="648" y="136"/>
                  </a:lnTo>
                  <a:lnTo>
                    <a:pt x="616" y="160"/>
                  </a:lnTo>
                  <a:lnTo>
                    <a:pt x="632" y="208"/>
                  </a:lnTo>
                  <a:lnTo>
                    <a:pt x="712" y="264"/>
                  </a:lnTo>
                  <a:lnTo>
                    <a:pt x="704" y="328"/>
                  </a:lnTo>
                  <a:lnTo>
                    <a:pt x="648" y="344"/>
                  </a:lnTo>
                  <a:lnTo>
                    <a:pt x="640" y="392"/>
                  </a:lnTo>
                  <a:lnTo>
                    <a:pt x="576" y="408"/>
                  </a:lnTo>
                  <a:lnTo>
                    <a:pt x="568" y="456"/>
                  </a:lnTo>
                  <a:lnTo>
                    <a:pt x="520" y="480"/>
                  </a:lnTo>
                  <a:lnTo>
                    <a:pt x="520" y="528"/>
                  </a:lnTo>
                  <a:lnTo>
                    <a:pt x="456" y="552"/>
                  </a:lnTo>
                  <a:lnTo>
                    <a:pt x="448" y="616"/>
                  </a:lnTo>
                  <a:lnTo>
                    <a:pt x="472" y="688"/>
                  </a:lnTo>
                  <a:lnTo>
                    <a:pt x="448" y="784"/>
                  </a:lnTo>
                  <a:lnTo>
                    <a:pt x="432" y="776"/>
                  </a:lnTo>
                  <a:lnTo>
                    <a:pt x="384" y="704"/>
                  </a:lnTo>
                  <a:lnTo>
                    <a:pt x="328" y="656"/>
                  </a:lnTo>
                  <a:lnTo>
                    <a:pt x="304" y="472"/>
                  </a:lnTo>
                  <a:lnTo>
                    <a:pt x="272" y="432"/>
                  </a:lnTo>
                  <a:lnTo>
                    <a:pt x="272" y="384"/>
                  </a:lnTo>
                  <a:lnTo>
                    <a:pt x="200" y="400"/>
                  </a:lnTo>
                  <a:lnTo>
                    <a:pt x="152" y="344"/>
                  </a:lnTo>
                  <a:lnTo>
                    <a:pt x="184" y="336"/>
                  </a:lnTo>
                  <a:lnTo>
                    <a:pt x="184" y="312"/>
                  </a:lnTo>
                  <a:lnTo>
                    <a:pt x="136" y="280"/>
                  </a:lnTo>
                  <a:lnTo>
                    <a:pt x="128" y="208"/>
                  </a:lnTo>
                  <a:lnTo>
                    <a:pt x="56" y="208"/>
                  </a:lnTo>
                  <a:lnTo>
                    <a:pt x="16" y="176"/>
                  </a:lnTo>
                  <a:lnTo>
                    <a:pt x="32" y="128"/>
                  </a:lnTo>
                  <a:lnTo>
                    <a:pt x="0" y="56"/>
                  </a:lnTo>
                  <a:lnTo>
                    <a:pt x="32" y="16"/>
                  </a:lnTo>
                  <a:lnTo>
                    <a:pt x="72" y="0"/>
                  </a:lnTo>
                  <a:close/>
                </a:path>
              </a:pathLst>
            </a:custGeom>
            <a:grpFill/>
            <a:ln w="9525">
              <a:solidFill>
                <a:schemeClr val="bg1"/>
              </a:solidFill>
              <a:round/>
              <a:headEnd/>
              <a:tailEnd/>
            </a:ln>
          </p:spPr>
          <p:txBody>
            <a:bodyPr/>
            <a:lstStyle/>
            <a:p>
              <a:endParaRPr lang="en-US"/>
            </a:p>
          </p:txBody>
        </p:sp>
        <p:sp>
          <p:nvSpPr>
            <p:cNvPr id="73" name="Freeform 17"/>
            <p:cNvSpPr>
              <a:spLocks/>
            </p:cNvSpPr>
            <p:nvPr/>
          </p:nvSpPr>
          <p:spPr bwMode="auto">
            <a:xfrm>
              <a:off x="2633266" y="3696391"/>
              <a:ext cx="709076" cy="661165"/>
            </a:xfrm>
            <a:custGeom>
              <a:avLst/>
              <a:gdLst>
                <a:gd name="T0" fmla="*/ 0 w 592"/>
                <a:gd name="T1" fmla="*/ 2147483646 h 552"/>
                <a:gd name="T2" fmla="*/ 2147483646 w 592"/>
                <a:gd name="T3" fmla="*/ 2147483646 h 552"/>
                <a:gd name="T4" fmla="*/ 0 w 592"/>
                <a:gd name="T5" fmla="*/ 2147483646 h 552"/>
                <a:gd name="T6" fmla="*/ 2147483646 w 592"/>
                <a:gd name="T7" fmla="*/ 2147483646 h 552"/>
                <a:gd name="T8" fmla="*/ 2147483646 w 592"/>
                <a:gd name="T9" fmla="*/ 2147483646 h 552"/>
                <a:gd name="T10" fmla="*/ 2147483646 w 592"/>
                <a:gd name="T11" fmla="*/ 2147483646 h 552"/>
                <a:gd name="T12" fmla="*/ 2147483646 w 592"/>
                <a:gd name="T13" fmla="*/ 2147483646 h 552"/>
                <a:gd name="T14" fmla="*/ 2147483646 w 592"/>
                <a:gd name="T15" fmla="*/ 2147483646 h 552"/>
                <a:gd name="T16" fmla="*/ 2147483646 w 592"/>
                <a:gd name="T17" fmla="*/ 2147483646 h 552"/>
                <a:gd name="T18" fmla="*/ 2147483646 w 592"/>
                <a:gd name="T19" fmla="*/ 2147483646 h 552"/>
                <a:gd name="T20" fmla="*/ 2147483646 w 592"/>
                <a:gd name="T21" fmla="*/ 2147483646 h 552"/>
                <a:gd name="T22" fmla="*/ 2147483646 w 592"/>
                <a:gd name="T23" fmla="*/ 2147483646 h 552"/>
                <a:gd name="T24" fmla="*/ 2147483646 w 592"/>
                <a:gd name="T25" fmla="*/ 2147483646 h 552"/>
                <a:gd name="T26" fmla="*/ 2147483646 w 592"/>
                <a:gd name="T27" fmla="*/ 2147483646 h 552"/>
                <a:gd name="T28" fmla="*/ 2147483646 w 592"/>
                <a:gd name="T29" fmla="*/ 0 h 552"/>
                <a:gd name="T30" fmla="*/ 2147483646 w 592"/>
                <a:gd name="T31" fmla="*/ 2147483646 h 552"/>
                <a:gd name="T32" fmla="*/ 2147483646 w 592"/>
                <a:gd name="T33" fmla="*/ 2147483646 h 552"/>
                <a:gd name="T34" fmla="*/ 2147483646 w 592"/>
                <a:gd name="T35" fmla="*/ 2147483646 h 552"/>
                <a:gd name="T36" fmla="*/ 2147483646 w 592"/>
                <a:gd name="T37" fmla="*/ 2147483646 h 552"/>
                <a:gd name="T38" fmla="*/ 2147483646 w 592"/>
                <a:gd name="T39" fmla="*/ 2147483646 h 552"/>
                <a:gd name="T40" fmla="*/ 2147483646 w 592"/>
                <a:gd name="T41" fmla="*/ 2147483646 h 552"/>
                <a:gd name="T42" fmla="*/ 2147483646 w 592"/>
                <a:gd name="T43" fmla="*/ 2147483646 h 552"/>
                <a:gd name="T44" fmla="*/ 2147483646 w 592"/>
                <a:gd name="T45" fmla="*/ 2147483646 h 552"/>
                <a:gd name="T46" fmla="*/ 2147483646 w 592"/>
                <a:gd name="T47" fmla="*/ 2147483646 h 552"/>
                <a:gd name="T48" fmla="*/ 2147483646 w 592"/>
                <a:gd name="T49" fmla="*/ 2147483646 h 552"/>
                <a:gd name="T50" fmla="*/ 2147483646 w 592"/>
                <a:gd name="T51" fmla="*/ 2147483646 h 552"/>
                <a:gd name="T52" fmla="*/ 2147483646 w 592"/>
                <a:gd name="T53" fmla="*/ 2147483646 h 552"/>
                <a:gd name="T54" fmla="*/ 2147483646 w 592"/>
                <a:gd name="T55" fmla="*/ 2147483646 h 552"/>
                <a:gd name="T56" fmla="*/ 2147483646 w 592"/>
                <a:gd name="T57" fmla="*/ 2147483646 h 552"/>
                <a:gd name="T58" fmla="*/ 2147483646 w 592"/>
                <a:gd name="T59" fmla="*/ 2147483646 h 552"/>
                <a:gd name="T60" fmla="*/ 2147483646 w 592"/>
                <a:gd name="T61" fmla="*/ 2147483646 h 552"/>
                <a:gd name="T62" fmla="*/ 0 w 592"/>
                <a:gd name="T63" fmla="*/ 2147483646 h 5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2"/>
                <a:gd name="T97" fmla="*/ 0 h 552"/>
                <a:gd name="T98" fmla="*/ 592 w 592"/>
                <a:gd name="T99" fmla="*/ 552 h 5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2" h="552">
                  <a:moveTo>
                    <a:pt x="0" y="552"/>
                  </a:moveTo>
                  <a:lnTo>
                    <a:pt x="24" y="456"/>
                  </a:lnTo>
                  <a:lnTo>
                    <a:pt x="0" y="384"/>
                  </a:lnTo>
                  <a:lnTo>
                    <a:pt x="8" y="320"/>
                  </a:lnTo>
                  <a:lnTo>
                    <a:pt x="72" y="296"/>
                  </a:lnTo>
                  <a:lnTo>
                    <a:pt x="72" y="248"/>
                  </a:lnTo>
                  <a:lnTo>
                    <a:pt x="120" y="224"/>
                  </a:lnTo>
                  <a:lnTo>
                    <a:pt x="128" y="176"/>
                  </a:lnTo>
                  <a:lnTo>
                    <a:pt x="192" y="160"/>
                  </a:lnTo>
                  <a:lnTo>
                    <a:pt x="200" y="112"/>
                  </a:lnTo>
                  <a:lnTo>
                    <a:pt x="256" y="96"/>
                  </a:lnTo>
                  <a:lnTo>
                    <a:pt x="264" y="32"/>
                  </a:lnTo>
                  <a:lnTo>
                    <a:pt x="320" y="24"/>
                  </a:lnTo>
                  <a:lnTo>
                    <a:pt x="384" y="32"/>
                  </a:lnTo>
                  <a:lnTo>
                    <a:pt x="464" y="0"/>
                  </a:lnTo>
                  <a:lnTo>
                    <a:pt x="472" y="56"/>
                  </a:lnTo>
                  <a:lnTo>
                    <a:pt x="456" y="112"/>
                  </a:lnTo>
                  <a:lnTo>
                    <a:pt x="488" y="136"/>
                  </a:lnTo>
                  <a:lnTo>
                    <a:pt x="536" y="120"/>
                  </a:lnTo>
                  <a:lnTo>
                    <a:pt x="592" y="136"/>
                  </a:lnTo>
                  <a:lnTo>
                    <a:pt x="592" y="176"/>
                  </a:lnTo>
                  <a:lnTo>
                    <a:pt x="544" y="216"/>
                  </a:lnTo>
                  <a:lnTo>
                    <a:pt x="504" y="208"/>
                  </a:lnTo>
                  <a:lnTo>
                    <a:pt x="520" y="240"/>
                  </a:lnTo>
                  <a:lnTo>
                    <a:pt x="472" y="256"/>
                  </a:lnTo>
                  <a:lnTo>
                    <a:pt x="536" y="312"/>
                  </a:lnTo>
                  <a:lnTo>
                    <a:pt x="464" y="328"/>
                  </a:lnTo>
                  <a:lnTo>
                    <a:pt x="480" y="464"/>
                  </a:lnTo>
                  <a:lnTo>
                    <a:pt x="400" y="488"/>
                  </a:lnTo>
                  <a:lnTo>
                    <a:pt x="264" y="480"/>
                  </a:lnTo>
                  <a:lnTo>
                    <a:pt x="136" y="504"/>
                  </a:lnTo>
                  <a:lnTo>
                    <a:pt x="0" y="552"/>
                  </a:lnTo>
                  <a:close/>
                </a:path>
              </a:pathLst>
            </a:custGeom>
            <a:grpFill/>
            <a:ln w="9525">
              <a:solidFill>
                <a:schemeClr val="bg1"/>
              </a:solidFill>
              <a:round/>
              <a:headEnd/>
              <a:tailEnd/>
            </a:ln>
          </p:spPr>
          <p:txBody>
            <a:bodyPr/>
            <a:lstStyle/>
            <a:p>
              <a:endParaRPr lang="en-US"/>
            </a:p>
          </p:txBody>
        </p:sp>
        <p:sp>
          <p:nvSpPr>
            <p:cNvPr id="74" name="Freeform 18"/>
            <p:cNvSpPr>
              <a:spLocks/>
            </p:cNvSpPr>
            <p:nvPr/>
          </p:nvSpPr>
          <p:spPr bwMode="auto">
            <a:xfrm>
              <a:off x="3170619" y="3792645"/>
              <a:ext cx="804896" cy="632418"/>
            </a:xfrm>
            <a:custGeom>
              <a:avLst/>
              <a:gdLst>
                <a:gd name="T0" fmla="*/ 2147483646 w 672"/>
                <a:gd name="T1" fmla="*/ 2147483646 h 528"/>
                <a:gd name="T2" fmla="*/ 0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0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2147483646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72"/>
                <a:gd name="T118" fmla="*/ 0 h 528"/>
                <a:gd name="T119" fmla="*/ 672 w 672"/>
                <a:gd name="T120" fmla="*/ 528 h 5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72" h="528">
                  <a:moveTo>
                    <a:pt x="16" y="384"/>
                  </a:moveTo>
                  <a:lnTo>
                    <a:pt x="0" y="248"/>
                  </a:lnTo>
                  <a:lnTo>
                    <a:pt x="72" y="232"/>
                  </a:lnTo>
                  <a:lnTo>
                    <a:pt x="8" y="176"/>
                  </a:lnTo>
                  <a:lnTo>
                    <a:pt x="56" y="160"/>
                  </a:lnTo>
                  <a:lnTo>
                    <a:pt x="40" y="128"/>
                  </a:lnTo>
                  <a:lnTo>
                    <a:pt x="80" y="136"/>
                  </a:lnTo>
                  <a:lnTo>
                    <a:pt x="128" y="96"/>
                  </a:lnTo>
                  <a:lnTo>
                    <a:pt x="128" y="56"/>
                  </a:lnTo>
                  <a:lnTo>
                    <a:pt x="208" y="24"/>
                  </a:lnTo>
                  <a:lnTo>
                    <a:pt x="216" y="0"/>
                  </a:lnTo>
                  <a:lnTo>
                    <a:pt x="264" y="32"/>
                  </a:lnTo>
                  <a:lnTo>
                    <a:pt x="288" y="16"/>
                  </a:lnTo>
                  <a:lnTo>
                    <a:pt x="336" y="56"/>
                  </a:lnTo>
                  <a:lnTo>
                    <a:pt x="336" y="88"/>
                  </a:lnTo>
                  <a:lnTo>
                    <a:pt x="432" y="112"/>
                  </a:lnTo>
                  <a:lnTo>
                    <a:pt x="416" y="176"/>
                  </a:lnTo>
                  <a:lnTo>
                    <a:pt x="456" y="224"/>
                  </a:lnTo>
                  <a:lnTo>
                    <a:pt x="424" y="240"/>
                  </a:lnTo>
                  <a:lnTo>
                    <a:pt x="440" y="288"/>
                  </a:lnTo>
                  <a:lnTo>
                    <a:pt x="488" y="312"/>
                  </a:lnTo>
                  <a:lnTo>
                    <a:pt x="536" y="304"/>
                  </a:lnTo>
                  <a:lnTo>
                    <a:pt x="608" y="336"/>
                  </a:lnTo>
                  <a:lnTo>
                    <a:pt x="672" y="408"/>
                  </a:lnTo>
                  <a:lnTo>
                    <a:pt x="656" y="480"/>
                  </a:lnTo>
                  <a:lnTo>
                    <a:pt x="592" y="440"/>
                  </a:lnTo>
                  <a:lnTo>
                    <a:pt x="552" y="512"/>
                  </a:lnTo>
                  <a:lnTo>
                    <a:pt x="472" y="472"/>
                  </a:lnTo>
                  <a:lnTo>
                    <a:pt x="432" y="472"/>
                  </a:lnTo>
                  <a:lnTo>
                    <a:pt x="416" y="488"/>
                  </a:lnTo>
                  <a:lnTo>
                    <a:pt x="384" y="472"/>
                  </a:lnTo>
                  <a:lnTo>
                    <a:pt x="376" y="504"/>
                  </a:lnTo>
                  <a:lnTo>
                    <a:pt x="336" y="480"/>
                  </a:lnTo>
                  <a:lnTo>
                    <a:pt x="296" y="528"/>
                  </a:lnTo>
                  <a:lnTo>
                    <a:pt x="248" y="488"/>
                  </a:lnTo>
                  <a:lnTo>
                    <a:pt x="256" y="448"/>
                  </a:lnTo>
                  <a:lnTo>
                    <a:pt x="160" y="392"/>
                  </a:lnTo>
                  <a:lnTo>
                    <a:pt x="64" y="376"/>
                  </a:lnTo>
                  <a:lnTo>
                    <a:pt x="16" y="384"/>
                  </a:lnTo>
                  <a:close/>
                </a:path>
              </a:pathLst>
            </a:custGeom>
            <a:grpFill/>
            <a:ln w="9525">
              <a:solidFill>
                <a:schemeClr val="bg1"/>
              </a:solidFill>
              <a:round/>
              <a:headEnd/>
              <a:tailEnd/>
            </a:ln>
          </p:spPr>
          <p:txBody>
            <a:bodyPr/>
            <a:lstStyle/>
            <a:p>
              <a:endParaRPr lang="en-US"/>
            </a:p>
          </p:txBody>
        </p:sp>
        <p:sp>
          <p:nvSpPr>
            <p:cNvPr id="75" name="Freeform 19"/>
            <p:cNvSpPr>
              <a:spLocks/>
            </p:cNvSpPr>
            <p:nvPr/>
          </p:nvSpPr>
          <p:spPr bwMode="auto">
            <a:xfrm>
              <a:off x="3567674" y="3717655"/>
              <a:ext cx="555762" cy="565344"/>
            </a:xfrm>
            <a:custGeom>
              <a:avLst/>
              <a:gdLst>
                <a:gd name="T0" fmla="*/ 2147483646 w 464"/>
                <a:gd name="T1" fmla="*/ 2147483646 h 472"/>
                <a:gd name="T2" fmla="*/ 2147483646 w 464"/>
                <a:gd name="T3" fmla="*/ 2147483646 h 472"/>
                <a:gd name="T4" fmla="*/ 2147483646 w 464"/>
                <a:gd name="T5" fmla="*/ 2147483646 h 472"/>
                <a:gd name="T6" fmla="*/ 2147483646 w 464"/>
                <a:gd name="T7" fmla="*/ 2147483646 h 472"/>
                <a:gd name="T8" fmla="*/ 2147483646 w 464"/>
                <a:gd name="T9" fmla="*/ 2147483646 h 472"/>
                <a:gd name="T10" fmla="*/ 2147483646 w 464"/>
                <a:gd name="T11" fmla="*/ 2147483646 h 472"/>
                <a:gd name="T12" fmla="*/ 2147483646 w 464"/>
                <a:gd name="T13" fmla="*/ 2147483646 h 472"/>
                <a:gd name="T14" fmla="*/ 2147483646 w 464"/>
                <a:gd name="T15" fmla="*/ 2147483646 h 472"/>
                <a:gd name="T16" fmla="*/ 2147483646 w 464"/>
                <a:gd name="T17" fmla="*/ 2147483646 h 472"/>
                <a:gd name="T18" fmla="*/ 0 w 464"/>
                <a:gd name="T19" fmla="*/ 2147483646 h 472"/>
                <a:gd name="T20" fmla="*/ 0 w 464"/>
                <a:gd name="T21" fmla="*/ 2147483646 h 472"/>
                <a:gd name="T22" fmla="*/ 2147483646 w 464"/>
                <a:gd name="T23" fmla="*/ 2147483646 h 472"/>
                <a:gd name="T24" fmla="*/ 2147483646 w 464"/>
                <a:gd name="T25" fmla="*/ 0 h 472"/>
                <a:gd name="T26" fmla="*/ 2147483646 w 464"/>
                <a:gd name="T27" fmla="*/ 2147483646 h 472"/>
                <a:gd name="T28" fmla="*/ 2147483646 w 464"/>
                <a:gd name="T29" fmla="*/ 2147483646 h 472"/>
                <a:gd name="T30" fmla="*/ 2147483646 w 464"/>
                <a:gd name="T31" fmla="*/ 2147483646 h 472"/>
                <a:gd name="T32" fmla="*/ 2147483646 w 464"/>
                <a:gd name="T33" fmla="*/ 2147483646 h 472"/>
                <a:gd name="T34" fmla="*/ 2147483646 w 464"/>
                <a:gd name="T35" fmla="*/ 2147483646 h 472"/>
                <a:gd name="T36" fmla="*/ 2147483646 w 464"/>
                <a:gd name="T37" fmla="*/ 2147483646 h 472"/>
                <a:gd name="T38" fmla="*/ 2147483646 w 464"/>
                <a:gd name="T39" fmla="*/ 2147483646 h 472"/>
                <a:gd name="T40" fmla="*/ 2147483646 w 464"/>
                <a:gd name="T41" fmla="*/ 2147483646 h 472"/>
                <a:gd name="T42" fmla="*/ 2147483646 w 464"/>
                <a:gd name="T43" fmla="*/ 2147483646 h 472"/>
                <a:gd name="T44" fmla="*/ 2147483646 w 464"/>
                <a:gd name="T45" fmla="*/ 2147483646 h 472"/>
                <a:gd name="T46" fmla="*/ 2147483646 w 464"/>
                <a:gd name="T47" fmla="*/ 2147483646 h 472"/>
                <a:gd name="T48" fmla="*/ 2147483646 w 464"/>
                <a:gd name="T49" fmla="*/ 2147483646 h 472"/>
                <a:gd name="T50" fmla="*/ 2147483646 w 464"/>
                <a:gd name="T51" fmla="*/ 2147483646 h 472"/>
                <a:gd name="T52" fmla="*/ 2147483646 w 464"/>
                <a:gd name="T53" fmla="*/ 2147483646 h 472"/>
                <a:gd name="T54" fmla="*/ 2147483646 w 464"/>
                <a:gd name="T55" fmla="*/ 2147483646 h 472"/>
                <a:gd name="T56" fmla="*/ 2147483646 w 464"/>
                <a:gd name="T57" fmla="*/ 2147483646 h 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64"/>
                <a:gd name="T88" fmla="*/ 0 h 472"/>
                <a:gd name="T89" fmla="*/ 464 w 464"/>
                <a:gd name="T90" fmla="*/ 472 h 4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64" h="472">
                  <a:moveTo>
                    <a:pt x="336" y="472"/>
                  </a:moveTo>
                  <a:lnTo>
                    <a:pt x="272" y="400"/>
                  </a:lnTo>
                  <a:lnTo>
                    <a:pt x="200" y="368"/>
                  </a:lnTo>
                  <a:lnTo>
                    <a:pt x="152" y="376"/>
                  </a:lnTo>
                  <a:lnTo>
                    <a:pt x="104" y="352"/>
                  </a:lnTo>
                  <a:lnTo>
                    <a:pt x="88" y="304"/>
                  </a:lnTo>
                  <a:lnTo>
                    <a:pt x="120" y="288"/>
                  </a:lnTo>
                  <a:lnTo>
                    <a:pt x="80" y="240"/>
                  </a:lnTo>
                  <a:lnTo>
                    <a:pt x="96" y="176"/>
                  </a:lnTo>
                  <a:lnTo>
                    <a:pt x="0" y="152"/>
                  </a:lnTo>
                  <a:lnTo>
                    <a:pt x="0" y="120"/>
                  </a:lnTo>
                  <a:lnTo>
                    <a:pt x="56" y="32"/>
                  </a:lnTo>
                  <a:lnTo>
                    <a:pt x="112" y="0"/>
                  </a:lnTo>
                  <a:lnTo>
                    <a:pt x="136" y="80"/>
                  </a:lnTo>
                  <a:lnTo>
                    <a:pt x="184" y="128"/>
                  </a:lnTo>
                  <a:lnTo>
                    <a:pt x="360" y="112"/>
                  </a:lnTo>
                  <a:lnTo>
                    <a:pt x="392" y="48"/>
                  </a:lnTo>
                  <a:lnTo>
                    <a:pt x="424" y="48"/>
                  </a:lnTo>
                  <a:lnTo>
                    <a:pt x="432" y="112"/>
                  </a:lnTo>
                  <a:lnTo>
                    <a:pt x="464" y="152"/>
                  </a:lnTo>
                  <a:lnTo>
                    <a:pt x="456" y="216"/>
                  </a:lnTo>
                  <a:lnTo>
                    <a:pt x="464" y="320"/>
                  </a:lnTo>
                  <a:lnTo>
                    <a:pt x="464" y="384"/>
                  </a:lnTo>
                  <a:lnTo>
                    <a:pt x="432" y="400"/>
                  </a:lnTo>
                  <a:lnTo>
                    <a:pt x="440" y="456"/>
                  </a:lnTo>
                  <a:lnTo>
                    <a:pt x="408" y="472"/>
                  </a:lnTo>
                  <a:lnTo>
                    <a:pt x="400" y="416"/>
                  </a:lnTo>
                  <a:lnTo>
                    <a:pt x="376" y="464"/>
                  </a:lnTo>
                  <a:lnTo>
                    <a:pt x="336" y="472"/>
                  </a:lnTo>
                  <a:close/>
                </a:path>
              </a:pathLst>
            </a:custGeom>
            <a:grpFill/>
            <a:ln w="9525">
              <a:solidFill>
                <a:schemeClr val="bg1"/>
              </a:solidFill>
              <a:round/>
              <a:headEnd/>
              <a:tailEnd/>
            </a:ln>
          </p:spPr>
          <p:txBody>
            <a:bodyPr/>
            <a:lstStyle/>
            <a:p>
              <a:endParaRPr lang="en-US"/>
            </a:p>
          </p:txBody>
        </p:sp>
        <p:sp>
          <p:nvSpPr>
            <p:cNvPr id="76" name="Freeform 20"/>
            <p:cNvSpPr>
              <a:spLocks/>
            </p:cNvSpPr>
            <p:nvPr/>
          </p:nvSpPr>
          <p:spPr bwMode="auto">
            <a:xfrm>
              <a:off x="4105836" y="3795631"/>
              <a:ext cx="651583" cy="642002"/>
            </a:xfrm>
            <a:custGeom>
              <a:avLst/>
              <a:gdLst>
                <a:gd name="T0" fmla="*/ 2147483646 w 544"/>
                <a:gd name="T1" fmla="*/ 2147483646 h 536"/>
                <a:gd name="T2" fmla="*/ 0 w 544"/>
                <a:gd name="T3" fmla="*/ 2147483646 h 536"/>
                <a:gd name="T4" fmla="*/ 2147483646 w 544"/>
                <a:gd name="T5" fmla="*/ 2147483646 h 536"/>
                <a:gd name="T6" fmla="*/ 2147483646 w 544"/>
                <a:gd name="T7" fmla="*/ 2147483646 h 536"/>
                <a:gd name="T8" fmla="*/ 2147483646 w 544"/>
                <a:gd name="T9" fmla="*/ 2147483646 h 536"/>
                <a:gd name="T10" fmla="*/ 2147483646 w 544"/>
                <a:gd name="T11" fmla="*/ 2147483646 h 536"/>
                <a:gd name="T12" fmla="*/ 2147483646 w 544"/>
                <a:gd name="T13" fmla="*/ 2147483646 h 536"/>
                <a:gd name="T14" fmla="*/ 2147483646 w 544"/>
                <a:gd name="T15" fmla="*/ 2147483646 h 536"/>
                <a:gd name="T16" fmla="*/ 2147483646 w 544"/>
                <a:gd name="T17" fmla="*/ 2147483646 h 536"/>
                <a:gd name="T18" fmla="*/ 2147483646 w 544"/>
                <a:gd name="T19" fmla="*/ 0 h 536"/>
                <a:gd name="T20" fmla="*/ 2147483646 w 544"/>
                <a:gd name="T21" fmla="*/ 2147483646 h 536"/>
                <a:gd name="T22" fmla="*/ 2147483646 w 544"/>
                <a:gd name="T23" fmla="*/ 2147483646 h 536"/>
                <a:gd name="T24" fmla="*/ 2147483646 w 544"/>
                <a:gd name="T25" fmla="*/ 2147483646 h 536"/>
                <a:gd name="T26" fmla="*/ 2147483646 w 544"/>
                <a:gd name="T27" fmla="*/ 2147483646 h 536"/>
                <a:gd name="T28" fmla="*/ 2147483646 w 544"/>
                <a:gd name="T29" fmla="*/ 2147483646 h 536"/>
                <a:gd name="T30" fmla="*/ 2147483646 w 544"/>
                <a:gd name="T31" fmla="*/ 2147483646 h 536"/>
                <a:gd name="T32" fmla="*/ 2147483646 w 544"/>
                <a:gd name="T33" fmla="*/ 2147483646 h 536"/>
                <a:gd name="T34" fmla="*/ 2147483646 w 544"/>
                <a:gd name="T35" fmla="*/ 2147483646 h 536"/>
                <a:gd name="T36" fmla="*/ 2147483646 w 544"/>
                <a:gd name="T37" fmla="*/ 2147483646 h 536"/>
                <a:gd name="T38" fmla="*/ 2147483646 w 544"/>
                <a:gd name="T39" fmla="*/ 2147483646 h 536"/>
                <a:gd name="T40" fmla="*/ 2147483646 w 544"/>
                <a:gd name="T41" fmla="*/ 2147483646 h 536"/>
                <a:gd name="T42" fmla="*/ 2147483646 w 544"/>
                <a:gd name="T43" fmla="*/ 2147483646 h 536"/>
                <a:gd name="T44" fmla="*/ 2147483646 w 544"/>
                <a:gd name="T45" fmla="*/ 2147483646 h 536"/>
                <a:gd name="T46" fmla="*/ 2147483646 w 544"/>
                <a:gd name="T47" fmla="*/ 2147483646 h 536"/>
                <a:gd name="T48" fmla="*/ 2147483646 w 544"/>
                <a:gd name="T49" fmla="*/ 2147483646 h 536"/>
                <a:gd name="T50" fmla="*/ 2147483646 w 544"/>
                <a:gd name="T51" fmla="*/ 2147483646 h 536"/>
                <a:gd name="T52" fmla="*/ 2147483646 w 544"/>
                <a:gd name="T53" fmla="*/ 2147483646 h 536"/>
                <a:gd name="T54" fmla="*/ 2147483646 w 544"/>
                <a:gd name="T55" fmla="*/ 2147483646 h 536"/>
                <a:gd name="T56" fmla="*/ 2147483646 w 544"/>
                <a:gd name="T57" fmla="*/ 2147483646 h 536"/>
                <a:gd name="T58" fmla="*/ 2147483646 w 544"/>
                <a:gd name="T59" fmla="*/ 2147483646 h 536"/>
                <a:gd name="T60" fmla="*/ 2147483646 w 544"/>
                <a:gd name="T61" fmla="*/ 2147483646 h 536"/>
                <a:gd name="T62" fmla="*/ 2147483646 w 544"/>
                <a:gd name="T63" fmla="*/ 2147483646 h 536"/>
                <a:gd name="T64" fmla="*/ 2147483646 w 544"/>
                <a:gd name="T65" fmla="*/ 2147483646 h 536"/>
                <a:gd name="T66" fmla="*/ 2147483646 w 544"/>
                <a:gd name="T67" fmla="*/ 2147483646 h 536"/>
                <a:gd name="T68" fmla="*/ 2147483646 w 544"/>
                <a:gd name="T69" fmla="*/ 2147483646 h 536"/>
                <a:gd name="T70" fmla="*/ 2147483646 w 544"/>
                <a:gd name="T71" fmla="*/ 2147483646 h 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4"/>
                <a:gd name="T109" fmla="*/ 0 h 536"/>
                <a:gd name="T110" fmla="*/ 544 w 544"/>
                <a:gd name="T111" fmla="*/ 536 h 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4" h="536">
                  <a:moveTo>
                    <a:pt x="8" y="256"/>
                  </a:moveTo>
                  <a:lnTo>
                    <a:pt x="0" y="152"/>
                  </a:lnTo>
                  <a:lnTo>
                    <a:pt x="8" y="88"/>
                  </a:lnTo>
                  <a:lnTo>
                    <a:pt x="88" y="104"/>
                  </a:lnTo>
                  <a:lnTo>
                    <a:pt x="152" y="64"/>
                  </a:lnTo>
                  <a:lnTo>
                    <a:pt x="256" y="80"/>
                  </a:lnTo>
                  <a:lnTo>
                    <a:pt x="328" y="32"/>
                  </a:lnTo>
                  <a:lnTo>
                    <a:pt x="392" y="8"/>
                  </a:lnTo>
                  <a:lnTo>
                    <a:pt x="440" y="24"/>
                  </a:lnTo>
                  <a:lnTo>
                    <a:pt x="464" y="0"/>
                  </a:lnTo>
                  <a:lnTo>
                    <a:pt x="512" y="8"/>
                  </a:lnTo>
                  <a:lnTo>
                    <a:pt x="512" y="48"/>
                  </a:lnTo>
                  <a:lnTo>
                    <a:pt x="464" y="48"/>
                  </a:lnTo>
                  <a:lnTo>
                    <a:pt x="456" y="72"/>
                  </a:lnTo>
                  <a:lnTo>
                    <a:pt x="384" y="104"/>
                  </a:lnTo>
                  <a:lnTo>
                    <a:pt x="408" y="224"/>
                  </a:lnTo>
                  <a:lnTo>
                    <a:pt x="456" y="288"/>
                  </a:lnTo>
                  <a:lnTo>
                    <a:pt x="456" y="336"/>
                  </a:lnTo>
                  <a:lnTo>
                    <a:pt x="528" y="384"/>
                  </a:lnTo>
                  <a:lnTo>
                    <a:pt x="544" y="456"/>
                  </a:lnTo>
                  <a:lnTo>
                    <a:pt x="480" y="488"/>
                  </a:lnTo>
                  <a:lnTo>
                    <a:pt x="472" y="536"/>
                  </a:lnTo>
                  <a:lnTo>
                    <a:pt x="448" y="520"/>
                  </a:lnTo>
                  <a:lnTo>
                    <a:pt x="424" y="536"/>
                  </a:lnTo>
                  <a:lnTo>
                    <a:pt x="424" y="496"/>
                  </a:lnTo>
                  <a:lnTo>
                    <a:pt x="360" y="520"/>
                  </a:lnTo>
                  <a:lnTo>
                    <a:pt x="352" y="480"/>
                  </a:lnTo>
                  <a:lnTo>
                    <a:pt x="312" y="488"/>
                  </a:lnTo>
                  <a:lnTo>
                    <a:pt x="288" y="464"/>
                  </a:lnTo>
                  <a:lnTo>
                    <a:pt x="248" y="440"/>
                  </a:lnTo>
                  <a:lnTo>
                    <a:pt x="216" y="464"/>
                  </a:lnTo>
                  <a:lnTo>
                    <a:pt x="168" y="392"/>
                  </a:lnTo>
                  <a:lnTo>
                    <a:pt x="96" y="416"/>
                  </a:lnTo>
                  <a:lnTo>
                    <a:pt x="48" y="328"/>
                  </a:lnTo>
                  <a:lnTo>
                    <a:pt x="48" y="272"/>
                  </a:lnTo>
                  <a:lnTo>
                    <a:pt x="8" y="256"/>
                  </a:lnTo>
                  <a:close/>
                </a:path>
              </a:pathLst>
            </a:custGeom>
            <a:grpFill/>
            <a:ln w="9525">
              <a:solidFill>
                <a:schemeClr val="bg1"/>
              </a:solidFill>
              <a:round/>
              <a:headEnd/>
              <a:tailEnd/>
            </a:ln>
          </p:spPr>
          <p:txBody>
            <a:bodyPr/>
            <a:lstStyle/>
            <a:p>
              <a:endParaRPr lang="en-US"/>
            </a:p>
          </p:txBody>
        </p:sp>
        <p:sp>
          <p:nvSpPr>
            <p:cNvPr id="77" name="Freeform 21"/>
            <p:cNvSpPr>
              <a:spLocks/>
            </p:cNvSpPr>
            <p:nvPr/>
          </p:nvSpPr>
          <p:spPr bwMode="auto">
            <a:xfrm>
              <a:off x="4564583" y="3796653"/>
              <a:ext cx="555762" cy="642002"/>
            </a:xfrm>
            <a:custGeom>
              <a:avLst/>
              <a:gdLst>
                <a:gd name="T0" fmla="*/ 2147483646 w 464"/>
                <a:gd name="T1" fmla="*/ 2147483646 h 536"/>
                <a:gd name="T2" fmla="*/ 2147483646 w 464"/>
                <a:gd name="T3" fmla="*/ 2147483646 h 536"/>
                <a:gd name="T4" fmla="*/ 2147483646 w 464"/>
                <a:gd name="T5" fmla="*/ 2147483646 h 536"/>
                <a:gd name="T6" fmla="*/ 2147483646 w 464"/>
                <a:gd name="T7" fmla="*/ 2147483646 h 536"/>
                <a:gd name="T8" fmla="*/ 2147483646 w 464"/>
                <a:gd name="T9" fmla="*/ 2147483646 h 536"/>
                <a:gd name="T10" fmla="*/ 0 w 464"/>
                <a:gd name="T11" fmla="*/ 2147483646 h 536"/>
                <a:gd name="T12" fmla="*/ 2147483646 w 464"/>
                <a:gd name="T13" fmla="*/ 2147483646 h 536"/>
                <a:gd name="T14" fmla="*/ 2147483646 w 464"/>
                <a:gd name="T15" fmla="*/ 2147483646 h 536"/>
                <a:gd name="T16" fmla="*/ 2147483646 w 464"/>
                <a:gd name="T17" fmla="*/ 2147483646 h 536"/>
                <a:gd name="T18" fmla="*/ 2147483646 w 464"/>
                <a:gd name="T19" fmla="*/ 2147483646 h 536"/>
                <a:gd name="T20" fmla="*/ 2147483646 w 464"/>
                <a:gd name="T21" fmla="*/ 2147483646 h 536"/>
                <a:gd name="T22" fmla="*/ 2147483646 w 464"/>
                <a:gd name="T23" fmla="*/ 2147483646 h 536"/>
                <a:gd name="T24" fmla="*/ 2147483646 w 464"/>
                <a:gd name="T25" fmla="*/ 2147483646 h 536"/>
                <a:gd name="T26" fmla="*/ 2147483646 w 464"/>
                <a:gd name="T27" fmla="*/ 2147483646 h 536"/>
                <a:gd name="T28" fmla="*/ 2147483646 w 464"/>
                <a:gd name="T29" fmla="*/ 2147483646 h 536"/>
                <a:gd name="T30" fmla="*/ 2147483646 w 464"/>
                <a:gd name="T31" fmla="*/ 0 h 536"/>
                <a:gd name="T32" fmla="*/ 2147483646 w 464"/>
                <a:gd name="T33" fmla="*/ 2147483646 h 536"/>
                <a:gd name="T34" fmla="*/ 2147483646 w 464"/>
                <a:gd name="T35" fmla="*/ 2147483646 h 536"/>
                <a:gd name="T36" fmla="*/ 2147483646 w 464"/>
                <a:gd name="T37" fmla="*/ 2147483646 h 536"/>
                <a:gd name="T38" fmla="*/ 2147483646 w 464"/>
                <a:gd name="T39" fmla="*/ 2147483646 h 536"/>
                <a:gd name="T40" fmla="*/ 2147483646 w 464"/>
                <a:gd name="T41" fmla="*/ 2147483646 h 536"/>
                <a:gd name="T42" fmla="*/ 2147483646 w 464"/>
                <a:gd name="T43" fmla="*/ 2147483646 h 536"/>
                <a:gd name="T44" fmla="*/ 2147483646 w 464"/>
                <a:gd name="T45" fmla="*/ 2147483646 h 536"/>
                <a:gd name="T46" fmla="*/ 2147483646 w 464"/>
                <a:gd name="T47" fmla="*/ 2147483646 h 536"/>
                <a:gd name="T48" fmla="*/ 2147483646 w 464"/>
                <a:gd name="T49" fmla="*/ 2147483646 h 536"/>
                <a:gd name="T50" fmla="*/ 2147483646 w 464"/>
                <a:gd name="T51" fmla="*/ 2147483646 h 536"/>
                <a:gd name="T52" fmla="*/ 2147483646 w 464"/>
                <a:gd name="T53" fmla="*/ 2147483646 h 536"/>
                <a:gd name="T54" fmla="*/ 2147483646 w 464"/>
                <a:gd name="T55" fmla="*/ 2147483646 h 536"/>
                <a:gd name="T56" fmla="*/ 2147483646 w 464"/>
                <a:gd name="T57" fmla="*/ 2147483646 h 536"/>
                <a:gd name="T58" fmla="*/ 2147483646 w 464"/>
                <a:gd name="T59" fmla="*/ 2147483646 h 536"/>
                <a:gd name="T60" fmla="*/ 2147483646 w 464"/>
                <a:gd name="T61" fmla="*/ 2147483646 h 536"/>
                <a:gd name="T62" fmla="*/ 2147483646 w 464"/>
                <a:gd name="T63" fmla="*/ 2147483646 h 536"/>
                <a:gd name="T64" fmla="*/ 2147483646 w 464"/>
                <a:gd name="T65" fmla="*/ 2147483646 h 536"/>
                <a:gd name="T66" fmla="*/ 2147483646 w 464"/>
                <a:gd name="T67" fmla="*/ 2147483646 h 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4"/>
                <a:gd name="T103" fmla="*/ 0 h 536"/>
                <a:gd name="T104" fmla="*/ 464 w 464"/>
                <a:gd name="T105" fmla="*/ 536 h 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4" h="536">
                  <a:moveTo>
                    <a:pt x="160" y="456"/>
                  </a:moveTo>
                  <a:lnTo>
                    <a:pt x="144" y="384"/>
                  </a:lnTo>
                  <a:lnTo>
                    <a:pt x="72" y="336"/>
                  </a:lnTo>
                  <a:lnTo>
                    <a:pt x="72" y="288"/>
                  </a:lnTo>
                  <a:lnTo>
                    <a:pt x="24" y="224"/>
                  </a:lnTo>
                  <a:lnTo>
                    <a:pt x="0" y="104"/>
                  </a:lnTo>
                  <a:lnTo>
                    <a:pt x="72" y="72"/>
                  </a:lnTo>
                  <a:lnTo>
                    <a:pt x="80" y="48"/>
                  </a:lnTo>
                  <a:lnTo>
                    <a:pt x="128" y="48"/>
                  </a:lnTo>
                  <a:lnTo>
                    <a:pt x="152" y="56"/>
                  </a:lnTo>
                  <a:lnTo>
                    <a:pt x="152" y="88"/>
                  </a:lnTo>
                  <a:lnTo>
                    <a:pt x="152" y="120"/>
                  </a:lnTo>
                  <a:lnTo>
                    <a:pt x="200" y="88"/>
                  </a:lnTo>
                  <a:lnTo>
                    <a:pt x="208" y="40"/>
                  </a:lnTo>
                  <a:lnTo>
                    <a:pt x="280" y="32"/>
                  </a:lnTo>
                  <a:lnTo>
                    <a:pt x="312" y="0"/>
                  </a:lnTo>
                  <a:lnTo>
                    <a:pt x="344" y="32"/>
                  </a:lnTo>
                  <a:lnTo>
                    <a:pt x="424" y="40"/>
                  </a:lnTo>
                  <a:lnTo>
                    <a:pt x="400" y="96"/>
                  </a:lnTo>
                  <a:lnTo>
                    <a:pt x="432" y="200"/>
                  </a:lnTo>
                  <a:lnTo>
                    <a:pt x="408" y="232"/>
                  </a:lnTo>
                  <a:lnTo>
                    <a:pt x="440" y="280"/>
                  </a:lnTo>
                  <a:lnTo>
                    <a:pt x="440" y="360"/>
                  </a:lnTo>
                  <a:lnTo>
                    <a:pt x="392" y="400"/>
                  </a:lnTo>
                  <a:lnTo>
                    <a:pt x="448" y="424"/>
                  </a:lnTo>
                  <a:lnTo>
                    <a:pt x="464" y="480"/>
                  </a:lnTo>
                  <a:lnTo>
                    <a:pt x="464" y="512"/>
                  </a:lnTo>
                  <a:lnTo>
                    <a:pt x="432" y="504"/>
                  </a:lnTo>
                  <a:lnTo>
                    <a:pt x="384" y="528"/>
                  </a:lnTo>
                  <a:lnTo>
                    <a:pt x="320" y="512"/>
                  </a:lnTo>
                  <a:lnTo>
                    <a:pt x="304" y="536"/>
                  </a:lnTo>
                  <a:lnTo>
                    <a:pt x="248" y="520"/>
                  </a:lnTo>
                  <a:lnTo>
                    <a:pt x="232" y="496"/>
                  </a:lnTo>
                  <a:lnTo>
                    <a:pt x="160" y="456"/>
                  </a:lnTo>
                  <a:close/>
                </a:path>
              </a:pathLst>
            </a:custGeom>
            <a:grpFill/>
            <a:ln w="9525">
              <a:solidFill>
                <a:schemeClr val="bg1"/>
              </a:solidFill>
              <a:round/>
              <a:headEnd/>
              <a:tailEnd/>
            </a:ln>
          </p:spPr>
          <p:txBody>
            <a:bodyPr/>
            <a:lstStyle/>
            <a:p>
              <a:endParaRPr lang="en-US"/>
            </a:p>
          </p:txBody>
        </p:sp>
        <p:sp>
          <p:nvSpPr>
            <p:cNvPr id="78" name="Freeform 22"/>
            <p:cNvSpPr>
              <a:spLocks/>
            </p:cNvSpPr>
            <p:nvPr/>
          </p:nvSpPr>
          <p:spPr bwMode="auto">
            <a:xfrm>
              <a:off x="1901372" y="3635170"/>
              <a:ext cx="728239" cy="891135"/>
            </a:xfrm>
            <a:custGeom>
              <a:avLst/>
              <a:gdLst>
                <a:gd name="T0" fmla="*/ 2147483646 w 608"/>
                <a:gd name="T1" fmla="*/ 0 h 744"/>
                <a:gd name="T2" fmla="*/ 2147483646 w 608"/>
                <a:gd name="T3" fmla="*/ 2147483646 h 744"/>
                <a:gd name="T4" fmla="*/ 2147483646 w 608"/>
                <a:gd name="T5" fmla="*/ 2147483646 h 744"/>
                <a:gd name="T6" fmla="*/ 2147483646 w 608"/>
                <a:gd name="T7" fmla="*/ 2147483646 h 744"/>
                <a:gd name="T8" fmla="*/ 2147483646 w 608"/>
                <a:gd name="T9" fmla="*/ 2147483646 h 744"/>
                <a:gd name="T10" fmla="*/ 2147483646 w 608"/>
                <a:gd name="T11" fmla="*/ 2147483646 h 744"/>
                <a:gd name="T12" fmla="*/ 2147483646 w 608"/>
                <a:gd name="T13" fmla="*/ 2147483646 h 744"/>
                <a:gd name="T14" fmla="*/ 2147483646 w 608"/>
                <a:gd name="T15" fmla="*/ 2147483646 h 744"/>
                <a:gd name="T16" fmla="*/ 2147483646 w 608"/>
                <a:gd name="T17" fmla="*/ 2147483646 h 744"/>
                <a:gd name="T18" fmla="*/ 2147483646 w 608"/>
                <a:gd name="T19" fmla="*/ 2147483646 h 744"/>
                <a:gd name="T20" fmla="*/ 2147483646 w 608"/>
                <a:gd name="T21" fmla="*/ 2147483646 h 744"/>
                <a:gd name="T22" fmla="*/ 2147483646 w 608"/>
                <a:gd name="T23" fmla="*/ 2147483646 h 744"/>
                <a:gd name="T24" fmla="*/ 2147483646 w 608"/>
                <a:gd name="T25" fmla="*/ 2147483646 h 744"/>
                <a:gd name="T26" fmla="*/ 2147483646 w 608"/>
                <a:gd name="T27" fmla="*/ 2147483646 h 744"/>
                <a:gd name="T28" fmla="*/ 2147483646 w 608"/>
                <a:gd name="T29" fmla="*/ 2147483646 h 744"/>
                <a:gd name="T30" fmla="*/ 2147483646 w 608"/>
                <a:gd name="T31" fmla="*/ 2147483646 h 744"/>
                <a:gd name="T32" fmla="*/ 2147483646 w 608"/>
                <a:gd name="T33" fmla="*/ 2147483646 h 744"/>
                <a:gd name="T34" fmla="*/ 2147483646 w 608"/>
                <a:gd name="T35" fmla="*/ 2147483646 h 744"/>
                <a:gd name="T36" fmla="*/ 2147483646 w 608"/>
                <a:gd name="T37" fmla="*/ 2147483646 h 744"/>
                <a:gd name="T38" fmla="*/ 2147483646 w 608"/>
                <a:gd name="T39" fmla="*/ 2147483646 h 744"/>
                <a:gd name="T40" fmla="*/ 2147483646 w 608"/>
                <a:gd name="T41" fmla="*/ 2147483646 h 744"/>
                <a:gd name="T42" fmla="*/ 2147483646 w 608"/>
                <a:gd name="T43" fmla="*/ 2147483646 h 744"/>
                <a:gd name="T44" fmla="*/ 2147483646 w 608"/>
                <a:gd name="T45" fmla="*/ 2147483646 h 744"/>
                <a:gd name="T46" fmla="*/ 2147483646 w 608"/>
                <a:gd name="T47" fmla="*/ 2147483646 h 744"/>
                <a:gd name="T48" fmla="*/ 2147483646 w 608"/>
                <a:gd name="T49" fmla="*/ 2147483646 h 744"/>
                <a:gd name="T50" fmla="*/ 2147483646 w 608"/>
                <a:gd name="T51" fmla="*/ 2147483646 h 744"/>
                <a:gd name="T52" fmla="*/ 2147483646 w 608"/>
                <a:gd name="T53" fmla="*/ 2147483646 h 744"/>
                <a:gd name="T54" fmla="*/ 2147483646 w 608"/>
                <a:gd name="T55" fmla="*/ 2147483646 h 744"/>
                <a:gd name="T56" fmla="*/ 2147483646 w 608"/>
                <a:gd name="T57" fmla="*/ 2147483646 h 744"/>
                <a:gd name="T58" fmla="*/ 0 w 608"/>
                <a:gd name="T59" fmla="*/ 2147483646 h 744"/>
                <a:gd name="T60" fmla="*/ 2147483646 w 608"/>
                <a:gd name="T61" fmla="*/ 2147483646 h 744"/>
                <a:gd name="T62" fmla="*/ 2147483646 w 608"/>
                <a:gd name="T63" fmla="*/ 2147483646 h 744"/>
                <a:gd name="T64" fmla="*/ 2147483646 w 608"/>
                <a:gd name="T65" fmla="*/ 2147483646 h 744"/>
                <a:gd name="T66" fmla="*/ 2147483646 w 608"/>
                <a:gd name="T67" fmla="*/ 2147483646 h 744"/>
                <a:gd name="T68" fmla="*/ 2147483646 w 608"/>
                <a:gd name="T69" fmla="*/ 2147483646 h 744"/>
                <a:gd name="T70" fmla="*/ 2147483646 w 608"/>
                <a:gd name="T71" fmla="*/ 2147483646 h 744"/>
                <a:gd name="T72" fmla="*/ 2147483646 w 608"/>
                <a:gd name="T73" fmla="*/ 0 h 7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744"/>
                <a:gd name="T113" fmla="*/ 608 w 608"/>
                <a:gd name="T114" fmla="*/ 744 h 7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744">
                  <a:moveTo>
                    <a:pt x="184" y="0"/>
                  </a:moveTo>
                  <a:lnTo>
                    <a:pt x="224" y="32"/>
                  </a:lnTo>
                  <a:lnTo>
                    <a:pt x="296" y="32"/>
                  </a:lnTo>
                  <a:lnTo>
                    <a:pt x="304" y="104"/>
                  </a:lnTo>
                  <a:lnTo>
                    <a:pt x="352" y="136"/>
                  </a:lnTo>
                  <a:lnTo>
                    <a:pt x="352" y="160"/>
                  </a:lnTo>
                  <a:lnTo>
                    <a:pt x="320" y="168"/>
                  </a:lnTo>
                  <a:lnTo>
                    <a:pt x="368" y="224"/>
                  </a:lnTo>
                  <a:lnTo>
                    <a:pt x="440" y="208"/>
                  </a:lnTo>
                  <a:lnTo>
                    <a:pt x="440" y="256"/>
                  </a:lnTo>
                  <a:lnTo>
                    <a:pt x="472" y="296"/>
                  </a:lnTo>
                  <a:lnTo>
                    <a:pt x="496" y="480"/>
                  </a:lnTo>
                  <a:lnTo>
                    <a:pt x="552" y="528"/>
                  </a:lnTo>
                  <a:lnTo>
                    <a:pt x="600" y="600"/>
                  </a:lnTo>
                  <a:lnTo>
                    <a:pt x="608" y="672"/>
                  </a:lnTo>
                  <a:lnTo>
                    <a:pt x="552" y="704"/>
                  </a:lnTo>
                  <a:lnTo>
                    <a:pt x="424" y="704"/>
                  </a:lnTo>
                  <a:lnTo>
                    <a:pt x="312" y="744"/>
                  </a:lnTo>
                  <a:lnTo>
                    <a:pt x="200" y="712"/>
                  </a:lnTo>
                  <a:lnTo>
                    <a:pt x="152" y="720"/>
                  </a:lnTo>
                  <a:lnTo>
                    <a:pt x="144" y="640"/>
                  </a:lnTo>
                  <a:lnTo>
                    <a:pt x="184" y="608"/>
                  </a:lnTo>
                  <a:lnTo>
                    <a:pt x="120" y="512"/>
                  </a:lnTo>
                  <a:lnTo>
                    <a:pt x="96" y="472"/>
                  </a:lnTo>
                  <a:lnTo>
                    <a:pt x="56" y="456"/>
                  </a:lnTo>
                  <a:lnTo>
                    <a:pt x="104" y="392"/>
                  </a:lnTo>
                  <a:lnTo>
                    <a:pt x="72" y="336"/>
                  </a:lnTo>
                  <a:lnTo>
                    <a:pt x="32" y="328"/>
                  </a:lnTo>
                  <a:lnTo>
                    <a:pt x="32" y="280"/>
                  </a:lnTo>
                  <a:lnTo>
                    <a:pt x="0" y="272"/>
                  </a:lnTo>
                  <a:lnTo>
                    <a:pt x="16" y="240"/>
                  </a:lnTo>
                  <a:lnTo>
                    <a:pt x="48" y="224"/>
                  </a:lnTo>
                  <a:lnTo>
                    <a:pt x="48" y="200"/>
                  </a:lnTo>
                  <a:lnTo>
                    <a:pt x="88" y="176"/>
                  </a:lnTo>
                  <a:lnTo>
                    <a:pt x="96" y="104"/>
                  </a:lnTo>
                  <a:lnTo>
                    <a:pt x="144" y="104"/>
                  </a:lnTo>
                  <a:lnTo>
                    <a:pt x="184" y="0"/>
                  </a:lnTo>
                  <a:close/>
                </a:path>
              </a:pathLst>
            </a:custGeom>
            <a:grpFill/>
            <a:ln w="9525">
              <a:solidFill>
                <a:schemeClr val="bg1"/>
              </a:solidFill>
              <a:round/>
              <a:headEnd/>
              <a:tailEnd/>
            </a:ln>
          </p:spPr>
          <p:txBody>
            <a:bodyPr/>
            <a:lstStyle/>
            <a:p>
              <a:endParaRPr lang="en-US"/>
            </a:p>
          </p:txBody>
        </p:sp>
        <p:sp>
          <p:nvSpPr>
            <p:cNvPr id="79" name="Freeform 23"/>
            <p:cNvSpPr>
              <a:spLocks/>
            </p:cNvSpPr>
            <p:nvPr/>
          </p:nvSpPr>
          <p:spPr bwMode="auto">
            <a:xfrm>
              <a:off x="4998105" y="4335816"/>
              <a:ext cx="958210" cy="689911"/>
            </a:xfrm>
            <a:custGeom>
              <a:avLst/>
              <a:gdLst>
                <a:gd name="T0" fmla="*/ 2147483646 w 800"/>
                <a:gd name="T1" fmla="*/ 2147483646 h 576"/>
                <a:gd name="T2" fmla="*/ 0 w 800"/>
                <a:gd name="T3" fmla="*/ 2147483646 h 576"/>
                <a:gd name="T4" fmla="*/ 2147483646 w 800"/>
                <a:gd name="T5" fmla="*/ 2147483646 h 576"/>
                <a:gd name="T6" fmla="*/ 2147483646 w 800"/>
                <a:gd name="T7" fmla="*/ 2147483646 h 576"/>
                <a:gd name="T8" fmla="*/ 2147483646 w 800"/>
                <a:gd name="T9" fmla="*/ 2147483646 h 576"/>
                <a:gd name="T10" fmla="*/ 2147483646 w 800"/>
                <a:gd name="T11" fmla="*/ 2147483646 h 576"/>
                <a:gd name="T12" fmla="*/ 2147483646 w 800"/>
                <a:gd name="T13" fmla="*/ 2147483646 h 576"/>
                <a:gd name="T14" fmla="*/ 2147483646 w 800"/>
                <a:gd name="T15" fmla="*/ 2147483646 h 576"/>
                <a:gd name="T16" fmla="*/ 2147483646 w 800"/>
                <a:gd name="T17" fmla="*/ 2147483646 h 576"/>
                <a:gd name="T18" fmla="*/ 2147483646 w 800"/>
                <a:gd name="T19" fmla="*/ 2147483646 h 576"/>
                <a:gd name="T20" fmla="*/ 2147483646 w 800"/>
                <a:gd name="T21" fmla="*/ 2147483646 h 576"/>
                <a:gd name="T22" fmla="*/ 2147483646 w 800"/>
                <a:gd name="T23" fmla="*/ 2147483646 h 576"/>
                <a:gd name="T24" fmla="*/ 2147483646 w 800"/>
                <a:gd name="T25" fmla="*/ 2147483646 h 576"/>
                <a:gd name="T26" fmla="*/ 2147483646 w 800"/>
                <a:gd name="T27" fmla="*/ 2147483646 h 576"/>
                <a:gd name="T28" fmla="*/ 2147483646 w 800"/>
                <a:gd name="T29" fmla="*/ 2147483646 h 576"/>
                <a:gd name="T30" fmla="*/ 2147483646 w 800"/>
                <a:gd name="T31" fmla="*/ 2147483646 h 576"/>
                <a:gd name="T32" fmla="*/ 2147483646 w 800"/>
                <a:gd name="T33" fmla="*/ 2147483646 h 576"/>
                <a:gd name="T34" fmla="*/ 2147483646 w 800"/>
                <a:gd name="T35" fmla="*/ 2147483646 h 576"/>
                <a:gd name="T36" fmla="*/ 2147483646 w 800"/>
                <a:gd name="T37" fmla="*/ 2147483646 h 576"/>
                <a:gd name="T38" fmla="*/ 2147483646 w 800"/>
                <a:gd name="T39" fmla="*/ 2147483646 h 576"/>
                <a:gd name="T40" fmla="*/ 2147483646 w 800"/>
                <a:gd name="T41" fmla="*/ 2147483646 h 576"/>
                <a:gd name="T42" fmla="*/ 2147483646 w 800"/>
                <a:gd name="T43" fmla="*/ 2147483646 h 576"/>
                <a:gd name="T44" fmla="*/ 2147483646 w 800"/>
                <a:gd name="T45" fmla="*/ 2147483646 h 576"/>
                <a:gd name="T46" fmla="*/ 2147483646 w 800"/>
                <a:gd name="T47" fmla="*/ 2147483646 h 576"/>
                <a:gd name="T48" fmla="*/ 2147483646 w 800"/>
                <a:gd name="T49" fmla="*/ 2147483646 h 576"/>
                <a:gd name="T50" fmla="*/ 2147483646 w 800"/>
                <a:gd name="T51" fmla="*/ 2147483646 h 576"/>
                <a:gd name="T52" fmla="*/ 2147483646 w 800"/>
                <a:gd name="T53" fmla="*/ 2147483646 h 576"/>
                <a:gd name="T54" fmla="*/ 2147483646 w 800"/>
                <a:gd name="T55" fmla="*/ 2147483646 h 576"/>
                <a:gd name="T56" fmla="*/ 2147483646 w 800"/>
                <a:gd name="T57" fmla="*/ 2147483646 h 576"/>
                <a:gd name="T58" fmla="*/ 2147483646 w 800"/>
                <a:gd name="T59" fmla="*/ 2147483646 h 576"/>
                <a:gd name="T60" fmla="*/ 2147483646 w 800"/>
                <a:gd name="T61" fmla="*/ 2147483646 h 576"/>
                <a:gd name="T62" fmla="*/ 2147483646 w 800"/>
                <a:gd name="T63" fmla="*/ 2147483646 h 576"/>
                <a:gd name="T64" fmla="*/ 2147483646 w 800"/>
                <a:gd name="T65" fmla="*/ 2147483646 h 576"/>
                <a:gd name="T66" fmla="*/ 2147483646 w 800"/>
                <a:gd name="T67" fmla="*/ 0 h 576"/>
                <a:gd name="T68" fmla="*/ 2147483646 w 800"/>
                <a:gd name="T69" fmla="*/ 2147483646 h 576"/>
                <a:gd name="T70" fmla="*/ 2147483646 w 800"/>
                <a:gd name="T71" fmla="*/ 2147483646 h 576"/>
                <a:gd name="T72" fmla="*/ 2147483646 w 800"/>
                <a:gd name="T73" fmla="*/ 2147483646 h 576"/>
                <a:gd name="T74" fmla="*/ 2147483646 w 800"/>
                <a:gd name="T75" fmla="*/ 2147483646 h 576"/>
                <a:gd name="T76" fmla="*/ 2147483646 w 800"/>
                <a:gd name="T77" fmla="*/ 2147483646 h 576"/>
                <a:gd name="T78" fmla="*/ 2147483646 w 800"/>
                <a:gd name="T79" fmla="*/ 2147483646 h 576"/>
                <a:gd name="T80" fmla="*/ 2147483646 w 800"/>
                <a:gd name="T81" fmla="*/ 2147483646 h 576"/>
                <a:gd name="T82" fmla="*/ 2147483646 w 800"/>
                <a:gd name="T83" fmla="*/ 2147483646 h 576"/>
                <a:gd name="T84" fmla="*/ 2147483646 w 800"/>
                <a:gd name="T85" fmla="*/ 2147483646 h 576"/>
                <a:gd name="T86" fmla="*/ 2147483646 w 800"/>
                <a:gd name="T87" fmla="*/ 2147483646 h 5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00"/>
                <a:gd name="T133" fmla="*/ 0 h 576"/>
                <a:gd name="T134" fmla="*/ 800 w 800"/>
                <a:gd name="T135" fmla="*/ 576 h 5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00" h="576">
                  <a:moveTo>
                    <a:pt x="96" y="48"/>
                  </a:moveTo>
                  <a:lnTo>
                    <a:pt x="64" y="40"/>
                  </a:lnTo>
                  <a:lnTo>
                    <a:pt x="16" y="64"/>
                  </a:lnTo>
                  <a:lnTo>
                    <a:pt x="0" y="136"/>
                  </a:lnTo>
                  <a:lnTo>
                    <a:pt x="40" y="168"/>
                  </a:lnTo>
                  <a:lnTo>
                    <a:pt x="80" y="160"/>
                  </a:lnTo>
                  <a:lnTo>
                    <a:pt x="56" y="208"/>
                  </a:lnTo>
                  <a:lnTo>
                    <a:pt x="104" y="240"/>
                  </a:lnTo>
                  <a:lnTo>
                    <a:pt x="72" y="256"/>
                  </a:lnTo>
                  <a:lnTo>
                    <a:pt x="88" y="392"/>
                  </a:lnTo>
                  <a:lnTo>
                    <a:pt x="56" y="464"/>
                  </a:lnTo>
                  <a:lnTo>
                    <a:pt x="104" y="496"/>
                  </a:lnTo>
                  <a:lnTo>
                    <a:pt x="168" y="488"/>
                  </a:lnTo>
                  <a:lnTo>
                    <a:pt x="208" y="576"/>
                  </a:lnTo>
                  <a:lnTo>
                    <a:pt x="232" y="512"/>
                  </a:lnTo>
                  <a:lnTo>
                    <a:pt x="264" y="552"/>
                  </a:lnTo>
                  <a:lnTo>
                    <a:pt x="288" y="536"/>
                  </a:lnTo>
                  <a:lnTo>
                    <a:pt x="400" y="544"/>
                  </a:lnTo>
                  <a:lnTo>
                    <a:pt x="400" y="512"/>
                  </a:lnTo>
                  <a:lnTo>
                    <a:pt x="456" y="464"/>
                  </a:lnTo>
                  <a:lnTo>
                    <a:pt x="464" y="424"/>
                  </a:lnTo>
                  <a:lnTo>
                    <a:pt x="432" y="392"/>
                  </a:lnTo>
                  <a:lnTo>
                    <a:pt x="424" y="352"/>
                  </a:lnTo>
                  <a:lnTo>
                    <a:pt x="456" y="312"/>
                  </a:lnTo>
                  <a:lnTo>
                    <a:pt x="496" y="304"/>
                  </a:lnTo>
                  <a:lnTo>
                    <a:pt x="544" y="320"/>
                  </a:lnTo>
                  <a:lnTo>
                    <a:pt x="504" y="352"/>
                  </a:lnTo>
                  <a:lnTo>
                    <a:pt x="512" y="416"/>
                  </a:lnTo>
                  <a:lnTo>
                    <a:pt x="536" y="408"/>
                  </a:lnTo>
                  <a:lnTo>
                    <a:pt x="544" y="392"/>
                  </a:lnTo>
                  <a:lnTo>
                    <a:pt x="560" y="424"/>
                  </a:lnTo>
                  <a:lnTo>
                    <a:pt x="536" y="456"/>
                  </a:lnTo>
                  <a:lnTo>
                    <a:pt x="496" y="480"/>
                  </a:lnTo>
                  <a:lnTo>
                    <a:pt x="496" y="504"/>
                  </a:lnTo>
                  <a:lnTo>
                    <a:pt x="472" y="512"/>
                  </a:lnTo>
                  <a:lnTo>
                    <a:pt x="456" y="504"/>
                  </a:lnTo>
                  <a:lnTo>
                    <a:pt x="440" y="520"/>
                  </a:lnTo>
                  <a:lnTo>
                    <a:pt x="424" y="544"/>
                  </a:lnTo>
                  <a:lnTo>
                    <a:pt x="400" y="552"/>
                  </a:lnTo>
                  <a:lnTo>
                    <a:pt x="400" y="568"/>
                  </a:lnTo>
                  <a:lnTo>
                    <a:pt x="432" y="552"/>
                  </a:lnTo>
                  <a:lnTo>
                    <a:pt x="456" y="528"/>
                  </a:lnTo>
                  <a:lnTo>
                    <a:pt x="472" y="520"/>
                  </a:lnTo>
                  <a:lnTo>
                    <a:pt x="488" y="528"/>
                  </a:lnTo>
                  <a:lnTo>
                    <a:pt x="472" y="544"/>
                  </a:lnTo>
                  <a:lnTo>
                    <a:pt x="488" y="544"/>
                  </a:lnTo>
                  <a:lnTo>
                    <a:pt x="496" y="520"/>
                  </a:lnTo>
                  <a:lnTo>
                    <a:pt x="512" y="496"/>
                  </a:lnTo>
                  <a:lnTo>
                    <a:pt x="528" y="480"/>
                  </a:lnTo>
                  <a:lnTo>
                    <a:pt x="552" y="456"/>
                  </a:lnTo>
                  <a:lnTo>
                    <a:pt x="576" y="448"/>
                  </a:lnTo>
                  <a:lnTo>
                    <a:pt x="632" y="432"/>
                  </a:lnTo>
                  <a:lnTo>
                    <a:pt x="704" y="424"/>
                  </a:lnTo>
                  <a:lnTo>
                    <a:pt x="744" y="416"/>
                  </a:lnTo>
                  <a:lnTo>
                    <a:pt x="768" y="408"/>
                  </a:lnTo>
                  <a:lnTo>
                    <a:pt x="776" y="376"/>
                  </a:lnTo>
                  <a:lnTo>
                    <a:pt x="784" y="344"/>
                  </a:lnTo>
                  <a:lnTo>
                    <a:pt x="800" y="272"/>
                  </a:lnTo>
                  <a:lnTo>
                    <a:pt x="800" y="232"/>
                  </a:lnTo>
                  <a:lnTo>
                    <a:pt x="800" y="192"/>
                  </a:lnTo>
                  <a:lnTo>
                    <a:pt x="792" y="184"/>
                  </a:lnTo>
                  <a:lnTo>
                    <a:pt x="768" y="152"/>
                  </a:lnTo>
                  <a:lnTo>
                    <a:pt x="800" y="136"/>
                  </a:lnTo>
                  <a:lnTo>
                    <a:pt x="800" y="88"/>
                  </a:lnTo>
                  <a:lnTo>
                    <a:pt x="776" y="56"/>
                  </a:lnTo>
                  <a:lnTo>
                    <a:pt x="736" y="16"/>
                  </a:lnTo>
                  <a:lnTo>
                    <a:pt x="656" y="8"/>
                  </a:lnTo>
                  <a:lnTo>
                    <a:pt x="608" y="0"/>
                  </a:lnTo>
                  <a:lnTo>
                    <a:pt x="576" y="16"/>
                  </a:lnTo>
                  <a:lnTo>
                    <a:pt x="552" y="48"/>
                  </a:lnTo>
                  <a:lnTo>
                    <a:pt x="496" y="72"/>
                  </a:lnTo>
                  <a:lnTo>
                    <a:pt x="488" y="96"/>
                  </a:lnTo>
                  <a:lnTo>
                    <a:pt x="464" y="88"/>
                  </a:lnTo>
                  <a:lnTo>
                    <a:pt x="448" y="128"/>
                  </a:lnTo>
                  <a:lnTo>
                    <a:pt x="392" y="96"/>
                  </a:lnTo>
                  <a:lnTo>
                    <a:pt x="376" y="88"/>
                  </a:lnTo>
                  <a:lnTo>
                    <a:pt x="376" y="120"/>
                  </a:lnTo>
                  <a:lnTo>
                    <a:pt x="368" y="128"/>
                  </a:lnTo>
                  <a:lnTo>
                    <a:pt x="392" y="152"/>
                  </a:lnTo>
                  <a:lnTo>
                    <a:pt x="368" y="168"/>
                  </a:lnTo>
                  <a:lnTo>
                    <a:pt x="312" y="152"/>
                  </a:lnTo>
                  <a:lnTo>
                    <a:pt x="272" y="152"/>
                  </a:lnTo>
                  <a:lnTo>
                    <a:pt x="200" y="112"/>
                  </a:lnTo>
                  <a:lnTo>
                    <a:pt x="168" y="104"/>
                  </a:lnTo>
                  <a:lnTo>
                    <a:pt x="136" y="56"/>
                  </a:lnTo>
                  <a:lnTo>
                    <a:pt x="136" y="16"/>
                  </a:lnTo>
                  <a:lnTo>
                    <a:pt x="96" y="32"/>
                  </a:lnTo>
                  <a:lnTo>
                    <a:pt x="96" y="48"/>
                  </a:lnTo>
                  <a:close/>
                </a:path>
              </a:pathLst>
            </a:custGeom>
            <a:grpFill/>
            <a:ln w="9525">
              <a:solidFill>
                <a:schemeClr val="bg1"/>
              </a:solidFill>
              <a:round/>
              <a:headEnd/>
              <a:tailEnd/>
            </a:ln>
          </p:spPr>
          <p:txBody>
            <a:bodyPr/>
            <a:lstStyle/>
            <a:p>
              <a:endParaRPr lang="en-US"/>
            </a:p>
          </p:txBody>
        </p:sp>
        <p:sp>
          <p:nvSpPr>
            <p:cNvPr id="80" name="Freeform 24"/>
            <p:cNvSpPr>
              <a:spLocks/>
            </p:cNvSpPr>
            <p:nvPr/>
          </p:nvSpPr>
          <p:spPr bwMode="auto">
            <a:xfrm>
              <a:off x="4457060" y="4327699"/>
              <a:ext cx="670747" cy="603672"/>
            </a:xfrm>
            <a:custGeom>
              <a:avLst/>
              <a:gdLst>
                <a:gd name="T0" fmla="*/ 2147483646 w 560"/>
                <a:gd name="T1" fmla="*/ 2147483646 h 504"/>
                <a:gd name="T2" fmla="*/ 2147483646 w 560"/>
                <a:gd name="T3" fmla="*/ 2147483646 h 504"/>
                <a:gd name="T4" fmla="*/ 2147483646 w 560"/>
                <a:gd name="T5" fmla="*/ 2147483646 h 504"/>
                <a:gd name="T6" fmla="*/ 2147483646 w 560"/>
                <a:gd name="T7" fmla="*/ 2147483646 h 504"/>
                <a:gd name="T8" fmla="*/ 2147483646 w 560"/>
                <a:gd name="T9" fmla="*/ 2147483646 h 504"/>
                <a:gd name="T10" fmla="*/ 2147483646 w 560"/>
                <a:gd name="T11" fmla="*/ 2147483646 h 504"/>
                <a:gd name="T12" fmla="*/ 2147483646 w 560"/>
                <a:gd name="T13" fmla="*/ 2147483646 h 504"/>
                <a:gd name="T14" fmla="*/ 2147483646 w 560"/>
                <a:gd name="T15" fmla="*/ 2147483646 h 504"/>
                <a:gd name="T16" fmla="*/ 2147483646 w 560"/>
                <a:gd name="T17" fmla="*/ 2147483646 h 504"/>
                <a:gd name="T18" fmla="*/ 2147483646 w 560"/>
                <a:gd name="T19" fmla="*/ 2147483646 h 504"/>
                <a:gd name="T20" fmla="*/ 2147483646 w 560"/>
                <a:gd name="T21" fmla="*/ 2147483646 h 504"/>
                <a:gd name="T22" fmla="*/ 2147483646 w 560"/>
                <a:gd name="T23" fmla="*/ 2147483646 h 504"/>
                <a:gd name="T24" fmla="*/ 2147483646 w 560"/>
                <a:gd name="T25" fmla="*/ 2147483646 h 504"/>
                <a:gd name="T26" fmla="*/ 2147483646 w 560"/>
                <a:gd name="T27" fmla="*/ 0 h 504"/>
                <a:gd name="T28" fmla="*/ 2147483646 w 560"/>
                <a:gd name="T29" fmla="*/ 2147483646 h 504"/>
                <a:gd name="T30" fmla="*/ 2147483646 w 560"/>
                <a:gd name="T31" fmla="*/ 2147483646 h 504"/>
                <a:gd name="T32" fmla="*/ 2147483646 w 560"/>
                <a:gd name="T33" fmla="*/ 2147483646 h 504"/>
                <a:gd name="T34" fmla="*/ 2147483646 w 560"/>
                <a:gd name="T35" fmla="*/ 2147483646 h 504"/>
                <a:gd name="T36" fmla="*/ 2147483646 w 560"/>
                <a:gd name="T37" fmla="*/ 2147483646 h 504"/>
                <a:gd name="T38" fmla="*/ 2147483646 w 560"/>
                <a:gd name="T39" fmla="*/ 2147483646 h 504"/>
                <a:gd name="T40" fmla="*/ 2147483646 w 560"/>
                <a:gd name="T41" fmla="*/ 2147483646 h 504"/>
                <a:gd name="T42" fmla="*/ 0 w 560"/>
                <a:gd name="T43" fmla="*/ 2147483646 h 504"/>
                <a:gd name="T44" fmla="*/ 2147483646 w 560"/>
                <a:gd name="T45" fmla="*/ 2147483646 h 504"/>
                <a:gd name="T46" fmla="*/ 2147483646 w 560"/>
                <a:gd name="T47" fmla="*/ 2147483646 h 504"/>
                <a:gd name="T48" fmla="*/ 2147483646 w 560"/>
                <a:gd name="T49" fmla="*/ 2147483646 h 504"/>
                <a:gd name="T50" fmla="*/ 2147483646 w 560"/>
                <a:gd name="T51" fmla="*/ 2147483646 h 504"/>
                <a:gd name="T52" fmla="*/ 2147483646 w 560"/>
                <a:gd name="T53" fmla="*/ 2147483646 h 504"/>
                <a:gd name="T54" fmla="*/ 2147483646 w 560"/>
                <a:gd name="T55" fmla="*/ 2147483646 h 504"/>
                <a:gd name="T56" fmla="*/ 2147483646 w 560"/>
                <a:gd name="T57" fmla="*/ 2147483646 h 504"/>
                <a:gd name="T58" fmla="*/ 2147483646 w 560"/>
                <a:gd name="T59" fmla="*/ 2147483646 h 504"/>
                <a:gd name="T60" fmla="*/ 2147483646 w 560"/>
                <a:gd name="T61" fmla="*/ 2147483646 h 504"/>
                <a:gd name="T62" fmla="*/ 2147483646 w 560"/>
                <a:gd name="T63" fmla="*/ 2147483646 h 504"/>
                <a:gd name="T64" fmla="*/ 2147483646 w 560"/>
                <a:gd name="T65" fmla="*/ 2147483646 h 504"/>
                <a:gd name="T66" fmla="*/ 2147483646 w 560"/>
                <a:gd name="T67" fmla="*/ 2147483646 h 504"/>
                <a:gd name="T68" fmla="*/ 2147483646 w 560"/>
                <a:gd name="T69" fmla="*/ 2147483646 h 504"/>
                <a:gd name="T70" fmla="*/ 2147483646 w 560"/>
                <a:gd name="T71" fmla="*/ 2147483646 h 504"/>
                <a:gd name="T72" fmla="*/ 2147483646 w 560"/>
                <a:gd name="T73" fmla="*/ 2147483646 h 504"/>
                <a:gd name="T74" fmla="*/ 2147483646 w 560"/>
                <a:gd name="T75" fmla="*/ 2147483646 h 504"/>
                <a:gd name="T76" fmla="*/ 2147483646 w 560"/>
                <a:gd name="T77" fmla="*/ 2147483646 h 504"/>
                <a:gd name="T78" fmla="*/ 2147483646 w 560"/>
                <a:gd name="T79" fmla="*/ 2147483646 h 5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0"/>
                <a:gd name="T121" fmla="*/ 0 h 504"/>
                <a:gd name="T122" fmla="*/ 560 w 560"/>
                <a:gd name="T123" fmla="*/ 504 h 5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0" h="504">
                  <a:moveTo>
                    <a:pt x="512" y="472"/>
                  </a:moveTo>
                  <a:lnTo>
                    <a:pt x="544" y="400"/>
                  </a:lnTo>
                  <a:lnTo>
                    <a:pt x="528" y="264"/>
                  </a:lnTo>
                  <a:lnTo>
                    <a:pt x="560" y="248"/>
                  </a:lnTo>
                  <a:lnTo>
                    <a:pt x="512" y="216"/>
                  </a:lnTo>
                  <a:lnTo>
                    <a:pt x="536" y="168"/>
                  </a:lnTo>
                  <a:lnTo>
                    <a:pt x="496" y="176"/>
                  </a:lnTo>
                  <a:lnTo>
                    <a:pt x="456" y="144"/>
                  </a:lnTo>
                  <a:lnTo>
                    <a:pt x="472" y="72"/>
                  </a:lnTo>
                  <a:lnTo>
                    <a:pt x="408" y="56"/>
                  </a:lnTo>
                  <a:lnTo>
                    <a:pt x="392" y="80"/>
                  </a:lnTo>
                  <a:lnTo>
                    <a:pt x="336" y="64"/>
                  </a:lnTo>
                  <a:lnTo>
                    <a:pt x="320" y="40"/>
                  </a:lnTo>
                  <a:lnTo>
                    <a:pt x="248" y="0"/>
                  </a:lnTo>
                  <a:lnTo>
                    <a:pt x="184" y="32"/>
                  </a:lnTo>
                  <a:lnTo>
                    <a:pt x="176" y="80"/>
                  </a:lnTo>
                  <a:lnTo>
                    <a:pt x="168" y="136"/>
                  </a:lnTo>
                  <a:lnTo>
                    <a:pt x="144" y="152"/>
                  </a:lnTo>
                  <a:lnTo>
                    <a:pt x="160" y="200"/>
                  </a:lnTo>
                  <a:lnTo>
                    <a:pt x="136" y="216"/>
                  </a:lnTo>
                  <a:lnTo>
                    <a:pt x="64" y="184"/>
                  </a:lnTo>
                  <a:lnTo>
                    <a:pt x="0" y="256"/>
                  </a:lnTo>
                  <a:lnTo>
                    <a:pt x="24" y="280"/>
                  </a:lnTo>
                  <a:lnTo>
                    <a:pt x="64" y="256"/>
                  </a:lnTo>
                  <a:lnTo>
                    <a:pt x="80" y="328"/>
                  </a:lnTo>
                  <a:lnTo>
                    <a:pt x="120" y="360"/>
                  </a:lnTo>
                  <a:lnTo>
                    <a:pt x="88" y="432"/>
                  </a:lnTo>
                  <a:lnTo>
                    <a:pt x="104" y="496"/>
                  </a:lnTo>
                  <a:lnTo>
                    <a:pt x="144" y="488"/>
                  </a:lnTo>
                  <a:lnTo>
                    <a:pt x="152" y="456"/>
                  </a:lnTo>
                  <a:lnTo>
                    <a:pt x="184" y="448"/>
                  </a:lnTo>
                  <a:lnTo>
                    <a:pt x="216" y="488"/>
                  </a:lnTo>
                  <a:lnTo>
                    <a:pt x="232" y="448"/>
                  </a:lnTo>
                  <a:lnTo>
                    <a:pt x="272" y="480"/>
                  </a:lnTo>
                  <a:lnTo>
                    <a:pt x="344" y="496"/>
                  </a:lnTo>
                  <a:lnTo>
                    <a:pt x="392" y="456"/>
                  </a:lnTo>
                  <a:lnTo>
                    <a:pt x="408" y="496"/>
                  </a:lnTo>
                  <a:lnTo>
                    <a:pt x="464" y="480"/>
                  </a:lnTo>
                  <a:lnTo>
                    <a:pt x="496" y="504"/>
                  </a:lnTo>
                  <a:lnTo>
                    <a:pt x="512" y="472"/>
                  </a:lnTo>
                  <a:close/>
                </a:path>
              </a:pathLst>
            </a:custGeom>
            <a:grpFill/>
            <a:ln w="9525">
              <a:solidFill>
                <a:schemeClr val="bg1"/>
              </a:solidFill>
              <a:round/>
              <a:headEnd/>
              <a:tailEnd/>
            </a:ln>
          </p:spPr>
          <p:txBody>
            <a:bodyPr/>
            <a:lstStyle/>
            <a:p>
              <a:endParaRPr lang="en-US"/>
            </a:p>
          </p:txBody>
        </p:sp>
        <p:sp>
          <p:nvSpPr>
            <p:cNvPr id="81" name="Freeform 25"/>
            <p:cNvSpPr>
              <a:spLocks/>
            </p:cNvSpPr>
            <p:nvPr/>
          </p:nvSpPr>
          <p:spPr bwMode="auto">
            <a:xfrm>
              <a:off x="3940556" y="4095770"/>
              <a:ext cx="728240" cy="862390"/>
            </a:xfrm>
            <a:custGeom>
              <a:avLst/>
              <a:gdLst>
                <a:gd name="T0" fmla="*/ 2147483646 w 608"/>
                <a:gd name="T1" fmla="*/ 2147483646 h 720"/>
                <a:gd name="T2" fmla="*/ 2147483646 w 608"/>
                <a:gd name="T3" fmla="*/ 2147483646 h 720"/>
                <a:gd name="T4" fmla="*/ 2147483646 w 608"/>
                <a:gd name="T5" fmla="*/ 2147483646 h 720"/>
                <a:gd name="T6" fmla="*/ 2147483646 w 608"/>
                <a:gd name="T7" fmla="*/ 2147483646 h 720"/>
                <a:gd name="T8" fmla="*/ 2147483646 w 608"/>
                <a:gd name="T9" fmla="*/ 2147483646 h 720"/>
                <a:gd name="T10" fmla="*/ 2147483646 w 608"/>
                <a:gd name="T11" fmla="*/ 2147483646 h 720"/>
                <a:gd name="T12" fmla="*/ 2147483646 w 608"/>
                <a:gd name="T13" fmla="*/ 2147483646 h 720"/>
                <a:gd name="T14" fmla="*/ 2147483646 w 608"/>
                <a:gd name="T15" fmla="*/ 2147483646 h 720"/>
                <a:gd name="T16" fmla="*/ 2147483646 w 608"/>
                <a:gd name="T17" fmla="*/ 2147483646 h 720"/>
                <a:gd name="T18" fmla="*/ 2147483646 w 608"/>
                <a:gd name="T19" fmla="*/ 2147483646 h 720"/>
                <a:gd name="T20" fmla="*/ 2147483646 w 608"/>
                <a:gd name="T21" fmla="*/ 2147483646 h 720"/>
                <a:gd name="T22" fmla="*/ 2147483646 w 608"/>
                <a:gd name="T23" fmla="*/ 2147483646 h 720"/>
                <a:gd name="T24" fmla="*/ 2147483646 w 608"/>
                <a:gd name="T25" fmla="*/ 2147483646 h 720"/>
                <a:gd name="T26" fmla="*/ 2147483646 w 608"/>
                <a:gd name="T27" fmla="*/ 2147483646 h 720"/>
                <a:gd name="T28" fmla="*/ 2147483646 w 608"/>
                <a:gd name="T29" fmla="*/ 2147483646 h 720"/>
                <a:gd name="T30" fmla="*/ 2147483646 w 608"/>
                <a:gd name="T31" fmla="*/ 2147483646 h 720"/>
                <a:gd name="T32" fmla="*/ 2147483646 w 608"/>
                <a:gd name="T33" fmla="*/ 2147483646 h 720"/>
                <a:gd name="T34" fmla="*/ 2147483646 w 608"/>
                <a:gd name="T35" fmla="*/ 2147483646 h 720"/>
                <a:gd name="T36" fmla="*/ 2147483646 w 608"/>
                <a:gd name="T37" fmla="*/ 2147483646 h 720"/>
                <a:gd name="T38" fmla="*/ 2147483646 w 608"/>
                <a:gd name="T39" fmla="*/ 2147483646 h 720"/>
                <a:gd name="T40" fmla="*/ 2147483646 w 608"/>
                <a:gd name="T41" fmla="*/ 2147483646 h 720"/>
                <a:gd name="T42" fmla="*/ 2147483646 w 608"/>
                <a:gd name="T43" fmla="*/ 2147483646 h 720"/>
                <a:gd name="T44" fmla="*/ 2147483646 w 608"/>
                <a:gd name="T45" fmla="*/ 2147483646 h 720"/>
                <a:gd name="T46" fmla="*/ 2147483646 w 608"/>
                <a:gd name="T47" fmla="*/ 2147483646 h 720"/>
                <a:gd name="T48" fmla="*/ 2147483646 w 608"/>
                <a:gd name="T49" fmla="*/ 2147483646 h 720"/>
                <a:gd name="T50" fmla="*/ 2147483646 w 608"/>
                <a:gd name="T51" fmla="*/ 2147483646 h 720"/>
                <a:gd name="T52" fmla="*/ 2147483646 w 608"/>
                <a:gd name="T53" fmla="*/ 0 h 720"/>
                <a:gd name="T54" fmla="*/ 2147483646 w 608"/>
                <a:gd name="T55" fmla="*/ 2147483646 h 720"/>
                <a:gd name="T56" fmla="*/ 2147483646 w 608"/>
                <a:gd name="T57" fmla="*/ 2147483646 h 720"/>
                <a:gd name="T58" fmla="*/ 2147483646 w 608"/>
                <a:gd name="T59" fmla="*/ 2147483646 h 720"/>
                <a:gd name="T60" fmla="*/ 2147483646 w 608"/>
                <a:gd name="T61" fmla="*/ 2147483646 h 720"/>
                <a:gd name="T62" fmla="*/ 2147483646 w 608"/>
                <a:gd name="T63" fmla="*/ 2147483646 h 720"/>
                <a:gd name="T64" fmla="*/ 2147483646 w 608"/>
                <a:gd name="T65" fmla="*/ 2147483646 h 720"/>
                <a:gd name="T66" fmla="*/ 2147483646 w 608"/>
                <a:gd name="T67" fmla="*/ 2147483646 h 720"/>
                <a:gd name="T68" fmla="*/ 0 w 608"/>
                <a:gd name="T69" fmla="*/ 2147483646 h 720"/>
                <a:gd name="T70" fmla="*/ 2147483646 w 608"/>
                <a:gd name="T71" fmla="*/ 2147483646 h 720"/>
                <a:gd name="T72" fmla="*/ 2147483646 w 608"/>
                <a:gd name="T73" fmla="*/ 2147483646 h 720"/>
                <a:gd name="T74" fmla="*/ 2147483646 w 608"/>
                <a:gd name="T75" fmla="*/ 2147483646 h 720"/>
                <a:gd name="T76" fmla="*/ 2147483646 w 608"/>
                <a:gd name="T77" fmla="*/ 2147483646 h 720"/>
                <a:gd name="T78" fmla="*/ 2147483646 w 608"/>
                <a:gd name="T79" fmla="*/ 2147483646 h 720"/>
                <a:gd name="T80" fmla="*/ 2147483646 w 608"/>
                <a:gd name="T81" fmla="*/ 2147483646 h 720"/>
                <a:gd name="T82" fmla="*/ 2147483646 w 608"/>
                <a:gd name="T83" fmla="*/ 2147483646 h 720"/>
                <a:gd name="T84" fmla="*/ 2147483646 w 608"/>
                <a:gd name="T85" fmla="*/ 2147483646 h 720"/>
                <a:gd name="T86" fmla="*/ 2147483646 w 608"/>
                <a:gd name="T87" fmla="*/ 2147483646 h 720"/>
                <a:gd name="T88" fmla="*/ 2147483646 w 608"/>
                <a:gd name="T89" fmla="*/ 2147483646 h 720"/>
                <a:gd name="T90" fmla="*/ 2147483646 w 608"/>
                <a:gd name="T91" fmla="*/ 2147483646 h 720"/>
                <a:gd name="T92" fmla="*/ 2147483646 w 608"/>
                <a:gd name="T93" fmla="*/ 2147483646 h 720"/>
                <a:gd name="T94" fmla="*/ 2147483646 w 608"/>
                <a:gd name="T95" fmla="*/ 2147483646 h 720"/>
                <a:gd name="T96" fmla="*/ 2147483646 w 608"/>
                <a:gd name="T97" fmla="*/ 2147483646 h 720"/>
                <a:gd name="T98" fmla="*/ 2147483646 w 608"/>
                <a:gd name="T99" fmla="*/ 2147483646 h 720"/>
                <a:gd name="T100" fmla="*/ 2147483646 w 608"/>
                <a:gd name="T101" fmla="*/ 2147483646 h 720"/>
                <a:gd name="T102" fmla="*/ 2147483646 w 608"/>
                <a:gd name="T103" fmla="*/ 2147483646 h 720"/>
                <a:gd name="T104" fmla="*/ 2147483646 w 608"/>
                <a:gd name="T105" fmla="*/ 2147483646 h 720"/>
                <a:gd name="T106" fmla="*/ 2147483646 w 608"/>
                <a:gd name="T107" fmla="*/ 2147483646 h 7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8"/>
                <a:gd name="T163" fmla="*/ 0 h 720"/>
                <a:gd name="T164" fmla="*/ 608 w 608"/>
                <a:gd name="T165" fmla="*/ 720 h 7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8" h="720">
                  <a:moveTo>
                    <a:pt x="544" y="696"/>
                  </a:moveTo>
                  <a:lnTo>
                    <a:pt x="520" y="640"/>
                  </a:lnTo>
                  <a:lnTo>
                    <a:pt x="552" y="560"/>
                  </a:lnTo>
                  <a:lnTo>
                    <a:pt x="512" y="536"/>
                  </a:lnTo>
                  <a:lnTo>
                    <a:pt x="496" y="456"/>
                  </a:lnTo>
                  <a:lnTo>
                    <a:pt x="456" y="480"/>
                  </a:lnTo>
                  <a:lnTo>
                    <a:pt x="432" y="456"/>
                  </a:lnTo>
                  <a:lnTo>
                    <a:pt x="496" y="384"/>
                  </a:lnTo>
                  <a:lnTo>
                    <a:pt x="576" y="416"/>
                  </a:lnTo>
                  <a:lnTo>
                    <a:pt x="592" y="400"/>
                  </a:lnTo>
                  <a:lnTo>
                    <a:pt x="576" y="352"/>
                  </a:lnTo>
                  <a:lnTo>
                    <a:pt x="600" y="336"/>
                  </a:lnTo>
                  <a:lnTo>
                    <a:pt x="608" y="280"/>
                  </a:lnTo>
                  <a:lnTo>
                    <a:pt x="592" y="264"/>
                  </a:lnTo>
                  <a:lnTo>
                    <a:pt x="560" y="280"/>
                  </a:lnTo>
                  <a:lnTo>
                    <a:pt x="560" y="240"/>
                  </a:lnTo>
                  <a:lnTo>
                    <a:pt x="496" y="264"/>
                  </a:lnTo>
                  <a:lnTo>
                    <a:pt x="488" y="224"/>
                  </a:lnTo>
                  <a:lnTo>
                    <a:pt x="456" y="240"/>
                  </a:lnTo>
                  <a:lnTo>
                    <a:pt x="432" y="208"/>
                  </a:lnTo>
                  <a:lnTo>
                    <a:pt x="384" y="184"/>
                  </a:lnTo>
                  <a:lnTo>
                    <a:pt x="352" y="208"/>
                  </a:lnTo>
                  <a:lnTo>
                    <a:pt x="304" y="136"/>
                  </a:lnTo>
                  <a:lnTo>
                    <a:pt x="240" y="160"/>
                  </a:lnTo>
                  <a:lnTo>
                    <a:pt x="184" y="72"/>
                  </a:lnTo>
                  <a:lnTo>
                    <a:pt x="192" y="16"/>
                  </a:lnTo>
                  <a:lnTo>
                    <a:pt x="144" y="0"/>
                  </a:lnTo>
                  <a:lnTo>
                    <a:pt x="144" y="64"/>
                  </a:lnTo>
                  <a:lnTo>
                    <a:pt x="112" y="80"/>
                  </a:lnTo>
                  <a:lnTo>
                    <a:pt x="120" y="136"/>
                  </a:lnTo>
                  <a:lnTo>
                    <a:pt x="88" y="152"/>
                  </a:lnTo>
                  <a:lnTo>
                    <a:pt x="80" y="96"/>
                  </a:lnTo>
                  <a:lnTo>
                    <a:pt x="56" y="144"/>
                  </a:lnTo>
                  <a:lnTo>
                    <a:pt x="16" y="152"/>
                  </a:lnTo>
                  <a:lnTo>
                    <a:pt x="0" y="224"/>
                  </a:lnTo>
                  <a:lnTo>
                    <a:pt x="32" y="256"/>
                  </a:lnTo>
                  <a:lnTo>
                    <a:pt x="40" y="320"/>
                  </a:lnTo>
                  <a:lnTo>
                    <a:pt x="72" y="344"/>
                  </a:lnTo>
                  <a:lnTo>
                    <a:pt x="72" y="408"/>
                  </a:lnTo>
                  <a:lnTo>
                    <a:pt x="112" y="416"/>
                  </a:lnTo>
                  <a:lnTo>
                    <a:pt x="112" y="448"/>
                  </a:lnTo>
                  <a:lnTo>
                    <a:pt x="168" y="440"/>
                  </a:lnTo>
                  <a:lnTo>
                    <a:pt x="184" y="512"/>
                  </a:lnTo>
                  <a:lnTo>
                    <a:pt x="232" y="528"/>
                  </a:lnTo>
                  <a:lnTo>
                    <a:pt x="248" y="568"/>
                  </a:lnTo>
                  <a:lnTo>
                    <a:pt x="216" y="576"/>
                  </a:lnTo>
                  <a:lnTo>
                    <a:pt x="256" y="640"/>
                  </a:lnTo>
                  <a:lnTo>
                    <a:pt x="288" y="688"/>
                  </a:lnTo>
                  <a:lnTo>
                    <a:pt x="368" y="664"/>
                  </a:lnTo>
                  <a:lnTo>
                    <a:pt x="440" y="696"/>
                  </a:lnTo>
                  <a:lnTo>
                    <a:pt x="472" y="664"/>
                  </a:lnTo>
                  <a:lnTo>
                    <a:pt x="504" y="672"/>
                  </a:lnTo>
                  <a:lnTo>
                    <a:pt x="504" y="720"/>
                  </a:lnTo>
                  <a:lnTo>
                    <a:pt x="544" y="696"/>
                  </a:lnTo>
                  <a:close/>
                </a:path>
              </a:pathLst>
            </a:custGeom>
            <a:grpFill/>
            <a:ln w="9525">
              <a:solidFill>
                <a:schemeClr val="bg1"/>
              </a:solidFill>
              <a:round/>
              <a:headEnd/>
              <a:tailEnd/>
            </a:ln>
          </p:spPr>
          <p:txBody>
            <a:bodyPr/>
            <a:lstStyle/>
            <a:p>
              <a:endParaRPr lang="en-US"/>
            </a:p>
          </p:txBody>
        </p:sp>
        <p:sp>
          <p:nvSpPr>
            <p:cNvPr id="82" name="Freeform 26"/>
            <p:cNvSpPr>
              <a:spLocks/>
            </p:cNvSpPr>
            <p:nvPr/>
          </p:nvSpPr>
          <p:spPr bwMode="auto">
            <a:xfrm>
              <a:off x="4603631" y="4881727"/>
              <a:ext cx="948627" cy="833642"/>
            </a:xfrm>
            <a:custGeom>
              <a:avLst/>
              <a:gdLst>
                <a:gd name="T0" fmla="*/ 2147483646 w 792"/>
                <a:gd name="T1" fmla="*/ 2147483646 h 696"/>
                <a:gd name="T2" fmla="*/ 2147483646 w 792"/>
                <a:gd name="T3" fmla="*/ 2147483646 h 696"/>
                <a:gd name="T4" fmla="*/ 2147483646 w 792"/>
                <a:gd name="T5" fmla="*/ 2147483646 h 696"/>
                <a:gd name="T6" fmla="*/ 2147483646 w 792"/>
                <a:gd name="T7" fmla="*/ 2147483646 h 696"/>
                <a:gd name="T8" fmla="*/ 2147483646 w 792"/>
                <a:gd name="T9" fmla="*/ 2147483646 h 696"/>
                <a:gd name="T10" fmla="*/ 2147483646 w 792"/>
                <a:gd name="T11" fmla="*/ 2147483646 h 696"/>
                <a:gd name="T12" fmla="*/ 2147483646 w 792"/>
                <a:gd name="T13" fmla="*/ 2147483646 h 696"/>
                <a:gd name="T14" fmla="*/ 2147483646 w 792"/>
                <a:gd name="T15" fmla="*/ 0 h 696"/>
                <a:gd name="T16" fmla="*/ 2147483646 w 792"/>
                <a:gd name="T17" fmla="*/ 2147483646 h 696"/>
                <a:gd name="T18" fmla="*/ 2147483646 w 792"/>
                <a:gd name="T19" fmla="*/ 2147483646 h 696"/>
                <a:gd name="T20" fmla="*/ 2147483646 w 792"/>
                <a:gd name="T21" fmla="*/ 2147483646 h 696"/>
                <a:gd name="T22" fmla="*/ 2147483646 w 792"/>
                <a:gd name="T23" fmla="*/ 2147483646 h 696"/>
                <a:gd name="T24" fmla="*/ 2147483646 w 792"/>
                <a:gd name="T25" fmla="*/ 2147483646 h 696"/>
                <a:gd name="T26" fmla="*/ 2147483646 w 792"/>
                <a:gd name="T27" fmla="*/ 2147483646 h 696"/>
                <a:gd name="T28" fmla="*/ 2147483646 w 792"/>
                <a:gd name="T29" fmla="*/ 2147483646 h 696"/>
                <a:gd name="T30" fmla="*/ 2147483646 w 792"/>
                <a:gd name="T31" fmla="*/ 2147483646 h 696"/>
                <a:gd name="T32" fmla="*/ 2147483646 w 792"/>
                <a:gd name="T33" fmla="*/ 2147483646 h 696"/>
                <a:gd name="T34" fmla="*/ 2147483646 w 792"/>
                <a:gd name="T35" fmla="*/ 2147483646 h 696"/>
                <a:gd name="T36" fmla="*/ 2147483646 w 792"/>
                <a:gd name="T37" fmla="*/ 2147483646 h 696"/>
                <a:gd name="T38" fmla="*/ 2147483646 w 792"/>
                <a:gd name="T39" fmla="*/ 2147483646 h 696"/>
                <a:gd name="T40" fmla="*/ 2147483646 w 792"/>
                <a:gd name="T41" fmla="*/ 2147483646 h 696"/>
                <a:gd name="T42" fmla="*/ 2147483646 w 792"/>
                <a:gd name="T43" fmla="*/ 2147483646 h 696"/>
                <a:gd name="T44" fmla="*/ 2147483646 w 792"/>
                <a:gd name="T45" fmla="*/ 2147483646 h 696"/>
                <a:gd name="T46" fmla="*/ 0 w 792"/>
                <a:gd name="T47" fmla="*/ 2147483646 h 696"/>
                <a:gd name="T48" fmla="*/ 2147483646 w 792"/>
                <a:gd name="T49" fmla="*/ 2147483646 h 696"/>
                <a:gd name="T50" fmla="*/ 2147483646 w 792"/>
                <a:gd name="T51" fmla="*/ 2147483646 h 696"/>
                <a:gd name="T52" fmla="*/ 2147483646 w 792"/>
                <a:gd name="T53" fmla="*/ 2147483646 h 696"/>
                <a:gd name="T54" fmla="*/ 2147483646 w 792"/>
                <a:gd name="T55" fmla="*/ 2147483646 h 696"/>
                <a:gd name="T56" fmla="*/ 2147483646 w 792"/>
                <a:gd name="T57" fmla="*/ 2147483646 h 696"/>
                <a:gd name="T58" fmla="*/ 2147483646 w 792"/>
                <a:gd name="T59" fmla="*/ 2147483646 h 696"/>
                <a:gd name="T60" fmla="*/ 2147483646 w 792"/>
                <a:gd name="T61" fmla="*/ 2147483646 h 696"/>
                <a:gd name="T62" fmla="*/ 2147483646 w 792"/>
                <a:gd name="T63" fmla="*/ 2147483646 h 696"/>
                <a:gd name="T64" fmla="*/ 2147483646 w 792"/>
                <a:gd name="T65" fmla="*/ 2147483646 h 696"/>
                <a:gd name="T66" fmla="*/ 2147483646 w 792"/>
                <a:gd name="T67" fmla="*/ 2147483646 h 696"/>
                <a:gd name="T68" fmla="*/ 2147483646 w 792"/>
                <a:gd name="T69" fmla="*/ 2147483646 h 696"/>
                <a:gd name="T70" fmla="*/ 2147483646 w 792"/>
                <a:gd name="T71" fmla="*/ 2147483646 h 696"/>
                <a:gd name="T72" fmla="*/ 2147483646 w 792"/>
                <a:gd name="T73" fmla="*/ 2147483646 h 696"/>
                <a:gd name="T74" fmla="*/ 2147483646 w 792"/>
                <a:gd name="T75" fmla="*/ 2147483646 h 696"/>
                <a:gd name="T76" fmla="*/ 2147483646 w 792"/>
                <a:gd name="T77" fmla="*/ 2147483646 h 696"/>
                <a:gd name="T78" fmla="*/ 2147483646 w 792"/>
                <a:gd name="T79" fmla="*/ 2147483646 h 696"/>
                <a:gd name="T80" fmla="*/ 2147483646 w 792"/>
                <a:gd name="T81" fmla="*/ 2147483646 h 696"/>
                <a:gd name="T82" fmla="*/ 2147483646 w 792"/>
                <a:gd name="T83" fmla="*/ 2147483646 h 696"/>
                <a:gd name="T84" fmla="*/ 2147483646 w 792"/>
                <a:gd name="T85" fmla="*/ 2147483646 h 696"/>
                <a:gd name="T86" fmla="*/ 2147483646 w 792"/>
                <a:gd name="T87" fmla="*/ 2147483646 h 696"/>
                <a:gd name="T88" fmla="*/ 2147483646 w 792"/>
                <a:gd name="T89" fmla="*/ 2147483646 h 696"/>
                <a:gd name="T90" fmla="*/ 2147483646 w 792"/>
                <a:gd name="T91" fmla="*/ 2147483646 h 696"/>
                <a:gd name="T92" fmla="*/ 2147483646 w 792"/>
                <a:gd name="T93" fmla="*/ 2147483646 h 696"/>
                <a:gd name="T94" fmla="*/ 2147483646 w 792"/>
                <a:gd name="T95" fmla="*/ 2147483646 h 696"/>
                <a:gd name="T96" fmla="*/ 2147483646 w 792"/>
                <a:gd name="T97" fmla="*/ 2147483646 h 696"/>
                <a:gd name="T98" fmla="*/ 2147483646 w 792"/>
                <a:gd name="T99" fmla="*/ 2147483646 h 696"/>
                <a:gd name="T100" fmla="*/ 2147483646 w 792"/>
                <a:gd name="T101" fmla="*/ 2147483646 h 696"/>
                <a:gd name="T102" fmla="*/ 2147483646 w 792"/>
                <a:gd name="T103" fmla="*/ 2147483646 h 696"/>
                <a:gd name="T104" fmla="*/ 2147483646 w 792"/>
                <a:gd name="T105" fmla="*/ 2147483646 h 696"/>
                <a:gd name="T106" fmla="*/ 2147483646 w 792"/>
                <a:gd name="T107" fmla="*/ 2147483646 h 696"/>
                <a:gd name="T108" fmla="*/ 2147483646 w 792"/>
                <a:gd name="T109" fmla="*/ 2147483646 h 696"/>
                <a:gd name="T110" fmla="*/ 2147483646 w 792"/>
                <a:gd name="T111" fmla="*/ 2147483646 h 696"/>
                <a:gd name="T112" fmla="*/ 2147483646 w 792"/>
                <a:gd name="T113" fmla="*/ 2147483646 h 696"/>
                <a:gd name="T114" fmla="*/ 2147483646 w 792"/>
                <a:gd name="T115" fmla="*/ 2147483646 h 696"/>
                <a:gd name="T116" fmla="*/ 2147483646 w 792"/>
                <a:gd name="T117" fmla="*/ 2147483646 h 696"/>
                <a:gd name="T118" fmla="*/ 2147483646 w 792"/>
                <a:gd name="T119" fmla="*/ 2147483646 h 696"/>
                <a:gd name="T120" fmla="*/ 2147483646 w 792"/>
                <a:gd name="T121" fmla="*/ 2147483646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696"/>
                <a:gd name="T185" fmla="*/ 792 w 792"/>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696">
                  <a:moveTo>
                    <a:pt x="728" y="80"/>
                  </a:moveTo>
                  <a:lnTo>
                    <a:pt x="616" y="72"/>
                  </a:lnTo>
                  <a:lnTo>
                    <a:pt x="592" y="88"/>
                  </a:lnTo>
                  <a:lnTo>
                    <a:pt x="560" y="48"/>
                  </a:lnTo>
                  <a:lnTo>
                    <a:pt x="536" y="112"/>
                  </a:lnTo>
                  <a:lnTo>
                    <a:pt x="496" y="24"/>
                  </a:lnTo>
                  <a:lnTo>
                    <a:pt x="432" y="32"/>
                  </a:lnTo>
                  <a:lnTo>
                    <a:pt x="384" y="0"/>
                  </a:lnTo>
                  <a:lnTo>
                    <a:pt x="368" y="32"/>
                  </a:lnTo>
                  <a:lnTo>
                    <a:pt x="336" y="8"/>
                  </a:lnTo>
                  <a:lnTo>
                    <a:pt x="280" y="24"/>
                  </a:lnTo>
                  <a:lnTo>
                    <a:pt x="320" y="88"/>
                  </a:lnTo>
                  <a:lnTo>
                    <a:pt x="368" y="96"/>
                  </a:lnTo>
                  <a:lnTo>
                    <a:pt x="360" y="184"/>
                  </a:lnTo>
                  <a:lnTo>
                    <a:pt x="400" y="192"/>
                  </a:lnTo>
                  <a:lnTo>
                    <a:pt x="416" y="240"/>
                  </a:lnTo>
                  <a:lnTo>
                    <a:pt x="360" y="304"/>
                  </a:lnTo>
                  <a:lnTo>
                    <a:pt x="344" y="368"/>
                  </a:lnTo>
                  <a:lnTo>
                    <a:pt x="256" y="376"/>
                  </a:lnTo>
                  <a:lnTo>
                    <a:pt x="224" y="408"/>
                  </a:lnTo>
                  <a:lnTo>
                    <a:pt x="168" y="408"/>
                  </a:lnTo>
                  <a:lnTo>
                    <a:pt x="104" y="448"/>
                  </a:lnTo>
                  <a:lnTo>
                    <a:pt x="24" y="448"/>
                  </a:lnTo>
                  <a:lnTo>
                    <a:pt x="0" y="480"/>
                  </a:lnTo>
                  <a:lnTo>
                    <a:pt x="72" y="512"/>
                  </a:lnTo>
                  <a:lnTo>
                    <a:pt x="80" y="528"/>
                  </a:lnTo>
                  <a:lnTo>
                    <a:pt x="184" y="528"/>
                  </a:lnTo>
                  <a:lnTo>
                    <a:pt x="200" y="496"/>
                  </a:lnTo>
                  <a:lnTo>
                    <a:pt x="224" y="536"/>
                  </a:lnTo>
                  <a:lnTo>
                    <a:pt x="240" y="560"/>
                  </a:lnTo>
                  <a:lnTo>
                    <a:pt x="296" y="552"/>
                  </a:lnTo>
                  <a:lnTo>
                    <a:pt x="328" y="528"/>
                  </a:lnTo>
                  <a:lnTo>
                    <a:pt x="352" y="560"/>
                  </a:lnTo>
                  <a:lnTo>
                    <a:pt x="360" y="616"/>
                  </a:lnTo>
                  <a:lnTo>
                    <a:pt x="416" y="656"/>
                  </a:lnTo>
                  <a:lnTo>
                    <a:pt x="488" y="688"/>
                  </a:lnTo>
                  <a:lnTo>
                    <a:pt x="560" y="688"/>
                  </a:lnTo>
                  <a:lnTo>
                    <a:pt x="656" y="696"/>
                  </a:lnTo>
                  <a:lnTo>
                    <a:pt x="656" y="648"/>
                  </a:lnTo>
                  <a:lnTo>
                    <a:pt x="672" y="576"/>
                  </a:lnTo>
                  <a:lnTo>
                    <a:pt x="688" y="512"/>
                  </a:lnTo>
                  <a:lnTo>
                    <a:pt x="664" y="448"/>
                  </a:lnTo>
                  <a:lnTo>
                    <a:pt x="688" y="408"/>
                  </a:lnTo>
                  <a:lnTo>
                    <a:pt x="696" y="376"/>
                  </a:lnTo>
                  <a:lnTo>
                    <a:pt x="656" y="360"/>
                  </a:lnTo>
                  <a:lnTo>
                    <a:pt x="656" y="312"/>
                  </a:lnTo>
                  <a:lnTo>
                    <a:pt x="688" y="288"/>
                  </a:lnTo>
                  <a:lnTo>
                    <a:pt x="696" y="264"/>
                  </a:lnTo>
                  <a:lnTo>
                    <a:pt x="720" y="232"/>
                  </a:lnTo>
                  <a:lnTo>
                    <a:pt x="752" y="192"/>
                  </a:lnTo>
                  <a:lnTo>
                    <a:pt x="768" y="144"/>
                  </a:lnTo>
                  <a:lnTo>
                    <a:pt x="792" y="112"/>
                  </a:lnTo>
                  <a:lnTo>
                    <a:pt x="768" y="128"/>
                  </a:lnTo>
                  <a:lnTo>
                    <a:pt x="736" y="168"/>
                  </a:lnTo>
                  <a:lnTo>
                    <a:pt x="712" y="208"/>
                  </a:lnTo>
                  <a:lnTo>
                    <a:pt x="712" y="152"/>
                  </a:lnTo>
                  <a:lnTo>
                    <a:pt x="696" y="144"/>
                  </a:lnTo>
                  <a:lnTo>
                    <a:pt x="720" y="128"/>
                  </a:lnTo>
                  <a:lnTo>
                    <a:pt x="704" y="96"/>
                  </a:lnTo>
                  <a:lnTo>
                    <a:pt x="720" y="96"/>
                  </a:lnTo>
                  <a:lnTo>
                    <a:pt x="728" y="80"/>
                  </a:lnTo>
                  <a:close/>
                </a:path>
              </a:pathLst>
            </a:custGeom>
            <a:grpFill/>
            <a:ln w="9525">
              <a:solidFill>
                <a:schemeClr val="bg1"/>
              </a:solidFill>
              <a:round/>
              <a:headEnd/>
              <a:tailEnd/>
            </a:ln>
          </p:spPr>
          <p:txBody>
            <a:bodyPr/>
            <a:lstStyle/>
            <a:p>
              <a:endParaRPr lang="en-US"/>
            </a:p>
          </p:txBody>
        </p:sp>
        <p:sp>
          <p:nvSpPr>
            <p:cNvPr id="83" name="Freeform 27"/>
            <p:cNvSpPr>
              <a:spLocks/>
            </p:cNvSpPr>
            <p:nvPr/>
          </p:nvSpPr>
          <p:spPr bwMode="auto">
            <a:xfrm>
              <a:off x="4036003" y="4850599"/>
              <a:ext cx="1073195" cy="402448"/>
            </a:xfrm>
            <a:custGeom>
              <a:avLst/>
              <a:gdLst>
                <a:gd name="T0" fmla="*/ 2147483646 w 896"/>
                <a:gd name="T1" fmla="*/ 2147483646 h 336"/>
                <a:gd name="T2" fmla="*/ 2147483646 w 896"/>
                <a:gd name="T3" fmla="*/ 2147483646 h 336"/>
                <a:gd name="T4" fmla="*/ 2147483646 w 896"/>
                <a:gd name="T5" fmla="*/ 2147483646 h 336"/>
                <a:gd name="T6" fmla="*/ 2147483646 w 896"/>
                <a:gd name="T7" fmla="*/ 2147483646 h 336"/>
                <a:gd name="T8" fmla="*/ 2147483646 w 896"/>
                <a:gd name="T9" fmla="*/ 2147483646 h 336"/>
                <a:gd name="T10" fmla="*/ 2147483646 w 896"/>
                <a:gd name="T11" fmla="*/ 2147483646 h 336"/>
                <a:gd name="T12" fmla="*/ 2147483646 w 896"/>
                <a:gd name="T13" fmla="*/ 2147483646 h 336"/>
                <a:gd name="T14" fmla="*/ 2147483646 w 896"/>
                <a:gd name="T15" fmla="*/ 2147483646 h 336"/>
                <a:gd name="T16" fmla="*/ 2147483646 w 896"/>
                <a:gd name="T17" fmla="*/ 2147483646 h 336"/>
                <a:gd name="T18" fmla="*/ 2147483646 w 896"/>
                <a:gd name="T19" fmla="*/ 2147483646 h 336"/>
                <a:gd name="T20" fmla="*/ 2147483646 w 896"/>
                <a:gd name="T21" fmla="*/ 2147483646 h 336"/>
                <a:gd name="T22" fmla="*/ 2147483646 w 896"/>
                <a:gd name="T23" fmla="*/ 2147483646 h 336"/>
                <a:gd name="T24" fmla="*/ 2147483646 w 896"/>
                <a:gd name="T25" fmla="*/ 2147483646 h 336"/>
                <a:gd name="T26" fmla="*/ 2147483646 w 896"/>
                <a:gd name="T27" fmla="*/ 2147483646 h 336"/>
                <a:gd name="T28" fmla="*/ 2147483646 w 896"/>
                <a:gd name="T29" fmla="*/ 2147483646 h 336"/>
                <a:gd name="T30" fmla="*/ 2147483646 w 896"/>
                <a:gd name="T31" fmla="*/ 2147483646 h 336"/>
                <a:gd name="T32" fmla="*/ 2147483646 w 896"/>
                <a:gd name="T33" fmla="*/ 2147483646 h 336"/>
                <a:gd name="T34" fmla="*/ 2147483646 w 896"/>
                <a:gd name="T35" fmla="*/ 2147483646 h 336"/>
                <a:gd name="T36" fmla="*/ 2147483646 w 896"/>
                <a:gd name="T37" fmla="*/ 2147483646 h 336"/>
                <a:gd name="T38" fmla="*/ 2147483646 w 896"/>
                <a:gd name="T39" fmla="*/ 2147483646 h 336"/>
                <a:gd name="T40" fmla="*/ 2147483646 w 896"/>
                <a:gd name="T41" fmla="*/ 2147483646 h 336"/>
                <a:gd name="T42" fmla="*/ 2147483646 w 896"/>
                <a:gd name="T43" fmla="*/ 2147483646 h 336"/>
                <a:gd name="T44" fmla="*/ 2147483646 w 896"/>
                <a:gd name="T45" fmla="*/ 0 h 336"/>
                <a:gd name="T46" fmla="*/ 2147483646 w 896"/>
                <a:gd name="T47" fmla="*/ 2147483646 h 336"/>
                <a:gd name="T48" fmla="*/ 2147483646 w 896"/>
                <a:gd name="T49" fmla="*/ 2147483646 h 336"/>
                <a:gd name="T50" fmla="*/ 2147483646 w 896"/>
                <a:gd name="T51" fmla="*/ 2147483646 h 336"/>
                <a:gd name="T52" fmla="*/ 0 w 896"/>
                <a:gd name="T53" fmla="*/ 2147483646 h 336"/>
                <a:gd name="T54" fmla="*/ 2147483646 w 896"/>
                <a:gd name="T55" fmla="*/ 2147483646 h 336"/>
                <a:gd name="T56" fmla="*/ 2147483646 w 896"/>
                <a:gd name="T57" fmla="*/ 2147483646 h 336"/>
                <a:gd name="T58" fmla="*/ 2147483646 w 896"/>
                <a:gd name="T59" fmla="*/ 2147483646 h 336"/>
                <a:gd name="T60" fmla="*/ 2147483646 w 896"/>
                <a:gd name="T61" fmla="*/ 2147483646 h 336"/>
                <a:gd name="T62" fmla="*/ 2147483646 w 896"/>
                <a:gd name="T63" fmla="*/ 2147483646 h 336"/>
                <a:gd name="T64" fmla="*/ 2147483646 w 896"/>
                <a:gd name="T65" fmla="*/ 2147483646 h 336"/>
                <a:gd name="T66" fmla="*/ 2147483646 w 896"/>
                <a:gd name="T67" fmla="*/ 2147483646 h 336"/>
                <a:gd name="T68" fmla="*/ 2147483646 w 896"/>
                <a:gd name="T69" fmla="*/ 2147483646 h 336"/>
                <a:gd name="T70" fmla="*/ 2147483646 w 896"/>
                <a:gd name="T71" fmla="*/ 2147483646 h 336"/>
                <a:gd name="T72" fmla="*/ 2147483646 w 896"/>
                <a:gd name="T73" fmla="*/ 2147483646 h 336"/>
                <a:gd name="T74" fmla="*/ 2147483646 w 896"/>
                <a:gd name="T75" fmla="*/ 2147483646 h 336"/>
                <a:gd name="T76" fmla="*/ 2147483646 w 896"/>
                <a:gd name="T77" fmla="*/ 2147483646 h 336"/>
                <a:gd name="T78" fmla="*/ 2147483646 w 896"/>
                <a:gd name="T79" fmla="*/ 2147483646 h 336"/>
                <a:gd name="T80" fmla="*/ 2147483646 w 896"/>
                <a:gd name="T81" fmla="*/ 2147483646 h 336"/>
                <a:gd name="T82" fmla="*/ 2147483646 w 896"/>
                <a:gd name="T83" fmla="*/ 2147483646 h 336"/>
                <a:gd name="T84" fmla="*/ 2147483646 w 896"/>
                <a:gd name="T85" fmla="*/ 2147483646 h 336"/>
                <a:gd name="T86" fmla="*/ 2147483646 w 896"/>
                <a:gd name="T87" fmla="*/ 2147483646 h 336"/>
                <a:gd name="T88" fmla="*/ 2147483646 w 896"/>
                <a:gd name="T89" fmla="*/ 2147483646 h 336"/>
                <a:gd name="T90" fmla="*/ 2147483646 w 896"/>
                <a:gd name="T91" fmla="*/ 2147483646 h 336"/>
                <a:gd name="T92" fmla="*/ 2147483646 w 896"/>
                <a:gd name="T93" fmla="*/ 2147483646 h 336"/>
                <a:gd name="T94" fmla="*/ 2147483646 w 896"/>
                <a:gd name="T95" fmla="*/ 2147483646 h 336"/>
                <a:gd name="T96" fmla="*/ 2147483646 w 896"/>
                <a:gd name="T97" fmla="*/ 2147483646 h 3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96"/>
                <a:gd name="T148" fmla="*/ 0 h 336"/>
                <a:gd name="T149" fmla="*/ 896 w 896"/>
                <a:gd name="T150" fmla="*/ 336 h 3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96" h="336">
                  <a:moveTo>
                    <a:pt x="840" y="336"/>
                  </a:moveTo>
                  <a:lnTo>
                    <a:pt x="896" y="272"/>
                  </a:lnTo>
                  <a:lnTo>
                    <a:pt x="880" y="224"/>
                  </a:lnTo>
                  <a:lnTo>
                    <a:pt x="840" y="216"/>
                  </a:lnTo>
                  <a:lnTo>
                    <a:pt x="848" y="128"/>
                  </a:lnTo>
                  <a:lnTo>
                    <a:pt x="800" y="120"/>
                  </a:lnTo>
                  <a:lnTo>
                    <a:pt x="760" y="56"/>
                  </a:lnTo>
                  <a:lnTo>
                    <a:pt x="744" y="16"/>
                  </a:lnTo>
                  <a:lnTo>
                    <a:pt x="696" y="56"/>
                  </a:lnTo>
                  <a:lnTo>
                    <a:pt x="624" y="40"/>
                  </a:lnTo>
                  <a:lnTo>
                    <a:pt x="584" y="8"/>
                  </a:lnTo>
                  <a:lnTo>
                    <a:pt x="568" y="48"/>
                  </a:lnTo>
                  <a:lnTo>
                    <a:pt x="536" y="8"/>
                  </a:lnTo>
                  <a:lnTo>
                    <a:pt x="504" y="16"/>
                  </a:lnTo>
                  <a:lnTo>
                    <a:pt x="496" y="48"/>
                  </a:lnTo>
                  <a:lnTo>
                    <a:pt x="456" y="56"/>
                  </a:lnTo>
                  <a:lnTo>
                    <a:pt x="424" y="80"/>
                  </a:lnTo>
                  <a:lnTo>
                    <a:pt x="424" y="32"/>
                  </a:lnTo>
                  <a:lnTo>
                    <a:pt x="392" y="24"/>
                  </a:lnTo>
                  <a:lnTo>
                    <a:pt x="360" y="56"/>
                  </a:lnTo>
                  <a:lnTo>
                    <a:pt x="280" y="24"/>
                  </a:lnTo>
                  <a:lnTo>
                    <a:pt x="208" y="48"/>
                  </a:lnTo>
                  <a:lnTo>
                    <a:pt x="176" y="0"/>
                  </a:lnTo>
                  <a:lnTo>
                    <a:pt x="136" y="8"/>
                  </a:lnTo>
                  <a:lnTo>
                    <a:pt x="120" y="40"/>
                  </a:lnTo>
                  <a:lnTo>
                    <a:pt x="32" y="48"/>
                  </a:lnTo>
                  <a:lnTo>
                    <a:pt x="0" y="88"/>
                  </a:lnTo>
                  <a:lnTo>
                    <a:pt x="24" y="136"/>
                  </a:lnTo>
                  <a:lnTo>
                    <a:pt x="24" y="192"/>
                  </a:lnTo>
                  <a:lnTo>
                    <a:pt x="64" y="208"/>
                  </a:lnTo>
                  <a:lnTo>
                    <a:pt x="128" y="200"/>
                  </a:lnTo>
                  <a:lnTo>
                    <a:pt x="160" y="216"/>
                  </a:lnTo>
                  <a:lnTo>
                    <a:pt x="176" y="272"/>
                  </a:lnTo>
                  <a:lnTo>
                    <a:pt x="256" y="248"/>
                  </a:lnTo>
                  <a:lnTo>
                    <a:pt x="296" y="192"/>
                  </a:lnTo>
                  <a:lnTo>
                    <a:pt x="312" y="224"/>
                  </a:lnTo>
                  <a:lnTo>
                    <a:pt x="392" y="208"/>
                  </a:lnTo>
                  <a:lnTo>
                    <a:pt x="400" y="248"/>
                  </a:lnTo>
                  <a:lnTo>
                    <a:pt x="480" y="240"/>
                  </a:lnTo>
                  <a:lnTo>
                    <a:pt x="512" y="256"/>
                  </a:lnTo>
                  <a:lnTo>
                    <a:pt x="536" y="224"/>
                  </a:lnTo>
                  <a:lnTo>
                    <a:pt x="576" y="264"/>
                  </a:lnTo>
                  <a:lnTo>
                    <a:pt x="616" y="224"/>
                  </a:lnTo>
                  <a:lnTo>
                    <a:pt x="624" y="272"/>
                  </a:lnTo>
                  <a:lnTo>
                    <a:pt x="656" y="256"/>
                  </a:lnTo>
                  <a:lnTo>
                    <a:pt x="704" y="288"/>
                  </a:lnTo>
                  <a:lnTo>
                    <a:pt x="760" y="328"/>
                  </a:lnTo>
                  <a:lnTo>
                    <a:pt x="776" y="312"/>
                  </a:lnTo>
                  <a:lnTo>
                    <a:pt x="840" y="336"/>
                  </a:lnTo>
                  <a:close/>
                </a:path>
              </a:pathLst>
            </a:custGeom>
            <a:grpFill/>
            <a:ln w="9525">
              <a:solidFill>
                <a:schemeClr val="bg1"/>
              </a:solidFill>
              <a:round/>
              <a:headEnd/>
              <a:tailEnd/>
            </a:ln>
          </p:spPr>
          <p:txBody>
            <a:bodyPr/>
            <a:lstStyle/>
            <a:p>
              <a:endParaRPr lang="en-US"/>
            </a:p>
          </p:txBody>
        </p:sp>
        <p:sp>
          <p:nvSpPr>
            <p:cNvPr id="84" name="Freeform 28"/>
            <p:cNvSpPr>
              <a:spLocks/>
            </p:cNvSpPr>
            <p:nvPr/>
          </p:nvSpPr>
          <p:spPr bwMode="auto">
            <a:xfrm>
              <a:off x="4039492" y="5076530"/>
              <a:ext cx="996537" cy="431194"/>
            </a:xfrm>
            <a:custGeom>
              <a:avLst/>
              <a:gdLst>
                <a:gd name="T0" fmla="*/ 2147483646 w 832"/>
                <a:gd name="T1" fmla="*/ 2147483646 h 360"/>
                <a:gd name="T2" fmla="*/ 2147483646 w 832"/>
                <a:gd name="T3" fmla="*/ 2147483646 h 360"/>
                <a:gd name="T4" fmla="*/ 2147483646 w 832"/>
                <a:gd name="T5" fmla="*/ 2147483646 h 360"/>
                <a:gd name="T6" fmla="*/ 2147483646 w 832"/>
                <a:gd name="T7" fmla="*/ 2147483646 h 360"/>
                <a:gd name="T8" fmla="*/ 2147483646 w 832"/>
                <a:gd name="T9" fmla="*/ 2147483646 h 360"/>
                <a:gd name="T10" fmla="*/ 2147483646 w 832"/>
                <a:gd name="T11" fmla="*/ 2147483646 h 360"/>
                <a:gd name="T12" fmla="*/ 2147483646 w 832"/>
                <a:gd name="T13" fmla="*/ 2147483646 h 360"/>
                <a:gd name="T14" fmla="*/ 2147483646 w 832"/>
                <a:gd name="T15" fmla="*/ 2147483646 h 360"/>
                <a:gd name="T16" fmla="*/ 2147483646 w 832"/>
                <a:gd name="T17" fmla="*/ 2147483646 h 360"/>
                <a:gd name="T18" fmla="*/ 2147483646 w 832"/>
                <a:gd name="T19" fmla="*/ 2147483646 h 360"/>
                <a:gd name="T20" fmla="*/ 2147483646 w 832"/>
                <a:gd name="T21" fmla="*/ 2147483646 h 360"/>
                <a:gd name="T22" fmla="*/ 2147483646 w 832"/>
                <a:gd name="T23" fmla="*/ 2147483646 h 360"/>
                <a:gd name="T24" fmla="*/ 2147483646 w 832"/>
                <a:gd name="T25" fmla="*/ 2147483646 h 360"/>
                <a:gd name="T26" fmla="*/ 2147483646 w 832"/>
                <a:gd name="T27" fmla="*/ 2147483646 h 360"/>
                <a:gd name="T28" fmla="*/ 2147483646 w 832"/>
                <a:gd name="T29" fmla="*/ 2147483646 h 360"/>
                <a:gd name="T30" fmla="*/ 2147483646 w 832"/>
                <a:gd name="T31" fmla="*/ 2147483646 h 360"/>
                <a:gd name="T32" fmla="*/ 2147483646 w 832"/>
                <a:gd name="T33" fmla="*/ 2147483646 h 360"/>
                <a:gd name="T34" fmla="*/ 2147483646 w 832"/>
                <a:gd name="T35" fmla="*/ 2147483646 h 360"/>
                <a:gd name="T36" fmla="*/ 2147483646 w 832"/>
                <a:gd name="T37" fmla="*/ 2147483646 h 360"/>
                <a:gd name="T38" fmla="*/ 2147483646 w 832"/>
                <a:gd name="T39" fmla="*/ 2147483646 h 360"/>
                <a:gd name="T40" fmla="*/ 2147483646 w 832"/>
                <a:gd name="T41" fmla="*/ 0 h 360"/>
                <a:gd name="T42" fmla="*/ 2147483646 w 832"/>
                <a:gd name="T43" fmla="*/ 2147483646 h 360"/>
                <a:gd name="T44" fmla="*/ 2147483646 w 832"/>
                <a:gd name="T45" fmla="*/ 2147483646 h 360"/>
                <a:gd name="T46" fmla="*/ 2147483646 w 832"/>
                <a:gd name="T47" fmla="*/ 2147483646 h 360"/>
                <a:gd name="T48" fmla="*/ 2147483646 w 832"/>
                <a:gd name="T49" fmla="*/ 2147483646 h 360"/>
                <a:gd name="T50" fmla="*/ 2147483646 w 832"/>
                <a:gd name="T51" fmla="*/ 2147483646 h 360"/>
                <a:gd name="T52" fmla="*/ 2147483646 w 832"/>
                <a:gd name="T53" fmla="*/ 2147483646 h 360"/>
                <a:gd name="T54" fmla="*/ 2147483646 w 832"/>
                <a:gd name="T55" fmla="*/ 2147483646 h 360"/>
                <a:gd name="T56" fmla="*/ 2147483646 w 832"/>
                <a:gd name="T57" fmla="*/ 2147483646 h 360"/>
                <a:gd name="T58" fmla="*/ 0 w 832"/>
                <a:gd name="T59" fmla="*/ 2147483646 h 360"/>
                <a:gd name="T60" fmla="*/ 2147483646 w 832"/>
                <a:gd name="T61" fmla="*/ 2147483646 h 360"/>
                <a:gd name="T62" fmla="*/ 2147483646 w 832"/>
                <a:gd name="T63" fmla="*/ 2147483646 h 360"/>
                <a:gd name="T64" fmla="*/ 2147483646 w 832"/>
                <a:gd name="T65" fmla="*/ 2147483646 h 360"/>
                <a:gd name="T66" fmla="*/ 2147483646 w 832"/>
                <a:gd name="T67" fmla="*/ 2147483646 h 360"/>
                <a:gd name="T68" fmla="*/ 2147483646 w 832"/>
                <a:gd name="T69" fmla="*/ 2147483646 h 360"/>
                <a:gd name="T70" fmla="*/ 2147483646 w 832"/>
                <a:gd name="T71" fmla="*/ 2147483646 h 360"/>
                <a:gd name="T72" fmla="*/ 2147483646 w 832"/>
                <a:gd name="T73" fmla="*/ 2147483646 h 360"/>
                <a:gd name="T74" fmla="*/ 2147483646 w 832"/>
                <a:gd name="T75" fmla="*/ 2147483646 h 360"/>
                <a:gd name="T76" fmla="*/ 2147483646 w 832"/>
                <a:gd name="T77" fmla="*/ 2147483646 h 360"/>
                <a:gd name="T78" fmla="*/ 2147483646 w 832"/>
                <a:gd name="T79" fmla="*/ 2147483646 h 360"/>
                <a:gd name="T80" fmla="*/ 2147483646 w 832"/>
                <a:gd name="T81" fmla="*/ 2147483646 h 360"/>
                <a:gd name="T82" fmla="*/ 2147483646 w 832"/>
                <a:gd name="T83" fmla="*/ 2147483646 h 3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32"/>
                <a:gd name="T127" fmla="*/ 0 h 360"/>
                <a:gd name="T128" fmla="*/ 832 w 832"/>
                <a:gd name="T129" fmla="*/ 360 h 3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32" h="360">
                  <a:moveTo>
                    <a:pt x="472" y="320"/>
                  </a:moveTo>
                  <a:lnTo>
                    <a:pt x="496" y="288"/>
                  </a:lnTo>
                  <a:lnTo>
                    <a:pt x="576" y="288"/>
                  </a:lnTo>
                  <a:lnTo>
                    <a:pt x="640" y="248"/>
                  </a:lnTo>
                  <a:lnTo>
                    <a:pt x="696" y="248"/>
                  </a:lnTo>
                  <a:lnTo>
                    <a:pt x="728" y="216"/>
                  </a:lnTo>
                  <a:lnTo>
                    <a:pt x="816" y="208"/>
                  </a:lnTo>
                  <a:lnTo>
                    <a:pt x="832" y="144"/>
                  </a:lnTo>
                  <a:lnTo>
                    <a:pt x="768" y="120"/>
                  </a:lnTo>
                  <a:lnTo>
                    <a:pt x="752" y="136"/>
                  </a:lnTo>
                  <a:lnTo>
                    <a:pt x="648" y="64"/>
                  </a:lnTo>
                  <a:lnTo>
                    <a:pt x="616" y="80"/>
                  </a:lnTo>
                  <a:lnTo>
                    <a:pt x="608" y="32"/>
                  </a:lnTo>
                  <a:lnTo>
                    <a:pt x="568" y="72"/>
                  </a:lnTo>
                  <a:lnTo>
                    <a:pt x="528" y="32"/>
                  </a:lnTo>
                  <a:lnTo>
                    <a:pt x="504" y="64"/>
                  </a:lnTo>
                  <a:lnTo>
                    <a:pt x="472" y="48"/>
                  </a:lnTo>
                  <a:lnTo>
                    <a:pt x="392" y="56"/>
                  </a:lnTo>
                  <a:lnTo>
                    <a:pt x="384" y="16"/>
                  </a:lnTo>
                  <a:lnTo>
                    <a:pt x="304" y="32"/>
                  </a:lnTo>
                  <a:lnTo>
                    <a:pt x="288" y="0"/>
                  </a:lnTo>
                  <a:lnTo>
                    <a:pt x="248" y="56"/>
                  </a:lnTo>
                  <a:lnTo>
                    <a:pt x="168" y="80"/>
                  </a:lnTo>
                  <a:lnTo>
                    <a:pt x="152" y="24"/>
                  </a:lnTo>
                  <a:lnTo>
                    <a:pt x="120" y="8"/>
                  </a:lnTo>
                  <a:lnTo>
                    <a:pt x="40" y="8"/>
                  </a:lnTo>
                  <a:lnTo>
                    <a:pt x="56" y="48"/>
                  </a:lnTo>
                  <a:lnTo>
                    <a:pt x="96" y="80"/>
                  </a:lnTo>
                  <a:lnTo>
                    <a:pt x="32" y="120"/>
                  </a:lnTo>
                  <a:lnTo>
                    <a:pt x="0" y="160"/>
                  </a:lnTo>
                  <a:lnTo>
                    <a:pt x="16" y="200"/>
                  </a:lnTo>
                  <a:lnTo>
                    <a:pt x="48" y="192"/>
                  </a:lnTo>
                  <a:lnTo>
                    <a:pt x="112" y="272"/>
                  </a:lnTo>
                  <a:lnTo>
                    <a:pt x="64" y="360"/>
                  </a:lnTo>
                  <a:lnTo>
                    <a:pt x="160" y="352"/>
                  </a:lnTo>
                  <a:lnTo>
                    <a:pt x="224" y="328"/>
                  </a:lnTo>
                  <a:lnTo>
                    <a:pt x="248" y="336"/>
                  </a:lnTo>
                  <a:lnTo>
                    <a:pt x="288" y="304"/>
                  </a:lnTo>
                  <a:lnTo>
                    <a:pt x="328" y="288"/>
                  </a:lnTo>
                  <a:lnTo>
                    <a:pt x="384" y="288"/>
                  </a:lnTo>
                  <a:lnTo>
                    <a:pt x="440" y="296"/>
                  </a:lnTo>
                  <a:lnTo>
                    <a:pt x="472" y="320"/>
                  </a:lnTo>
                  <a:close/>
                </a:path>
              </a:pathLst>
            </a:custGeom>
            <a:grpFill/>
            <a:ln w="9525">
              <a:solidFill>
                <a:schemeClr val="bg1"/>
              </a:solidFill>
              <a:round/>
              <a:headEnd/>
              <a:tailEnd/>
            </a:ln>
          </p:spPr>
          <p:txBody>
            <a:bodyPr/>
            <a:lstStyle/>
            <a:p>
              <a:endParaRPr lang="en-US"/>
            </a:p>
          </p:txBody>
        </p:sp>
        <p:sp>
          <p:nvSpPr>
            <p:cNvPr id="85" name="Freeform 29"/>
            <p:cNvSpPr>
              <a:spLocks/>
            </p:cNvSpPr>
            <p:nvPr/>
          </p:nvSpPr>
          <p:spPr bwMode="auto">
            <a:xfrm>
              <a:off x="3831249" y="4933409"/>
              <a:ext cx="325791" cy="373702"/>
            </a:xfrm>
            <a:custGeom>
              <a:avLst/>
              <a:gdLst>
                <a:gd name="T0" fmla="*/ 2147483646 w 272"/>
                <a:gd name="T1" fmla="*/ 2147483646 h 312"/>
                <a:gd name="T2" fmla="*/ 2147483646 w 272"/>
                <a:gd name="T3" fmla="*/ 2147483646 h 312"/>
                <a:gd name="T4" fmla="*/ 2147483646 w 272"/>
                <a:gd name="T5" fmla="*/ 2147483646 h 312"/>
                <a:gd name="T6" fmla="*/ 2147483646 w 272"/>
                <a:gd name="T7" fmla="*/ 2147483646 h 312"/>
                <a:gd name="T8" fmla="*/ 2147483646 w 272"/>
                <a:gd name="T9" fmla="*/ 2147483646 h 312"/>
                <a:gd name="T10" fmla="*/ 2147483646 w 272"/>
                <a:gd name="T11" fmla="*/ 2147483646 h 312"/>
                <a:gd name="T12" fmla="*/ 2147483646 w 272"/>
                <a:gd name="T13" fmla="*/ 2147483646 h 312"/>
                <a:gd name="T14" fmla="*/ 2147483646 w 272"/>
                <a:gd name="T15" fmla="*/ 2147483646 h 312"/>
                <a:gd name="T16" fmla="*/ 2147483646 w 272"/>
                <a:gd name="T17" fmla="*/ 0 h 312"/>
                <a:gd name="T18" fmla="*/ 2147483646 w 272"/>
                <a:gd name="T19" fmla="*/ 2147483646 h 312"/>
                <a:gd name="T20" fmla="*/ 2147483646 w 272"/>
                <a:gd name="T21" fmla="*/ 2147483646 h 312"/>
                <a:gd name="T22" fmla="*/ 2147483646 w 272"/>
                <a:gd name="T23" fmla="*/ 2147483646 h 312"/>
                <a:gd name="T24" fmla="*/ 2147483646 w 272"/>
                <a:gd name="T25" fmla="*/ 2147483646 h 312"/>
                <a:gd name="T26" fmla="*/ 2147483646 w 272"/>
                <a:gd name="T27" fmla="*/ 2147483646 h 312"/>
                <a:gd name="T28" fmla="*/ 0 w 272"/>
                <a:gd name="T29" fmla="*/ 2147483646 h 312"/>
                <a:gd name="T30" fmla="*/ 2147483646 w 272"/>
                <a:gd name="T31" fmla="*/ 2147483646 h 312"/>
                <a:gd name="T32" fmla="*/ 2147483646 w 272"/>
                <a:gd name="T33" fmla="*/ 2147483646 h 312"/>
                <a:gd name="T34" fmla="*/ 2147483646 w 272"/>
                <a:gd name="T35" fmla="*/ 2147483646 h 312"/>
                <a:gd name="T36" fmla="*/ 2147483646 w 272"/>
                <a:gd name="T37" fmla="*/ 2147483646 h 312"/>
                <a:gd name="T38" fmla="*/ 2147483646 w 272"/>
                <a:gd name="T39" fmla="*/ 2147483646 h 312"/>
                <a:gd name="T40" fmla="*/ 2147483646 w 272"/>
                <a:gd name="T41" fmla="*/ 2147483646 h 312"/>
                <a:gd name="T42" fmla="*/ 2147483646 w 272"/>
                <a:gd name="T43" fmla="*/ 2147483646 h 312"/>
                <a:gd name="T44" fmla="*/ 2147483646 w 272"/>
                <a:gd name="T45" fmla="*/ 2147483646 h 312"/>
                <a:gd name="T46" fmla="*/ 2147483646 w 272"/>
                <a:gd name="T47" fmla="*/ 2147483646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2"/>
                <a:gd name="T73" fmla="*/ 0 h 312"/>
                <a:gd name="T74" fmla="*/ 272 w 272"/>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2" h="312">
                  <a:moveTo>
                    <a:pt x="184" y="288"/>
                  </a:moveTo>
                  <a:lnTo>
                    <a:pt x="216" y="240"/>
                  </a:lnTo>
                  <a:lnTo>
                    <a:pt x="272" y="200"/>
                  </a:lnTo>
                  <a:lnTo>
                    <a:pt x="232" y="176"/>
                  </a:lnTo>
                  <a:lnTo>
                    <a:pt x="216" y="136"/>
                  </a:lnTo>
                  <a:lnTo>
                    <a:pt x="200" y="120"/>
                  </a:lnTo>
                  <a:lnTo>
                    <a:pt x="192" y="72"/>
                  </a:lnTo>
                  <a:lnTo>
                    <a:pt x="168" y="16"/>
                  </a:lnTo>
                  <a:lnTo>
                    <a:pt x="136" y="0"/>
                  </a:lnTo>
                  <a:lnTo>
                    <a:pt x="112" y="16"/>
                  </a:lnTo>
                  <a:lnTo>
                    <a:pt x="24" y="24"/>
                  </a:lnTo>
                  <a:lnTo>
                    <a:pt x="32" y="56"/>
                  </a:lnTo>
                  <a:lnTo>
                    <a:pt x="8" y="64"/>
                  </a:lnTo>
                  <a:lnTo>
                    <a:pt x="32" y="104"/>
                  </a:lnTo>
                  <a:lnTo>
                    <a:pt x="0" y="144"/>
                  </a:lnTo>
                  <a:lnTo>
                    <a:pt x="40" y="184"/>
                  </a:lnTo>
                  <a:lnTo>
                    <a:pt x="64" y="200"/>
                  </a:lnTo>
                  <a:lnTo>
                    <a:pt x="40" y="216"/>
                  </a:lnTo>
                  <a:lnTo>
                    <a:pt x="32" y="280"/>
                  </a:lnTo>
                  <a:lnTo>
                    <a:pt x="80" y="280"/>
                  </a:lnTo>
                  <a:lnTo>
                    <a:pt x="96" y="312"/>
                  </a:lnTo>
                  <a:lnTo>
                    <a:pt x="128" y="280"/>
                  </a:lnTo>
                  <a:lnTo>
                    <a:pt x="152" y="304"/>
                  </a:lnTo>
                  <a:lnTo>
                    <a:pt x="184" y="288"/>
                  </a:lnTo>
                  <a:close/>
                </a:path>
              </a:pathLst>
            </a:custGeom>
            <a:grpFill/>
            <a:ln w="9525">
              <a:solidFill>
                <a:schemeClr val="bg1"/>
              </a:solidFill>
              <a:round/>
              <a:headEnd/>
              <a:tailEnd/>
            </a:ln>
          </p:spPr>
          <p:txBody>
            <a:bodyPr/>
            <a:lstStyle/>
            <a:p>
              <a:endParaRPr lang="en-US"/>
            </a:p>
          </p:txBody>
        </p:sp>
        <p:sp>
          <p:nvSpPr>
            <p:cNvPr id="86" name="Freeform 30"/>
            <p:cNvSpPr>
              <a:spLocks/>
            </p:cNvSpPr>
            <p:nvPr/>
          </p:nvSpPr>
          <p:spPr bwMode="auto">
            <a:xfrm>
              <a:off x="3398315" y="4367548"/>
              <a:ext cx="488687" cy="795314"/>
            </a:xfrm>
            <a:custGeom>
              <a:avLst/>
              <a:gdLst>
                <a:gd name="T0" fmla="*/ 2147483646 w 408"/>
                <a:gd name="T1" fmla="*/ 2147483646 h 664"/>
                <a:gd name="T2" fmla="*/ 2147483646 w 408"/>
                <a:gd name="T3" fmla="*/ 2147483646 h 664"/>
                <a:gd name="T4" fmla="*/ 2147483646 w 408"/>
                <a:gd name="T5" fmla="*/ 2147483646 h 664"/>
                <a:gd name="T6" fmla="*/ 2147483646 w 408"/>
                <a:gd name="T7" fmla="*/ 2147483646 h 664"/>
                <a:gd name="T8" fmla="*/ 2147483646 w 408"/>
                <a:gd name="T9" fmla="*/ 2147483646 h 664"/>
                <a:gd name="T10" fmla="*/ 2147483646 w 408"/>
                <a:gd name="T11" fmla="*/ 2147483646 h 664"/>
                <a:gd name="T12" fmla="*/ 2147483646 w 408"/>
                <a:gd name="T13" fmla="*/ 2147483646 h 664"/>
                <a:gd name="T14" fmla="*/ 2147483646 w 408"/>
                <a:gd name="T15" fmla="*/ 2147483646 h 664"/>
                <a:gd name="T16" fmla="*/ 2147483646 w 408"/>
                <a:gd name="T17" fmla="*/ 2147483646 h 664"/>
                <a:gd name="T18" fmla="*/ 2147483646 w 408"/>
                <a:gd name="T19" fmla="*/ 2147483646 h 664"/>
                <a:gd name="T20" fmla="*/ 2147483646 w 408"/>
                <a:gd name="T21" fmla="*/ 2147483646 h 664"/>
                <a:gd name="T22" fmla="*/ 2147483646 w 408"/>
                <a:gd name="T23" fmla="*/ 2147483646 h 664"/>
                <a:gd name="T24" fmla="*/ 2147483646 w 408"/>
                <a:gd name="T25" fmla="*/ 2147483646 h 664"/>
                <a:gd name="T26" fmla="*/ 2147483646 w 408"/>
                <a:gd name="T27" fmla="*/ 2147483646 h 664"/>
                <a:gd name="T28" fmla="*/ 2147483646 w 408"/>
                <a:gd name="T29" fmla="*/ 2147483646 h 664"/>
                <a:gd name="T30" fmla="*/ 2147483646 w 408"/>
                <a:gd name="T31" fmla="*/ 0 h 664"/>
                <a:gd name="T32" fmla="*/ 2147483646 w 408"/>
                <a:gd name="T33" fmla="*/ 2147483646 h 664"/>
                <a:gd name="T34" fmla="*/ 2147483646 w 408"/>
                <a:gd name="T35" fmla="*/ 2147483646 h 664"/>
                <a:gd name="T36" fmla="*/ 2147483646 w 408"/>
                <a:gd name="T37" fmla="*/ 2147483646 h 664"/>
                <a:gd name="T38" fmla="*/ 2147483646 w 408"/>
                <a:gd name="T39" fmla="*/ 2147483646 h 664"/>
                <a:gd name="T40" fmla="*/ 2147483646 w 408"/>
                <a:gd name="T41" fmla="*/ 2147483646 h 664"/>
                <a:gd name="T42" fmla="*/ 2147483646 w 408"/>
                <a:gd name="T43" fmla="*/ 2147483646 h 664"/>
                <a:gd name="T44" fmla="*/ 0 w 408"/>
                <a:gd name="T45" fmla="*/ 2147483646 h 664"/>
                <a:gd name="T46" fmla="*/ 2147483646 w 408"/>
                <a:gd name="T47" fmla="*/ 2147483646 h 664"/>
                <a:gd name="T48" fmla="*/ 2147483646 w 408"/>
                <a:gd name="T49" fmla="*/ 2147483646 h 664"/>
                <a:gd name="T50" fmla="*/ 2147483646 w 408"/>
                <a:gd name="T51" fmla="*/ 2147483646 h 664"/>
                <a:gd name="T52" fmla="*/ 2147483646 w 408"/>
                <a:gd name="T53" fmla="*/ 2147483646 h 664"/>
                <a:gd name="T54" fmla="*/ 2147483646 w 408"/>
                <a:gd name="T55" fmla="*/ 2147483646 h 664"/>
                <a:gd name="T56" fmla="*/ 2147483646 w 408"/>
                <a:gd name="T57" fmla="*/ 2147483646 h 664"/>
                <a:gd name="T58" fmla="*/ 2147483646 w 408"/>
                <a:gd name="T59" fmla="*/ 2147483646 h 664"/>
                <a:gd name="T60" fmla="*/ 2147483646 w 408"/>
                <a:gd name="T61" fmla="*/ 2147483646 h 664"/>
                <a:gd name="T62" fmla="*/ 2147483646 w 408"/>
                <a:gd name="T63" fmla="*/ 2147483646 h 664"/>
                <a:gd name="T64" fmla="*/ 2147483646 w 408"/>
                <a:gd name="T65" fmla="*/ 2147483646 h 664"/>
                <a:gd name="T66" fmla="*/ 2147483646 w 408"/>
                <a:gd name="T67" fmla="*/ 2147483646 h 664"/>
                <a:gd name="T68" fmla="*/ 2147483646 w 408"/>
                <a:gd name="T69" fmla="*/ 2147483646 h 664"/>
                <a:gd name="T70" fmla="*/ 2147483646 w 408"/>
                <a:gd name="T71" fmla="*/ 2147483646 h 664"/>
                <a:gd name="T72" fmla="*/ 2147483646 w 408"/>
                <a:gd name="T73" fmla="*/ 2147483646 h 664"/>
                <a:gd name="T74" fmla="*/ 2147483646 w 408"/>
                <a:gd name="T75" fmla="*/ 2147483646 h 664"/>
                <a:gd name="T76" fmla="*/ 2147483646 w 408"/>
                <a:gd name="T77" fmla="*/ 2147483646 h 664"/>
                <a:gd name="T78" fmla="*/ 2147483646 w 408"/>
                <a:gd name="T79" fmla="*/ 2147483646 h 664"/>
                <a:gd name="T80" fmla="*/ 2147483646 w 408"/>
                <a:gd name="T81" fmla="*/ 2147483646 h 6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8"/>
                <a:gd name="T124" fmla="*/ 0 h 664"/>
                <a:gd name="T125" fmla="*/ 408 w 408"/>
                <a:gd name="T126" fmla="*/ 664 h 66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8" h="664">
                  <a:moveTo>
                    <a:pt x="376" y="632"/>
                  </a:moveTo>
                  <a:lnTo>
                    <a:pt x="408" y="592"/>
                  </a:lnTo>
                  <a:lnTo>
                    <a:pt x="384" y="552"/>
                  </a:lnTo>
                  <a:lnTo>
                    <a:pt x="408" y="544"/>
                  </a:lnTo>
                  <a:lnTo>
                    <a:pt x="400" y="504"/>
                  </a:lnTo>
                  <a:lnTo>
                    <a:pt x="400" y="480"/>
                  </a:lnTo>
                  <a:lnTo>
                    <a:pt x="368" y="440"/>
                  </a:lnTo>
                  <a:lnTo>
                    <a:pt x="336" y="440"/>
                  </a:lnTo>
                  <a:lnTo>
                    <a:pt x="336" y="344"/>
                  </a:lnTo>
                  <a:lnTo>
                    <a:pt x="280" y="328"/>
                  </a:lnTo>
                  <a:lnTo>
                    <a:pt x="288" y="264"/>
                  </a:lnTo>
                  <a:lnTo>
                    <a:pt x="208" y="184"/>
                  </a:lnTo>
                  <a:lnTo>
                    <a:pt x="240" y="136"/>
                  </a:lnTo>
                  <a:lnTo>
                    <a:pt x="176" y="80"/>
                  </a:lnTo>
                  <a:lnTo>
                    <a:pt x="184" y="24"/>
                  </a:lnTo>
                  <a:lnTo>
                    <a:pt x="144" y="0"/>
                  </a:lnTo>
                  <a:lnTo>
                    <a:pt x="104" y="48"/>
                  </a:lnTo>
                  <a:lnTo>
                    <a:pt x="96" y="128"/>
                  </a:lnTo>
                  <a:lnTo>
                    <a:pt x="64" y="160"/>
                  </a:lnTo>
                  <a:lnTo>
                    <a:pt x="72" y="200"/>
                  </a:lnTo>
                  <a:lnTo>
                    <a:pt x="32" y="224"/>
                  </a:lnTo>
                  <a:lnTo>
                    <a:pt x="16" y="200"/>
                  </a:lnTo>
                  <a:lnTo>
                    <a:pt x="0" y="264"/>
                  </a:lnTo>
                  <a:lnTo>
                    <a:pt x="64" y="368"/>
                  </a:lnTo>
                  <a:lnTo>
                    <a:pt x="48" y="448"/>
                  </a:lnTo>
                  <a:lnTo>
                    <a:pt x="72" y="472"/>
                  </a:lnTo>
                  <a:lnTo>
                    <a:pt x="56" y="512"/>
                  </a:lnTo>
                  <a:lnTo>
                    <a:pt x="80" y="560"/>
                  </a:lnTo>
                  <a:lnTo>
                    <a:pt x="112" y="568"/>
                  </a:lnTo>
                  <a:lnTo>
                    <a:pt x="88" y="600"/>
                  </a:lnTo>
                  <a:lnTo>
                    <a:pt x="96" y="640"/>
                  </a:lnTo>
                  <a:lnTo>
                    <a:pt x="64" y="664"/>
                  </a:lnTo>
                  <a:lnTo>
                    <a:pt x="104" y="664"/>
                  </a:lnTo>
                  <a:lnTo>
                    <a:pt x="168" y="632"/>
                  </a:lnTo>
                  <a:lnTo>
                    <a:pt x="200" y="656"/>
                  </a:lnTo>
                  <a:lnTo>
                    <a:pt x="200" y="624"/>
                  </a:lnTo>
                  <a:lnTo>
                    <a:pt x="240" y="632"/>
                  </a:lnTo>
                  <a:lnTo>
                    <a:pt x="280" y="600"/>
                  </a:lnTo>
                  <a:lnTo>
                    <a:pt x="320" y="600"/>
                  </a:lnTo>
                  <a:lnTo>
                    <a:pt x="344" y="632"/>
                  </a:lnTo>
                  <a:lnTo>
                    <a:pt x="376" y="632"/>
                  </a:lnTo>
                  <a:close/>
                </a:path>
              </a:pathLst>
            </a:custGeom>
            <a:grpFill/>
            <a:ln w="9525">
              <a:solidFill>
                <a:schemeClr val="bg1"/>
              </a:solidFill>
              <a:round/>
              <a:headEnd/>
              <a:tailEnd/>
            </a:ln>
          </p:spPr>
          <p:txBody>
            <a:bodyPr/>
            <a:lstStyle/>
            <a:p>
              <a:endParaRPr lang="en-US"/>
            </a:p>
          </p:txBody>
        </p:sp>
        <p:sp>
          <p:nvSpPr>
            <p:cNvPr id="87" name="Freeform 31"/>
            <p:cNvSpPr>
              <a:spLocks/>
            </p:cNvSpPr>
            <p:nvPr/>
          </p:nvSpPr>
          <p:spPr bwMode="auto">
            <a:xfrm>
              <a:off x="3033030" y="4239391"/>
              <a:ext cx="498269" cy="986956"/>
            </a:xfrm>
            <a:custGeom>
              <a:avLst/>
              <a:gdLst>
                <a:gd name="T0" fmla="*/ 2147483646 w 416"/>
                <a:gd name="T1" fmla="*/ 2147483646 h 824"/>
                <a:gd name="T2" fmla="*/ 2147483646 w 416"/>
                <a:gd name="T3" fmla="*/ 2147483646 h 824"/>
                <a:gd name="T4" fmla="*/ 2147483646 w 416"/>
                <a:gd name="T5" fmla="*/ 2147483646 h 824"/>
                <a:gd name="T6" fmla="*/ 2147483646 w 416"/>
                <a:gd name="T7" fmla="*/ 2147483646 h 824"/>
                <a:gd name="T8" fmla="*/ 2147483646 w 416"/>
                <a:gd name="T9" fmla="*/ 2147483646 h 824"/>
                <a:gd name="T10" fmla="*/ 2147483646 w 416"/>
                <a:gd name="T11" fmla="*/ 2147483646 h 824"/>
                <a:gd name="T12" fmla="*/ 2147483646 w 416"/>
                <a:gd name="T13" fmla="*/ 2147483646 h 824"/>
                <a:gd name="T14" fmla="*/ 2147483646 w 416"/>
                <a:gd name="T15" fmla="*/ 2147483646 h 824"/>
                <a:gd name="T16" fmla="*/ 2147483646 w 416"/>
                <a:gd name="T17" fmla="*/ 2147483646 h 824"/>
                <a:gd name="T18" fmla="*/ 2147483646 w 416"/>
                <a:gd name="T19" fmla="*/ 2147483646 h 824"/>
                <a:gd name="T20" fmla="*/ 2147483646 w 416"/>
                <a:gd name="T21" fmla="*/ 2147483646 h 824"/>
                <a:gd name="T22" fmla="*/ 2147483646 w 416"/>
                <a:gd name="T23" fmla="*/ 2147483646 h 824"/>
                <a:gd name="T24" fmla="*/ 2147483646 w 416"/>
                <a:gd name="T25" fmla="*/ 2147483646 h 824"/>
                <a:gd name="T26" fmla="*/ 2147483646 w 416"/>
                <a:gd name="T27" fmla="*/ 2147483646 h 824"/>
                <a:gd name="T28" fmla="*/ 2147483646 w 416"/>
                <a:gd name="T29" fmla="*/ 2147483646 h 824"/>
                <a:gd name="T30" fmla="*/ 2147483646 w 416"/>
                <a:gd name="T31" fmla="*/ 2147483646 h 824"/>
                <a:gd name="T32" fmla="*/ 2147483646 w 416"/>
                <a:gd name="T33" fmla="*/ 2147483646 h 824"/>
                <a:gd name="T34" fmla="*/ 2147483646 w 416"/>
                <a:gd name="T35" fmla="*/ 2147483646 h 824"/>
                <a:gd name="T36" fmla="*/ 2147483646 w 416"/>
                <a:gd name="T37" fmla="*/ 2147483646 h 824"/>
                <a:gd name="T38" fmla="*/ 2147483646 w 416"/>
                <a:gd name="T39" fmla="*/ 0 h 824"/>
                <a:gd name="T40" fmla="*/ 2147483646 w 416"/>
                <a:gd name="T41" fmla="*/ 2147483646 h 824"/>
                <a:gd name="T42" fmla="*/ 2147483646 w 416"/>
                <a:gd name="T43" fmla="*/ 2147483646 h 824"/>
                <a:gd name="T44" fmla="*/ 2147483646 w 416"/>
                <a:gd name="T45" fmla="*/ 2147483646 h 824"/>
                <a:gd name="T46" fmla="*/ 2147483646 w 416"/>
                <a:gd name="T47" fmla="*/ 2147483646 h 824"/>
                <a:gd name="T48" fmla="*/ 2147483646 w 416"/>
                <a:gd name="T49" fmla="*/ 2147483646 h 824"/>
                <a:gd name="T50" fmla="*/ 2147483646 w 416"/>
                <a:gd name="T51" fmla="*/ 2147483646 h 824"/>
                <a:gd name="T52" fmla="*/ 2147483646 w 416"/>
                <a:gd name="T53" fmla="*/ 2147483646 h 824"/>
                <a:gd name="T54" fmla="*/ 0 w 416"/>
                <a:gd name="T55" fmla="*/ 2147483646 h 824"/>
                <a:gd name="T56" fmla="*/ 2147483646 w 416"/>
                <a:gd name="T57" fmla="*/ 2147483646 h 824"/>
                <a:gd name="T58" fmla="*/ 2147483646 w 416"/>
                <a:gd name="T59" fmla="*/ 2147483646 h 824"/>
                <a:gd name="T60" fmla="*/ 2147483646 w 416"/>
                <a:gd name="T61" fmla="*/ 2147483646 h 824"/>
                <a:gd name="T62" fmla="*/ 2147483646 w 416"/>
                <a:gd name="T63" fmla="*/ 2147483646 h 824"/>
                <a:gd name="T64" fmla="*/ 2147483646 w 416"/>
                <a:gd name="T65" fmla="*/ 2147483646 h 824"/>
                <a:gd name="T66" fmla="*/ 2147483646 w 416"/>
                <a:gd name="T67" fmla="*/ 2147483646 h 824"/>
                <a:gd name="T68" fmla="*/ 2147483646 w 416"/>
                <a:gd name="T69" fmla="*/ 2147483646 h 824"/>
                <a:gd name="T70" fmla="*/ 2147483646 w 416"/>
                <a:gd name="T71" fmla="*/ 2147483646 h 824"/>
                <a:gd name="T72" fmla="*/ 2147483646 w 416"/>
                <a:gd name="T73" fmla="*/ 2147483646 h 824"/>
                <a:gd name="T74" fmla="*/ 2147483646 w 416"/>
                <a:gd name="T75" fmla="*/ 2147483646 h 824"/>
                <a:gd name="T76" fmla="*/ 2147483646 w 416"/>
                <a:gd name="T77" fmla="*/ 2147483646 h 824"/>
                <a:gd name="T78" fmla="*/ 2147483646 w 416"/>
                <a:gd name="T79" fmla="*/ 2147483646 h 824"/>
                <a:gd name="T80" fmla="*/ 2147483646 w 416"/>
                <a:gd name="T81" fmla="*/ 2147483646 h 8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6"/>
                <a:gd name="T124" fmla="*/ 0 h 824"/>
                <a:gd name="T125" fmla="*/ 416 w 416"/>
                <a:gd name="T126" fmla="*/ 824 h 8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6" h="824">
                  <a:moveTo>
                    <a:pt x="368" y="768"/>
                  </a:moveTo>
                  <a:lnTo>
                    <a:pt x="400" y="744"/>
                  </a:lnTo>
                  <a:lnTo>
                    <a:pt x="392" y="704"/>
                  </a:lnTo>
                  <a:lnTo>
                    <a:pt x="416" y="672"/>
                  </a:lnTo>
                  <a:lnTo>
                    <a:pt x="384" y="664"/>
                  </a:lnTo>
                  <a:lnTo>
                    <a:pt x="360" y="616"/>
                  </a:lnTo>
                  <a:lnTo>
                    <a:pt x="376" y="576"/>
                  </a:lnTo>
                  <a:lnTo>
                    <a:pt x="352" y="552"/>
                  </a:lnTo>
                  <a:lnTo>
                    <a:pt x="368" y="472"/>
                  </a:lnTo>
                  <a:lnTo>
                    <a:pt x="304" y="368"/>
                  </a:lnTo>
                  <a:lnTo>
                    <a:pt x="320" y="304"/>
                  </a:lnTo>
                  <a:lnTo>
                    <a:pt x="336" y="328"/>
                  </a:lnTo>
                  <a:lnTo>
                    <a:pt x="376" y="304"/>
                  </a:lnTo>
                  <a:lnTo>
                    <a:pt x="368" y="264"/>
                  </a:lnTo>
                  <a:lnTo>
                    <a:pt x="400" y="232"/>
                  </a:lnTo>
                  <a:lnTo>
                    <a:pt x="408" y="152"/>
                  </a:lnTo>
                  <a:lnTo>
                    <a:pt x="360" y="112"/>
                  </a:lnTo>
                  <a:lnTo>
                    <a:pt x="368" y="72"/>
                  </a:lnTo>
                  <a:lnTo>
                    <a:pt x="272" y="16"/>
                  </a:lnTo>
                  <a:lnTo>
                    <a:pt x="176" y="0"/>
                  </a:lnTo>
                  <a:lnTo>
                    <a:pt x="128" y="8"/>
                  </a:lnTo>
                  <a:lnTo>
                    <a:pt x="48" y="32"/>
                  </a:lnTo>
                  <a:lnTo>
                    <a:pt x="40" y="176"/>
                  </a:lnTo>
                  <a:lnTo>
                    <a:pt x="16" y="240"/>
                  </a:lnTo>
                  <a:lnTo>
                    <a:pt x="48" y="320"/>
                  </a:lnTo>
                  <a:lnTo>
                    <a:pt x="16" y="376"/>
                  </a:lnTo>
                  <a:lnTo>
                    <a:pt x="16" y="480"/>
                  </a:lnTo>
                  <a:lnTo>
                    <a:pt x="0" y="512"/>
                  </a:lnTo>
                  <a:lnTo>
                    <a:pt x="8" y="536"/>
                  </a:lnTo>
                  <a:lnTo>
                    <a:pt x="48" y="480"/>
                  </a:lnTo>
                  <a:lnTo>
                    <a:pt x="72" y="504"/>
                  </a:lnTo>
                  <a:lnTo>
                    <a:pt x="64" y="576"/>
                  </a:lnTo>
                  <a:lnTo>
                    <a:pt x="88" y="608"/>
                  </a:lnTo>
                  <a:lnTo>
                    <a:pt x="136" y="600"/>
                  </a:lnTo>
                  <a:lnTo>
                    <a:pt x="120" y="632"/>
                  </a:lnTo>
                  <a:lnTo>
                    <a:pt x="152" y="744"/>
                  </a:lnTo>
                  <a:lnTo>
                    <a:pt x="128" y="784"/>
                  </a:lnTo>
                  <a:lnTo>
                    <a:pt x="144" y="824"/>
                  </a:lnTo>
                  <a:lnTo>
                    <a:pt x="208" y="816"/>
                  </a:lnTo>
                  <a:lnTo>
                    <a:pt x="320" y="800"/>
                  </a:lnTo>
                  <a:lnTo>
                    <a:pt x="368" y="768"/>
                  </a:lnTo>
                  <a:close/>
                </a:path>
              </a:pathLst>
            </a:custGeom>
            <a:grpFill/>
            <a:ln w="9525">
              <a:solidFill>
                <a:schemeClr val="bg1"/>
              </a:solidFill>
              <a:round/>
              <a:headEnd/>
              <a:tailEnd/>
            </a:ln>
          </p:spPr>
          <p:txBody>
            <a:bodyPr/>
            <a:lstStyle/>
            <a:p>
              <a:endParaRPr lang="en-US"/>
            </a:p>
          </p:txBody>
        </p:sp>
        <p:sp>
          <p:nvSpPr>
            <p:cNvPr id="88" name="Freeform 32"/>
            <p:cNvSpPr>
              <a:spLocks/>
            </p:cNvSpPr>
            <p:nvPr/>
          </p:nvSpPr>
          <p:spPr bwMode="auto">
            <a:xfrm>
              <a:off x="3581756" y="5069042"/>
              <a:ext cx="603672" cy="728239"/>
            </a:xfrm>
            <a:custGeom>
              <a:avLst/>
              <a:gdLst>
                <a:gd name="T0" fmla="*/ 2147483646 w 504"/>
                <a:gd name="T1" fmla="*/ 2147483646 h 608"/>
                <a:gd name="T2" fmla="*/ 2147483646 w 504"/>
                <a:gd name="T3" fmla="*/ 2147483646 h 608"/>
                <a:gd name="T4" fmla="*/ 2147483646 w 504"/>
                <a:gd name="T5" fmla="*/ 2147483646 h 608"/>
                <a:gd name="T6" fmla="*/ 2147483646 w 504"/>
                <a:gd name="T7" fmla="*/ 2147483646 h 608"/>
                <a:gd name="T8" fmla="*/ 2147483646 w 504"/>
                <a:gd name="T9" fmla="*/ 2147483646 h 608"/>
                <a:gd name="T10" fmla="*/ 2147483646 w 504"/>
                <a:gd name="T11" fmla="*/ 2147483646 h 608"/>
                <a:gd name="T12" fmla="*/ 2147483646 w 504"/>
                <a:gd name="T13" fmla="*/ 2147483646 h 608"/>
                <a:gd name="T14" fmla="*/ 2147483646 w 504"/>
                <a:gd name="T15" fmla="*/ 2147483646 h 608"/>
                <a:gd name="T16" fmla="*/ 2147483646 w 504"/>
                <a:gd name="T17" fmla="*/ 2147483646 h 608"/>
                <a:gd name="T18" fmla="*/ 2147483646 w 504"/>
                <a:gd name="T19" fmla="*/ 2147483646 h 608"/>
                <a:gd name="T20" fmla="*/ 2147483646 w 504"/>
                <a:gd name="T21" fmla="*/ 2147483646 h 608"/>
                <a:gd name="T22" fmla="*/ 2147483646 w 504"/>
                <a:gd name="T23" fmla="*/ 2147483646 h 608"/>
                <a:gd name="T24" fmla="*/ 2147483646 w 504"/>
                <a:gd name="T25" fmla="*/ 2147483646 h 608"/>
                <a:gd name="T26" fmla="*/ 2147483646 w 504"/>
                <a:gd name="T27" fmla="*/ 2147483646 h 608"/>
                <a:gd name="T28" fmla="*/ 2147483646 w 504"/>
                <a:gd name="T29" fmla="*/ 2147483646 h 608"/>
                <a:gd name="T30" fmla="*/ 2147483646 w 504"/>
                <a:gd name="T31" fmla="*/ 0 h 608"/>
                <a:gd name="T32" fmla="*/ 2147483646 w 504"/>
                <a:gd name="T33" fmla="*/ 0 h 608"/>
                <a:gd name="T34" fmla="*/ 2147483646 w 504"/>
                <a:gd name="T35" fmla="*/ 2147483646 h 608"/>
                <a:gd name="T36" fmla="*/ 2147483646 w 504"/>
                <a:gd name="T37" fmla="*/ 2147483646 h 608"/>
                <a:gd name="T38" fmla="*/ 2147483646 w 504"/>
                <a:gd name="T39" fmla="*/ 2147483646 h 608"/>
                <a:gd name="T40" fmla="*/ 2147483646 w 504"/>
                <a:gd name="T41" fmla="*/ 2147483646 h 608"/>
                <a:gd name="T42" fmla="*/ 0 w 504"/>
                <a:gd name="T43" fmla="*/ 2147483646 h 608"/>
                <a:gd name="T44" fmla="*/ 2147483646 w 504"/>
                <a:gd name="T45" fmla="*/ 2147483646 h 608"/>
                <a:gd name="T46" fmla="*/ 2147483646 w 504"/>
                <a:gd name="T47" fmla="*/ 2147483646 h 608"/>
                <a:gd name="T48" fmla="*/ 2147483646 w 504"/>
                <a:gd name="T49" fmla="*/ 2147483646 h 608"/>
                <a:gd name="T50" fmla="*/ 2147483646 w 504"/>
                <a:gd name="T51" fmla="*/ 2147483646 h 608"/>
                <a:gd name="T52" fmla="*/ 2147483646 w 504"/>
                <a:gd name="T53" fmla="*/ 2147483646 h 608"/>
                <a:gd name="T54" fmla="*/ 2147483646 w 504"/>
                <a:gd name="T55" fmla="*/ 2147483646 h 608"/>
                <a:gd name="T56" fmla="*/ 2147483646 w 504"/>
                <a:gd name="T57" fmla="*/ 2147483646 h 608"/>
                <a:gd name="T58" fmla="*/ 2147483646 w 504"/>
                <a:gd name="T59" fmla="*/ 2147483646 h 608"/>
                <a:gd name="T60" fmla="*/ 2147483646 w 504"/>
                <a:gd name="T61" fmla="*/ 2147483646 h 608"/>
                <a:gd name="T62" fmla="*/ 2147483646 w 504"/>
                <a:gd name="T63" fmla="*/ 2147483646 h 608"/>
                <a:gd name="T64" fmla="*/ 2147483646 w 504"/>
                <a:gd name="T65" fmla="*/ 2147483646 h 608"/>
                <a:gd name="T66" fmla="*/ 2147483646 w 504"/>
                <a:gd name="T67" fmla="*/ 2147483646 h 608"/>
                <a:gd name="T68" fmla="*/ 2147483646 w 504"/>
                <a:gd name="T69" fmla="*/ 2147483646 h 608"/>
                <a:gd name="T70" fmla="*/ 2147483646 w 504"/>
                <a:gd name="T71" fmla="*/ 2147483646 h 608"/>
                <a:gd name="T72" fmla="*/ 2147483646 w 504"/>
                <a:gd name="T73" fmla="*/ 2147483646 h 608"/>
                <a:gd name="T74" fmla="*/ 2147483646 w 504"/>
                <a:gd name="T75" fmla="*/ 2147483646 h 608"/>
                <a:gd name="T76" fmla="*/ 2147483646 w 504"/>
                <a:gd name="T77" fmla="*/ 2147483646 h 608"/>
                <a:gd name="T78" fmla="*/ 2147483646 w 504"/>
                <a:gd name="T79" fmla="*/ 2147483646 h 608"/>
                <a:gd name="T80" fmla="*/ 2147483646 w 504"/>
                <a:gd name="T81" fmla="*/ 2147483646 h 6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4"/>
                <a:gd name="T124" fmla="*/ 0 h 608"/>
                <a:gd name="T125" fmla="*/ 504 w 504"/>
                <a:gd name="T126" fmla="*/ 608 h 6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4" h="608">
                  <a:moveTo>
                    <a:pt x="456" y="368"/>
                  </a:moveTo>
                  <a:lnTo>
                    <a:pt x="504" y="280"/>
                  </a:lnTo>
                  <a:lnTo>
                    <a:pt x="440" y="200"/>
                  </a:lnTo>
                  <a:lnTo>
                    <a:pt x="408" y="208"/>
                  </a:lnTo>
                  <a:lnTo>
                    <a:pt x="392" y="168"/>
                  </a:lnTo>
                  <a:lnTo>
                    <a:pt x="368" y="184"/>
                  </a:lnTo>
                  <a:lnTo>
                    <a:pt x="344" y="168"/>
                  </a:lnTo>
                  <a:lnTo>
                    <a:pt x="312" y="192"/>
                  </a:lnTo>
                  <a:lnTo>
                    <a:pt x="296" y="160"/>
                  </a:lnTo>
                  <a:lnTo>
                    <a:pt x="248" y="168"/>
                  </a:lnTo>
                  <a:lnTo>
                    <a:pt x="248" y="96"/>
                  </a:lnTo>
                  <a:lnTo>
                    <a:pt x="280" y="80"/>
                  </a:lnTo>
                  <a:lnTo>
                    <a:pt x="240" y="48"/>
                  </a:lnTo>
                  <a:lnTo>
                    <a:pt x="216" y="32"/>
                  </a:lnTo>
                  <a:lnTo>
                    <a:pt x="184" y="32"/>
                  </a:lnTo>
                  <a:lnTo>
                    <a:pt x="160" y="0"/>
                  </a:lnTo>
                  <a:lnTo>
                    <a:pt x="120" y="0"/>
                  </a:lnTo>
                  <a:lnTo>
                    <a:pt x="80" y="32"/>
                  </a:lnTo>
                  <a:lnTo>
                    <a:pt x="40" y="24"/>
                  </a:lnTo>
                  <a:lnTo>
                    <a:pt x="40" y="56"/>
                  </a:lnTo>
                  <a:lnTo>
                    <a:pt x="32" y="88"/>
                  </a:lnTo>
                  <a:lnTo>
                    <a:pt x="0" y="120"/>
                  </a:lnTo>
                  <a:lnTo>
                    <a:pt x="40" y="160"/>
                  </a:lnTo>
                  <a:lnTo>
                    <a:pt x="96" y="160"/>
                  </a:lnTo>
                  <a:lnTo>
                    <a:pt x="136" y="272"/>
                  </a:lnTo>
                  <a:lnTo>
                    <a:pt x="104" y="288"/>
                  </a:lnTo>
                  <a:lnTo>
                    <a:pt x="104" y="312"/>
                  </a:lnTo>
                  <a:lnTo>
                    <a:pt x="72" y="328"/>
                  </a:lnTo>
                  <a:lnTo>
                    <a:pt x="80" y="400"/>
                  </a:lnTo>
                  <a:lnTo>
                    <a:pt x="104" y="448"/>
                  </a:lnTo>
                  <a:lnTo>
                    <a:pt x="96" y="488"/>
                  </a:lnTo>
                  <a:lnTo>
                    <a:pt x="120" y="520"/>
                  </a:lnTo>
                  <a:lnTo>
                    <a:pt x="120" y="608"/>
                  </a:lnTo>
                  <a:lnTo>
                    <a:pt x="160" y="600"/>
                  </a:lnTo>
                  <a:lnTo>
                    <a:pt x="184" y="560"/>
                  </a:lnTo>
                  <a:lnTo>
                    <a:pt x="208" y="560"/>
                  </a:lnTo>
                  <a:lnTo>
                    <a:pt x="272" y="480"/>
                  </a:lnTo>
                  <a:lnTo>
                    <a:pt x="336" y="408"/>
                  </a:lnTo>
                  <a:lnTo>
                    <a:pt x="384" y="400"/>
                  </a:lnTo>
                  <a:lnTo>
                    <a:pt x="416" y="368"/>
                  </a:lnTo>
                  <a:lnTo>
                    <a:pt x="456" y="368"/>
                  </a:lnTo>
                  <a:close/>
                </a:path>
              </a:pathLst>
            </a:custGeom>
            <a:grpFill/>
            <a:ln w="9525">
              <a:solidFill>
                <a:schemeClr val="bg1"/>
              </a:solidFill>
              <a:round/>
              <a:headEnd/>
              <a:tailEnd/>
            </a:ln>
          </p:spPr>
          <p:txBody>
            <a:bodyPr/>
            <a:lstStyle/>
            <a:p>
              <a:endParaRPr lang="en-US"/>
            </a:p>
          </p:txBody>
        </p:sp>
        <p:sp>
          <p:nvSpPr>
            <p:cNvPr id="89" name="Freeform 33"/>
            <p:cNvSpPr>
              <a:spLocks/>
            </p:cNvSpPr>
            <p:nvPr/>
          </p:nvSpPr>
          <p:spPr bwMode="auto">
            <a:xfrm>
              <a:off x="3090855" y="5107745"/>
              <a:ext cx="661165" cy="756987"/>
            </a:xfrm>
            <a:custGeom>
              <a:avLst/>
              <a:gdLst>
                <a:gd name="T0" fmla="*/ 2147483646 w 552"/>
                <a:gd name="T1" fmla="*/ 2147483646 h 632"/>
                <a:gd name="T2" fmla="*/ 2147483646 w 552"/>
                <a:gd name="T3" fmla="*/ 2147483646 h 632"/>
                <a:gd name="T4" fmla="*/ 2147483646 w 552"/>
                <a:gd name="T5" fmla="*/ 2147483646 h 632"/>
                <a:gd name="T6" fmla="*/ 2147483646 w 552"/>
                <a:gd name="T7" fmla="*/ 2147483646 h 632"/>
                <a:gd name="T8" fmla="*/ 2147483646 w 552"/>
                <a:gd name="T9" fmla="*/ 2147483646 h 632"/>
                <a:gd name="T10" fmla="*/ 2147483646 w 552"/>
                <a:gd name="T11" fmla="*/ 2147483646 h 632"/>
                <a:gd name="T12" fmla="*/ 2147483646 w 552"/>
                <a:gd name="T13" fmla="*/ 2147483646 h 632"/>
                <a:gd name="T14" fmla="*/ 2147483646 w 552"/>
                <a:gd name="T15" fmla="*/ 2147483646 h 632"/>
                <a:gd name="T16" fmla="*/ 2147483646 w 552"/>
                <a:gd name="T17" fmla="*/ 2147483646 h 632"/>
                <a:gd name="T18" fmla="*/ 2147483646 w 552"/>
                <a:gd name="T19" fmla="*/ 2147483646 h 632"/>
                <a:gd name="T20" fmla="*/ 2147483646 w 552"/>
                <a:gd name="T21" fmla="*/ 2147483646 h 632"/>
                <a:gd name="T22" fmla="*/ 2147483646 w 552"/>
                <a:gd name="T23" fmla="*/ 2147483646 h 632"/>
                <a:gd name="T24" fmla="*/ 2147483646 w 552"/>
                <a:gd name="T25" fmla="*/ 2147483646 h 632"/>
                <a:gd name="T26" fmla="*/ 2147483646 w 552"/>
                <a:gd name="T27" fmla="*/ 2147483646 h 632"/>
                <a:gd name="T28" fmla="*/ 2147483646 w 552"/>
                <a:gd name="T29" fmla="*/ 0 h 632"/>
                <a:gd name="T30" fmla="*/ 2147483646 w 552"/>
                <a:gd name="T31" fmla="*/ 2147483646 h 632"/>
                <a:gd name="T32" fmla="*/ 2147483646 w 552"/>
                <a:gd name="T33" fmla="*/ 2147483646 h 632"/>
                <a:gd name="T34" fmla="*/ 2147483646 w 552"/>
                <a:gd name="T35" fmla="*/ 2147483646 h 632"/>
                <a:gd name="T36" fmla="*/ 2147483646 w 552"/>
                <a:gd name="T37" fmla="*/ 2147483646 h 632"/>
                <a:gd name="T38" fmla="*/ 2147483646 w 552"/>
                <a:gd name="T39" fmla="*/ 2147483646 h 632"/>
                <a:gd name="T40" fmla="*/ 2147483646 w 552"/>
                <a:gd name="T41" fmla="*/ 2147483646 h 632"/>
                <a:gd name="T42" fmla="*/ 2147483646 w 552"/>
                <a:gd name="T43" fmla="*/ 2147483646 h 632"/>
                <a:gd name="T44" fmla="*/ 2147483646 w 552"/>
                <a:gd name="T45" fmla="*/ 2147483646 h 632"/>
                <a:gd name="T46" fmla="*/ 2147483646 w 552"/>
                <a:gd name="T47" fmla="*/ 2147483646 h 632"/>
                <a:gd name="T48" fmla="*/ 0 w 552"/>
                <a:gd name="T49" fmla="*/ 2147483646 h 632"/>
                <a:gd name="T50" fmla="*/ 2147483646 w 552"/>
                <a:gd name="T51" fmla="*/ 2147483646 h 632"/>
                <a:gd name="T52" fmla="*/ 2147483646 w 552"/>
                <a:gd name="T53" fmla="*/ 2147483646 h 632"/>
                <a:gd name="T54" fmla="*/ 2147483646 w 552"/>
                <a:gd name="T55" fmla="*/ 2147483646 h 632"/>
                <a:gd name="T56" fmla="*/ 2147483646 w 552"/>
                <a:gd name="T57" fmla="*/ 2147483646 h 632"/>
                <a:gd name="T58" fmla="*/ 2147483646 w 552"/>
                <a:gd name="T59" fmla="*/ 2147483646 h 632"/>
                <a:gd name="T60" fmla="*/ 2147483646 w 552"/>
                <a:gd name="T61" fmla="*/ 2147483646 h 632"/>
                <a:gd name="T62" fmla="*/ 2147483646 w 552"/>
                <a:gd name="T63" fmla="*/ 2147483646 h 632"/>
                <a:gd name="T64" fmla="*/ 2147483646 w 552"/>
                <a:gd name="T65" fmla="*/ 2147483646 h 632"/>
                <a:gd name="T66" fmla="*/ 2147483646 w 552"/>
                <a:gd name="T67" fmla="*/ 2147483646 h 632"/>
                <a:gd name="T68" fmla="*/ 2147483646 w 552"/>
                <a:gd name="T69" fmla="*/ 2147483646 h 632"/>
                <a:gd name="T70" fmla="*/ 2147483646 w 552"/>
                <a:gd name="T71" fmla="*/ 2147483646 h 632"/>
                <a:gd name="T72" fmla="*/ 2147483646 w 552"/>
                <a:gd name="T73" fmla="*/ 2147483646 h 632"/>
                <a:gd name="T74" fmla="*/ 2147483646 w 552"/>
                <a:gd name="T75" fmla="*/ 2147483646 h 632"/>
                <a:gd name="T76" fmla="*/ 2147483646 w 552"/>
                <a:gd name="T77" fmla="*/ 2147483646 h 632"/>
                <a:gd name="T78" fmla="*/ 2147483646 w 552"/>
                <a:gd name="T79" fmla="*/ 2147483646 h 6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52"/>
                <a:gd name="T121" fmla="*/ 0 h 632"/>
                <a:gd name="T122" fmla="*/ 552 w 552"/>
                <a:gd name="T123" fmla="*/ 632 h 6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52" h="632">
                  <a:moveTo>
                    <a:pt x="536" y="576"/>
                  </a:moveTo>
                  <a:lnTo>
                    <a:pt x="536" y="488"/>
                  </a:lnTo>
                  <a:lnTo>
                    <a:pt x="512" y="456"/>
                  </a:lnTo>
                  <a:lnTo>
                    <a:pt x="520" y="416"/>
                  </a:lnTo>
                  <a:lnTo>
                    <a:pt x="488" y="328"/>
                  </a:lnTo>
                  <a:lnTo>
                    <a:pt x="488" y="296"/>
                  </a:lnTo>
                  <a:lnTo>
                    <a:pt x="520" y="272"/>
                  </a:lnTo>
                  <a:lnTo>
                    <a:pt x="520" y="256"/>
                  </a:lnTo>
                  <a:lnTo>
                    <a:pt x="552" y="240"/>
                  </a:lnTo>
                  <a:lnTo>
                    <a:pt x="512" y="128"/>
                  </a:lnTo>
                  <a:lnTo>
                    <a:pt x="456" y="128"/>
                  </a:lnTo>
                  <a:lnTo>
                    <a:pt x="416" y="88"/>
                  </a:lnTo>
                  <a:lnTo>
                    <a:pt x="448" y="56"/>
                  </a:lnTo>
                  <a:lnTo>
                    <a:pt x="456" y="24"/>
                  </a:lnTo>
                  <a:lnTo>
                    <a:pt x="424" y="0"/>
                  </a:lnTo>
                  <a:lnTo>
                    <a:pt x="360" y="32"/>
                  </a:lnTo>
                  <a:lnTo>
                    <a:pt x="320" y="32"/>
                  </a:lnTo>
                  <a:lnTo>
                    <a:pt x="272" y="64"/>
                  </a:lnTo>
                  <a:lnTo>
                    <a:pt x="160" y="80"/>
                  </a:lnTo>
                  <a:lnTo>
                    <a:pt x="128" y="120"/>
                  </a:lnTo>
                  <a:lnTo>
                    <a:pt x="136" y="184"/>
                  </a:lnTo>
                  <a:lnTo>
                    <a:pt x="104" y="248"/>
                  </a:lnTo>
                  <a:lnTo>
                    <a:pt x="144" y="296"/>
                  </a:lnTo>
                  <a:lnTo>
                    <a:pt x="88" y="304"/>
                  </a:lnTo>
                  <a:lnTo>
                    <a:pt x="0" y="368"/>
                  </a:lnTo>
                  <a:lnTo>
                    <a:pt x="56" y="392"/>
                  </a:lnTo>
                  <a:lnTo>
                    <a:pt x="56" y="448"/>
                  </a:lnTo>
                  <a:lnTo>
                    <a:pt x="104" y="496"/>
                  </a:lnTo>
                  <a:lnTo>
                    <a:pt x="48" y="520"/>
                  </a:lnTo>
                  <a:lnTo>
                    <a:pt x="48" y="560"/>
                  </a:lnTo>
                  <a:lnTo>
                    <a:pt x="144" y="560"/>
                  </a:lnTo>
                  <a:lnTo>
                    <a:pt x="192" y="552"/>
                  </a:lnTo>
                  <a:lnTo>
                    <a:pt x="232" y="576"/>
                  </a:lnTo>
                  <a:lnTo>
                    <a:pt x="280" y="584"/>
                  </a:lnTo>
                  <a:lnTo>
                    <a:pt x="320" y="584"/>
                  </a:lnTo>
                  <a:lnTo>
                    <a:pt x="360" y="616"/>
                  </a:lnTo>
                  <a:lnTo>
                    <a:pt x="384" y="632"/>
                  </a:lnTo>
                  <a:lnTo>
                    <a:pt x="424" y="608"/>
                  </a:lnTo>
                  <a:lnTo>
                    <a:pt x="472" y="616"/>
                  </a:lnTo>
                  <a:lnTo>
                    <a:pt x="536" y="576"/>
                  </a:lnTo>
                  <a:close/>
                </a:path>
              </a:pathLst>
            </a:custGeom>
            <a:grpFill/>
            <a:ln w="6350">
              <a:solidFill>
                <a:schemeClr val="bg1"/>
              </a:solidFill>
              <a:round/>
              <a:headEnd/>
              <a:tailEnd/>
            </a:ln>
          </p:spPr>
          <p:txBody>
            <a:bodyPr/>
            <a:lstStyle/>
            <a:p>
              <a:endParaRPr lang="en-US"/>
            </a:p>
          </p:txBody>
        </p:sp>
        <p:sp>
          <p:nvSpPr>
            <p:cNvPr id="90" name="Freeform 34"/>
            <p:cNvSpPr>
              <a:spLocks/>
            </p:cNvSpPr>
            <p:nvPr/>
          </p:nvSpPr>
          <p:spPr bwMode="auto">
            <a:xfrm>
              <a:off x="2694776" y="4790148"/>
              <a:ext cx="594090" cy="1015702"/>
            </a:xfrm>
            <a:custGeom>
              <a:avLst/>
              <a:gdLst>
                <a:gd name="T0" fmla="*/ 2147483646 w 496"/>
                <a:gd name="T1" fmla="*/ 2147483646 h 848"/>
                <a:gd name="T2" fmla="*/ 2147483646 w 496"/>
                <a:gd name="T3" fmla="*/ 2147483646 h 848"/>
                <a:gd name="T4" fmla="*/ 2147483646 w 496"/>
                <a:gd name="T5" fmla="*/ 2147483646 h 848"/>
                <a:gd name="T6" fmla="*/ 2147483646 w 496"/>
                <a:gd name="T7" fmla="*/ 2147483646 h 848"/>
                <a:gd name="T8" fmla="*/ 2147483646 w 496"/>
                <a:gd name="T9" fmla="*/ 2147483646 h 848"/>
                <a:gd name="T10" fmla="*/ 2147483646 w 496"/>
                <a:gd name="T11" fmla="*/ 2147483646 h 848"/>
                <a:gd name="T12" fmla="*/ 2147483646 w 496"/>
                <a:gd name="T13" fmla="*/ 2147483646 h 848"/>
                <a:gd name="T14" fmla="*/ 2147483646 w 496"/>
                <a:gd name="T15" fmla="*/ 2147483646 h 848"/>
                <a:gd name="T16" fmla="*/ 2147483646 w 496"/>
                <a:gd name="T17" fmla="*/ 2147483646 h 848"/>
                <a:gd name="T18" fmla="*/ 2147483646 w 496"/>
                <a:gd name="T19" fmla="*/ 2147483646 h 848"/>
                <a:gd name="T20" fmla="*/ 2147483646 w 496"/>
                <a:gd name="T21" fmla="*/ 2147483646 h 848"/>
                <a:gd name="T22" fmla="*/ 2147483646 w 496"/>
                <a:gd name="T23" fmla="*/ 2147483646 h 848"/>
                <a:gd name="T24" fmla="*/ 2147483646 w 496"/>
                <a:gd name="T25" fmla="*/ 2147483646 h 848"/>
                <a:gd name="T26" fmla="*/ 2147483646 w 496"/>
                <a:gd name="T27" fmla="*/ 2147483646 h 848"/>
                <a:gd name="T28" fmla="*/ 2147483646 w 496"/>
                <a:gd name="T29" fmla="*/ 2147483646 h 848"/>
                <a:gd name="T30" fmla="*/ 2147483646 w 496"/>
                <a:gd name="T31" fmla="*/ 2147483646 h 848"/>
                <a:gd name="T32" fmla="*/ 2147483646 w 496"/>
                <a:gd name="T33" fmla="*/ 2147483646 h 848"/>
                <a:gd name="T34" fmla="*/ 2147483646 w 496"/>
                <a:gd name="T35" fmla="*/ 2147483646 h 848"/>
                <a:gd name="T36" fmla="*/ 2147483646 w 496"/>
                <a:gd name="T37" fmla="*/ 2147483646 h 848"/>
                <a:gd name="T38" fmla="*/ 2147483646 w 496"/>
                <a:gd name="T39" fmla="*/ 2147483646 h 848"/>
                <a:gd name="T40" fmla="*/ 2147483646 w 496"/>
                <a:gd name="T41" fmla="*/ 2147483646 h 848"/>
                <a:gd name="T42" fmla="*/ 2147483646 w 496"/>
                <a:gd name="T43" fmla="*/ 2147483646 h 848"/>
                <a:gd name="T44" fmla="*/ 2147483646 w 496"/>
                <a:gd name="T45" fmla="*/ 2147483646 h 848"/>
                <a:gd name="T46" fmla="*/ 2147483646 w 496"/>
                <a:gd name="T47" fmla="*/ 0 h 848"/>
                <a:gd name="T48" fmla="*/ 2147483646 w 496"/>
                <a:gd name="T49" fmla="*/ 2147483646 h 848"/>
                <a:gd name="T50" fmla="*/ 2147483646 w 496"/>
                <a:gd name="T51" fmla="*/ 2147483646 h 848"/>
                <a:gd name="T52" fmla="*/ 2147483646 w 496"/>
                <a:gd name="T53" fmla="*/ 2147483646 h 848"/>
                <a:gd name="T54" fmla="*/ 2147483646 w 496"/>
                <a:gd name="T55" fmla="*/ 2147483646 h 848"/>
                <a:gd name="T56" fmla="*/ 2147483646 w 496"/>
                <a:gd name="T57" fmla="*/ 2147483646 h 848"/>
                <a:gd name="T58" fmla="*/ 2147483646 w 496"/>
                <a:gd name="T59" fmla="*/ 2147483646 h 848"/>
                <a:gd name="T60" fmla="*/ 2147483646 w 496"/>
                <a:gd name="T61" fmla="*/ 2147483646 h 848"/>
                <a:gd name="T62" fmla="*/ 2147483646 w 496"/>
                <a:gd name="T63" fmla="*/ 2147483646 h 848"/>
                <a:gd name="T64" fmla="*/ 0 w 496"/>
                <a:gd name="T65" fmla="*/ 2147483646 h 848"/>
                <a:gd name="T66" fmla="*/ 2147483646 w 496"/>
                <a:gd name="T67" fmla="*/ 2147483646 h 848"/>
                <a:gd name="T68" fmla="*/ 2147483646 w 496"/>
                <a:gd name="T69" fmla="*/ 2147483646 h 848"/>
                <a:gd name="T70" fmla="*/ 2147483646 w 496"/>
                <a:gd name="T71" fmla="*/ 2147483646 h 848"/>
                <a:gd name="T72" fmla="*/ 2147483646 w 496"/>
                <a:gd name="T73" fmla="*/ 2147483646 h 848"/>
                <a:gd name="T74" fmla="*/ 2147483646 w 496"/>
                <a:gd name="T75" fmla="*/ 2147483646 h 848"/>
                <a:gd name="T76" fmla="*/ 2147483646 w 496"/>
                <a:gd name="T77" fmla="*/ 2147483646 h 848"/>
                <a:gd name="T78" fmla="*/ 2147483646 w 496"/>
                <a:gd name="T79" fmla="*/ 2147483646 h 848"/>
                <a:gd name="T80" fmla="*/ 2147483646 w 496"/>
                <a:gd name="T81" fmla="*/ 2147483646 h 848"/>
                <a:gd name="T82" fmla="*/ 2147483646 w 496"/>
                <a:gd name="T83" fmla="*/ 2147483646 h 848"/>
                <a:gd name="T84" fmla="*/ 2147483646 w 496"/>
                <a:gd name="T85" fmla="*/ 2147483646 h 848"/>
                <a:gd name="T86" fmla="*/ 2147483646 w 496"/>
                <a:gd name="T87" fmla="*/ 2147483646 h 848"/>
                <a:gd name="T88" fmla="*/ 2147483646 w 496"/>
                <a:gd name="T89" fmla="*/ 2147483646 h 848"/>
                <a:gd name="T90" fmla="*/ 2147483646 w 496"/>
                <a:gd name="T91" fmla="*/ 2147483646 h 848"/>
                <a:gd name="T92" fmla="*/ 2147483646 w 496"/>
                <a:gd name="T93" fmla="*/ 2147483646 h 848"/>
                <a:gd name="T94" fmla="*/ 2147483646 w 496"/>
                <a:gd name="T95" fmla="*/ 2147483646 h 848"/>
                <a:gd name="T96" fmla="*/ 2147483646 w 496"/>
                <a:gd name="T97" fmla="*/ 2147483646 h 848"/>
                <a:gd name="T98" fmla="*/ 2147483646 w 496"/>
                <a:gd name="T99" fmla="*/ 2147483646 h 848"/>
                <a:gd name="T100" fmla="*/ 2147483646 w 496"/>
                <a:gd name="T101" fmla="*/ 2147483646 h 848"/>
                <a:gd name="T102" fmla="*/ 2147483646 w 496"/>
                <a:gd name="T103" fmla="*/ 2147483646 h 848"/>
                <a:gd name="T104" fmla="*/ 2147483646 w 496"/>
                <a:gd name="T105" fmla="*/ 2147483646 h 8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848"/>
                <a:gd name="T161" fmla="*/ 496 w 496"/>
                <a:gd name="T162" fmla="*/ 848 h 8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848">
                  <a:moveTo>
                    <a:pt x="384" y="832"/>
                  </a:moveTo>
                  <a:lnTo>
                    <a:pt x="384" y="792"/>
                  </a:lnTo>
                  <a:lnTo>
                    <a:pt x="440" y="768"/>
                  </a:lnTo>
                  <a:lnTo>
                    <a:pt x="392" y="720"/>
                  </a:lnTo>
                  <a:lnTo>
                    <a:pt x="392" y="664"/>
                  </a:lnTo>
                  <a:lnTo>
                    <a:pt x="336" y="640"/>
                  </a:lnTo>
                  <a:lnTo>
                    <a:pt x="424" y="576"/>
                  </a:lnTo>
                  <a:lnTo>
                    <a:pt x="480" y="568"/>
                  </a:lnTo>
                  <a:lnTo>
                    <a:pt x="440" y="520"/>
                  </a:lnTo>
                  <a:lnTo>
                    <a:pt x="472" y="456"/>
                  </a:lnTo>
                  <a:lnTo>
                    <a:pt x="464" y="392"/>
                  </a:lnTo>
                  <a:lnTo>
                    <a:pt x="496" y="352"/>
                  </a:lnTo>
                  <a:lnTo>
                    <a:pt x="432" y="360"/>
                  </a:lnTo>
                  <a:lnTo>
                    <a:pt x="416" y="320"/>
                  </a:lnTo>
                  <a:lnTo>
                    <a:pt x="440" y="280"/>
                  </a:lnTo>
                  <a:lnTo>
                    <a:pt x="408" y="168"/>
                  </a:lnTo>
                  <a:lnTo>
                    <a:pt x="424" y="136"/>
                  </a:lnTo>
                  <a:lnTo>
                    <a:pt x="376" y="144"/>
                  </a:lnTo>
                  <a:lnTo>
                    <a:pt x="352" y="112"/>
                  </a:lnTo>
                  <a:lnTo>
                    <a:pt x="360" y="40"/>
                  </a:lnTo>
                  <a:lnTo>
                    <a:pt x="336" y="16"/>
                  </a:lnTo>
                  <a:lnTo>
                    <a:pt x="288" y="64"/>
                  </a:lnTo>
                  <a:lnTo>
                    <a:pt x="288" y="48"/>
                  </a:lnTo>
                  <a:lnTo>
                    <a:pt x="288" y="0"/>
                  </a:lnTo>
                  <a:lnTo>
                    <a:pt x="208" y="64"/>
                  </a:lnTo>
                  <a:lnTo>
                    <a:pt x="200" y="160"/>
                  </a:lnTo>
                  <a:lnTo>
                    <a:pt x="224" y="248"/>
                  </a:lnTo>
                  <a:lnTo>
                    <a:pt x="184" y="232"/>
                  </a:lnTo>
                  <a:lnTo>
                    <a:pt x="160" y="264"/>
                  </a:lnTo>
                  <a:lnTo>
                    <a:pt x="128" y="264"/>
                  </a:lnTo>
                  <a:lnTo>
                    <a:pt x="104" y="280"/>
                  </a:lnTo>
                  <a:lnTo>
                    <a:pt x="48" y="264"/>
                  </a:lnTo>
                  <a:lnTo>
                    <a:pt x="0" y="312"/>
                  </a:lnTo>
                  <a:lnTo>
                    <a:pt x="64" y="344"/>
                  </a:lnTo>
                  <a:lnTo>
                    <a:pt x="80" y="400"/>
                  </a:lnTo>
                  <a:lnTo>
                    <a:pt x="136" y="416"/>
                  </a:lnTo>
                  <a:lnTo>
                    <a:pt x="176" y="472"/>
                  </a:lnTo>
                  <a:lnTo>
                    <a:pt x="168" y="536"/>
                  </a:lnTo>
                  <a:lnTo>
                    <a:pt x="200" y="560"/>
                  </a:lnTo>
                  <a:lnTo>
                    <a:pt x="160" y="576"/>
                  </a:lnTo>
                  <a:lnTo>
                    <a:pt x="152" y="616"/>
                  </a:lnTo>
                  <a:lnTo>
                    <a:pt x="184" y="648"/>
                  </a:lnTo>
                  <a:lnTo>
                    <a:pt x="160" y="672"/>
                  </a:lnTo>
                  <a:lnTo>
                    <a:pt x="176" y="704"/>
                  </a:lnTo>
                  <a:lnTo>
                    <a:pt x="144" y="712"/>
                  </a:lnTo>
                  <a:lnTo>
                    <a:pt x="152" y="752"/>
                  </a:lnTo>
                  <a:lnTo>
                    <a:pt x="120" y="760"/>
                  </a:lnTo>
                  <a:lnTo>
                    <a:pt x="112" y="840"/>
                  </a:lnTo>
                  <a:lnTo>
                    <a:pt x="160" y="848"/>
                  </a:lnTo>
                  <a:lnTo>
                    <a:pt x="224" y="840"/>
                  </a:lnTo>
                  <a:lnTo>
                    <a:pt x="304" y="800"/>
                  </a:lnTo>
                  <a:lnTo>
                    <a:pt x="352" y="800"/>
                  </a:lnTo>
                  <a:lnTo>
                    <a:pt x="384" y="832"/>
                  </a:lnTo>
                  <a:close/>
                </a:path>
              </a:pathLst>
            </a:custGeom>
            <a:grpFill/>
            <a:ln w="9525">
              <a:solidFill>
                <a:schemeClr val="bg1"/>
              </a:solidFill>
              <a:round/>
              <a:headEnd/>
              <a:tailEnd/>
            </a:ln>
          </p:spPr>
          <p:txBody>
            <a:bodyPr/>
            <a:lstStyle/>
            <a:p>
              <a:endParaRPr lang="en-US"/>
            </a:p>
          </p:txBody>
        </p:sp>
        <p:sp>
          <p:nvSpPr>
            <p:cNvPr id="91" name="Freeform 35"/>
            <p:cNvSpPr>
              <a:spLocks/>
            </p:cNvSpPr>
            <p:nvPr/>
          </p:nvSpPr>
          <p:spPr bwMode="auto">
            <a:xfrm>
              <a:off x="2596153" y="4271034"/>
              <a:ext cx="498269" cy="862390"/>
            </a:xfrm>
            <a:custGeom>
              <a:avLst/>
              <a:gdLst>
                <a:gd name="T0" fmla="*/ 2147483646 w 416"/>
                <a:gd name="T1" fmla="*/ 2147483646 h 720"/>
                <a:gd name="T2" fmla="*/ 2147483646 w 416"/>
                <a:gd name="T3" fmla="*/ 2147483646 h 720"/>
                <a:gd name="T4" fmla="*/ 2147483646 w 416"/>
                <a:gd name="T5" fmla="*/ 2147483646 h 720"/>
                <a:gd name="T6" fmla="*/ 2147483646 w 416"/>
                <a:gd name="T7" fmla="*/ 2147483646 h 720"/>
                <a:gd name="T8" fmla="*/ 2147483646 w 416"/>
                <a:gd name="T9" fmla="*/ 2147483646 h 720"/>
                <a:gd name="T10" fmla="*/ 2147483646 w 416"/>
                <a:gd name="T11" fmla="*/ 2147483646 h 720"/>
                <a:gd name="T12" fmla="*/ 2147483646 w 416"/>
                <a:gd name="T13" fmla="*/ 2147483646 h 720"/>
                <a:gd name="T14" fmla="*/ 2147483646 w 416"/>
                <a:gd name="T15" fmla="*/ 2147483646 h 720"/>
                <a:gd name="T16" fmla="*/ 2147483646 w 416"/>
                <a:gd name="T17" fmla="*/ 2147483646 h 720"/>
                <a:gd name="T18" fmla="*/ 2147483646 w 416"/>
                <a:gd name="T19" fmla="*/ 2147483646 h 720"/>
                <a:gd name="T20" fmla="*/ 2147483646 w 416"/>
                <a:gd name="T21" fmla="*/ 2147483646 h 720"/>
                <a:gd name="T22" fmla="*/ 2147483646 w 416"/>
                <a:gd name="T23" fmla="*/ 2147483646 h 720"/>
                <a:gd name="T24" fmla="*/ 2147483646 w 416"/>
                <a:gd name="T25" fmla="*/ 2147483646 h 720"/>
                <a:gd name="T26" fmla="*/ 2147483646 w 416"/>
                <a:gd name="T27" fmla="*/ 2147483646 h 720"/>
                <a:gd name="T28" fmla="*/ 2147483646 w 416"/>
                <a:gd name="T29" fmla="*/ 2147483646 h 720"/>
                <a:gd name="T30" fmla="*/ 2147483646 w 416"/>
                <a:gd name="T31" fmla="*/ 2147483646 h 720"/>
                <a:gd name="T32" fmla="*/ 2147483646 w 416"/>
                <a:gd name="T33" fmla="*/ 0 h 720"/>
                <a:gd name="T34" fmla="*/ 2147483646 w 416"/>
                <a:gd name="T35" fmla="*/ 2147483646 h 720"/>
                <a:gd name="T36" fmla="*/ 2147483646 w 416"/>
                <a:gd name="T37" fmla="*/ 2147483646 h 720"/>
                <a:gd name="T38" fmla="*/ 0 w 416"/>
                <a:gd name="T39" fmla="*/ 2147483646 h 720"/>
                <a:gd name="T40" fmla="*/ 2147483646 w 416"/>
                <a:gd name="T41" fmla="*/ 2147483646 h 720"/>
                <a:gd name="T42" fmla="*/ 2147483646 w 416"/>
                <a:gd name="T43" fmla="*/ 2147483646 h 720"/>
                <a:gd name="T44" fmla="*/ 2147483646 w 416"/>
                <a:gd name="T45" fmla="*/ 2147483646 h 720"/>
                <a:gd name="T46" fmla="*/ 2147483646 w 416"/>
                <a:gd name="T47" fmla="*/ 2147483646 h 720"/>
                <a:gd name="T48" fmla="*/ 2147483646 w 416"/>
                <a:gd name="T49" fmla="*/ 2147483646 h 720"/>
                <a:gd name="T50" fmla="*/ 2147483646 w 416"/>
                <a:gd name="T51" fmla="*/ 2147483646 h 720"/>
                <a:gd name="T52" fmla="*/ 2147483646 w 416"/>
                <a:gd name="T53" fmla="*/ 2147483646 h 720"/>
                <a:gd name="T54" fmla="*/ 2147483646 w 416"/>
                <a:gd name="T55" fmla="*/ 2147483646 h 720"/>
                <a:gd name="T56" fmla="*/ 2147483646 w 416"/>
                <a:gd name="T57" fmla="*/ 2147483646 h 720"/>
                <a:gd name="T58" fmla="*/ 2147483646 w 416"/>
                <a:gd name="T59" fmla="*/ 2147483646 h 720"/>
                <a:gd name="T60" fmla="*/ 2147483646 w 416"/>
                <a:gd name="T61" fmla="*/ 2147483646 h 720"/>
                <a:gd name="T62" fmla="*/ 2147483646 w 416"/>
                <a:gd name="T63" fmla="*/ 2147483646 h 720"/>
                <a:gd name="T64" fmla="*/ 2147483646 w 416"/>
                <a:gd name="T65" fmla="*/ 2147483646 h 7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720"/>
                <a:gd name="T101" fmla="*/ 416 w 416"/>
                <a:gd name="T102" fmla="*/ 720 h 7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720">
                  <a:moveTo>
                    <a:pt x="128" y="704"/>
                  </a:moveTo>
                  <a:lnTo>
                    <a:pt x="184" y="720"/>
                  </a:lnTo>
                  <a:lnTo>
                    <a:pt x="208" y="704"/>
                  </a:lnTo>
                  <a:lnTo>
                    <a:pt x="240" y="704"/>
                  </a:lnTo>
                  <a:lnTo>
                    <a:pt x="264" y="672"/>
                  </a:lnTo>
                  <a:lnTo>
                    <a:pt x="304" y="688"/>
                  </a:lnTo>
                  <a:lnTo>
                    <a:pt x="280" y="600"/>
                  </a:lnTo>
                  <a:lnTo>
                    <a:pt x="288" y="504"/>
                  </a:lnTo>
                  <a:lnTo>
                    <a:pt x="368" y="440"/>
                  </a:lnTo>
                  <a:lnTo>
                    <a:pt x="368" y="480"/>
                  </a:lnTo>
                  <a:lnTo>
                    <a:pt x="384" y="456"/>
                  </a:lnTo>
                  <a:lnTo>
                    <a:pt x="384" y="352"/>
                  </a:lnTo>
                  <a:lnTo>
                    <a:pt x="416" y="296"/>
                  </a:lnTo>
                  <a:lnTo>
                    <a:pt x="384" y="216"/>
                  </a:lnTo>
                  <a:lnTo>
                    <a:pt x="408" y="152"/>
                  </a:lnTo>
                  <a:lnTo>
                    <a:pt x="416" y="8"/>
                  </a:lnTo>
                  <a:lnTo>
                    <a:pt x="280" y="0"/>
                  </a:lnTo>
                  <a:lnTo>
                    <a:pt x="152" y="24"/>
                  </a:lnTo>
                  <a:lnTo>
                    <a:pt x="16" y="72"/>
                  </a:lnTo>
                  <a:lnTo>
                    <a:pt x="0" y="64"/>
                  </a:lnTo>
                  <a:lnTo>
                    <a:pt x="8" y="136"/>
                  </a:lnTo>
                  <a:lnTo>
                    <a:pt x="120" y="168"/>
                  </a:lnTo>
                  <a:lnTo>
                    <a:pt x="112" y="272"/>
                  </a:lnTo>
                  <a:lnTo>
                    <a:pt x="64" y="344"/>
                  </a:lnTo>
                  <a:lnTo>
                    <a:pt x="72" y="400"/>
                  </a:lnTo>
                  <a:lnTo>
                    <a:pt x="40" y="424"/>
                  </a:lnTo>
                  <a:lnTo>
                    <a:pt x="64" y="456"/>
                  </a:lnTo>
                  <a:lnTo>
                    <a:pt x="56" y="496"/>
                  </a:lnTo>
                  <a:lnTo>
                    <a:pt x="72" y="520"/>
                  </a:lnTo>
                  <a:lnTo>
                    <a:pt x="64" y="568"/>
                  </a:lnTo>
                  <a:lnTo>
                    <a:pt x="72" y="624"/>
                  </a:lnTo>
                  <a:lnTo>
                    <a:pt x="112" y="640"/>
                  </a:lnTo>
                  <a:lnTo>
                    <a:pt x="128" y="704"/>
                  </a:lnTo>
                  <a:close/>
                </a:path>
              </a:pathLst>
            </a:custGeom>
            <a:grpFill/>
            <a:ln w="9525">
              <a:solidFill>
                <a:schemeClr val="bg1"/>
              </a:solidFill>
              <a:round/>
              <a:headEnd/>
              <a:tailEnd/>
            </a:ln>
          </p:spPr>
          <p:txBody>
            <a:bodyPr/>
            <a:lstStyle/>
            <a:p>
              <a:endParaRPr lang="en-US"/>
            </a:p>
          </p:txBody>
        </p:sp>
        <p:sp>
          <p:nvSpPr>
            <p:cNvPr id="92" name="Freeform 36"/>
            <p:cNvSpPr>
              <a:spLocks/>
            </p:cNvSpPr>
            <p:nvPr/>
          </p:nvSpPr>
          <p:spPr bwMode="auto">
            <a:xfrm>
              <a:off x="2017711" y="4426389"/>
              <a:ext cx="728240" cy="651584"/>
            </a:xfrm>
            <a:custGeom>
              <a:avLst/>
              <a:gdLst>
                <a:gd name="T0" fmla="*/ 2147483646 w 608"/>
                <a:gd name="T1" fmla="*/ 2147483646 h 544"/>
                <a:gd name="T2" fmla="*/ 2147483646 w 608"/>
                <a:gd name="T3" fmla="*/ 2147483646 h 544"/>
                <a:gd name="T4" fmla="*/ 2147483646 w 608"/>
                <a:gd name="T5" fmla="*/ 2147483646 h 544"/>
                <a:gd name="T6" fmla="*/ 2147483646 w 608"/>
                <a:gd name="T7" fmla="*/ 2147483646 h 544"/>
                <a:gd name="T8" fmla="*/ 2147483646 w 608"/>
                <a:gd name="T9" fmla="*/ 2147483646 h 544"/>
                <a:gd name="T10" fmla="*/ 2147483646 w 608"/>
                <a:gd name="T11" fmla="*/ 0 h 544"/>
                <a:gd name="T12" fmla="*/ 2147483646 w 608"/>
                <a:gd name="T13" fmla="*/ 2147483646 h 544"/>
                <a:gd name="T14" fmla="*/ 2147483646 w 608"/>
                <a:gd name="T15" fmla="*/ 2147483646 h 544"/>
                <a:gd name="T16" fmla="*/ 2147483646 w 608"/>
                <a:gd name="T17" fmla="*/ 2147483646 h 544"/>
                <a:gd name="T18" fmla="*/ 2147483646 w 608"/>
                <a:gd name="T19" fmla="*/ 2147483646 h 544"/>
                <a:gd name="T20" fmla="*/ 2147483646 w 608"/>
                <a:gd name="T21" fmla="*/ 2147483646 h 544"/>
                <a:gd name="T22" fmla="*/ 2147483646 w 608"/>
                <a:gd name="T23" fmla="*/ 2147483646 h 544"/>
                <a:gd name="T24" fmla="*/ 2147483646 w 608"/>
                <a:gd name="T25" fmla="*/ 2147483646 h 544"/>
                <a:gd name="T26" fmla="*/ 2147483646 w 608"/>
                <a:gd name="T27" fmla="*/ 2147483646 h 544"/>
                <a:gd name="T28" fmla="*/ 2147483646 w 608"/>
                <a:gd name="T29" fmla="*/ 2147483646 h 544"/>
                <a:gd name="T30" fmla="*/ 2147483646 w 608"/>
                <a:gd name="T31" fmla="*/ 2147483646 h 544"/>
                <a:gd name="T32" fmla="*/ 2147483646 w 608"/>
                <a:gd name="T33" fmla="*/ 2147483646 h 544"/>
                <a:gd name="T34" fmla="*/ 2147483646 w 608"/>
                <a:gd name="T35" fmla="*/ 2147483646 h 544"/>
                <a:gd name="T36" fmla="*/ 2147483646 w 608"/>
                <a:gd name="T37" fmla="*/ 2147483646 h 544"/>
                <a:gd name="T38" fmla="*/ 2147483646 w 608"/>
                <a:gd name="T39" fmla="*/ 2147483646 h 544"/>
                <a:gd name="T40" fmla="*/ 2147483646 w 608"/>
                <a:gd name="T41" fmla="*/ 2147483646 h 544"/>
                <a:gd name="T42" fmla="*/ 2147483646 w 608"/>
                <a:gd name="T43" fmla="*/ 2147483646 h 544"/>
                <a:gd name="T44" fmla="*/ 2147483646 w 608"/>
                <a:gd name="T45" fmla="*/ 2147483646 h 544"/>
                <a:gd name="T46" fmla="*/ 2147483646 w 608"/>
                <a:gd name="T47" fmla="*/ 2147483646 h 544"/>
                <a:gd name="T48" fmla="*/ 2147483646 w 608"/>
                <a:gd name="T49" fmla="*/ 2147483646 h 544"/>
                <a:gd name="T50" fmla="*/ 2147483646 w 608"/>
                <a:gd name="T51" fmla="*/ 2147483646 h 544"/>
                <a:gd name="T52" fmla="*/ 2147483646 w 608"/>
                <a:gd name="T53" fmla="*/ 2147483646 h 544"/>
                <a:gd name="T54" fmla="*/ 2147483646 w 608"/>
                <a:gd name="T55" fmla="*/ 2147483646 h 544"/>
                <a:gd name="T56" fmla="*/ 0 w 608"/>
                <a:gd name="T57" fmla="*/ 2147483646 h 544"/>
                <a:gd name="T58" fmla="*/ 0 w 608"/>
                <a:gd name="T59" fmla="*/ 2147483646 h 544"/>
                <a:gd name="T60" fmla="*/ 2147483646 w 608"/>
                <a:gd name="T61" fmla="*/ 2147483646 h 5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8"/>
                <a:gd name="T94" fmla="*/ 0 h 544"/>
                <a:gd name="T95" fmla="*/ 608 w 608"/>
                <a:gd name="T96" fmla="*/ 544 h 54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8" h="544">
                  <a:moveTo>
                    <a:pt x="40" y="48"/>
                  </a:moveTo>
                  <a:lnTo>
                    <a:pt x="88" y="40"/>
                  </a:lnTo>
                  <a:lnTo>
                    <a:pt x="200" y="72"/>
                  </a:lnTo>
                  <a:lnTo>
                    <a:pt x="312" y="32"/>
                  </a:lnTo>
                  <a:lnTo>
                    <a:pt x="440" y="32"/>
                  </a:lnTo>
                  <a:lnTo>
                    <a:pt x="496" y="0"/>
                  </a:lnTo>
                  <a:lnTo>
                    <a:pt x="608" y="32"/>
                  </a:lnTo>
                  <a:lnTo>
                    <a:pt x="600" y="136"/>
                  </a:lnTo>
                  <a:lnTo>
                    <a:pt x="552" y="208"/>
                  </a:lnTo>
                  <a:lnTo>
                    <a:pt x="560" y="264"/>
                  </a:lnTo>
                  <a:lnTo>
                    <a:pt x="528" y="288"/>
                  </a:lnTo>
                  <a:lnTo>
                    <a:pt x="544" y="304"/>
                  </a:lnTo>
                  <a:lnTo>
                    <a:pt x="544" y="360"/>
                  </a:lnTo>
                  <a:lnTo>
                    <a:pt x="560" y="384"/>
                  </a:lnTo>
                  <a:lnTo>
                    <a:pt x="552" y="432"/>
                  </a:lnTo>
                  <a:lnTo>
                    <a:pt x="520" y="440"/>
                  </a:lnTo>
                  <a:lnTo>
                    <a:pt x="496" y="528"/>
                  </a:lnTo>
                  <a:lnTo>
                    <a:pt x="424" y="520"/>
                  </a:lnTo>
                  <a:lnTo>
                    <a:pt x="384" y="544"/>
                  </a:lnTo>
                  <a:lnTo>
                    <a:pt x="304" y="488"/>
                  </a:lnTo>
                  <a:lnTo>
                    <a:pt x="216" y="456"/>
                  </a:lnTo>
                  <a:lnTo>
                    <a:pt x="192" y="408"/>
                  </a:lnTo>
                  <a:lnTo>
                    <a:pt x="136" y="392"/>
                  </a:lnTo>
                  <a:lnTo>
                    <a:pt x="144" y="320"/>
                  </a:lnTo>
                  <a:lnTo>
                    <a:pt x="120" y="280"/>
                  </a:lnTo>
                  <a:lnTo>
                    <a:pt x="152" y="264"/>
                  </a:lnTo>
                  <a:lnTo>
                    <a:pt x="120" y="192"/>
                  </a:lnTo>
                  <a:lnTo>
                    <a:pt x="56" y="152"/>
                  </a:lnTo>
                  <a:lnTo>
                    <a:pt x="0" y="112"/>
                  </a:lnTo>
                  <a:lnTo>
                    <a:pt x="0" y="80"/>
                  </a:lnTo>
                  <a:lnTo>
                    <a:pt x="40" y="48"/>
                  </a:lnTo>
                  <a:close/>
                </a:path>
              </a:pathLst>
            </a:custGeom>
            <a:grpFill/>
            <a:ln w="9525">
              <a:solidFill>
                <a:schemeClr val="bg1"/>
              </a:solidFill>
              <a:round/>
              <a:headEnd/>
              <a:tailEnd/>
            </a:ln>
          </p:spPr>
          <p:txBody>
            <a:bodyPr/>
            <a:lstStyle/>
            <a:p>
              <a:endParaRPr lang="en-US"/>
            </a:p>
          </p:txBody>
        </p:sp>
        <p:sp>
          <p:nvSpPr>
            <p:cNvPr id="93" name="Freeform 37"/>
            <p:cNvSpPr>
              <a:spLocks/>
            </p:cNvSpPr>
            <p:nvPr/>
          </p:nvSpPr>
          <p:spPr bwMode="auto">
            <a:xfrm>
              <a:off x="1643653" y="4600540"/>
              <a:ext cx="843225" cy="852808"/>
            </a:xfrm>
            <a:custGeom>
              <a:avLst/>
              <a:gdLst>
                <a:gd name="T0" fmla="*/ 2147483646 w 704"/>
                <a:gd name="T1" fmla="*/ 0 h 712"/>
                <a:gd name="T2" fmla="*/ 2147483646 w 704"/>
                <a:gd name="T3" fmla="*/ 2147483646 h 712"/>
                <a:gd name="T4" fmla="*/ 2147483646 w 704"/>
                <a:gd name="T5" fmla="*/ 2147483646 h 712"/>
                <a:gd name="T6" fmla="*/ 2147483646 w 704"/>
                <a:gd name="T7" fmla="*/ 2147483646 h 712"/>
                <a:gd name="T8" fmla="*/ 2147483646 w 704"/>
                <a:gd name="T9" fmla="*/ 2147483646 h 712"/>
                <a:gd name="T10" fmla="*/ 2147483646 w 704"/>
                <a:gd name="T11" fmla="*/ 2147483646 h 712"/>
                <a:gd name="T12" fmla="*/ 2147483646 w 704"/>
                <a:gd name="T13" fmla="*/ 2147483646 h 712"/>
                <a:gd name="T14" fmla="*/ 2147483646 w 704"/>
                <a:gd name="T15" fmla="*/ 2147483646 h 712"/>
                <a:gd name="T16" fmla="*/ 2147483646 w 704"/>
                <a:gd name="T17" fmla="*/ 2147483646 h 712"/>
                <a:gd name="T18" fmla="*/ 2147483646 w 704"/>
                <a:gd name="T19" fmla="*/ 2147483646 h 712"/>
                <a:gd name="T20" fmla="*/ 2147483646 w 704"/>
                <a:gd name="T21" fmla="*/ 2147483646 h 712"/>
                <a:gd name="T22" fmla="*/ 2147483646 w 704"/>
                <a:gd name="T23" fmla="*/ 2147483646 h 712"/>
                <a:gd name="T24" fmla="*/ 2147483646 w 704"/>
                <a:gd name="T25" fmla="*/ 2147483646 h 712"/>
                <a:gd name="T26" fmla="*/ 2147483646 w 704"/>
                <a:gd name="T27" fmla="*/ 2147483646 h 712"/>
                <a:gd name="T28" fmla="*/ 2147483646 w 704"/>
                <a:gd name="T29" fmla="*/ 2147483646 h 712"/>
                <a:gd name="T30" fmla="*/ 2147483646 w 704"/>
                <a:gd name="T31" fmla="*/ 2147483646 h 712"/>
                <a:gd name="T32" fmla="*/ 2147483646 w 704"/>
                <a:gd name="T33" fmla="*/ 2147483646 h 712"/>
                <a:gd name="T34" fmla="*/ 2147483646 w 704"/>
                <a:gd name="T35" fmla="*/ 2147483646 h 712"/>
                <a:gd name="T36" fmla="*/ 2147483646 w 704"/>
                <a:gd name="T37" fmla="*/ 2147483646 h 712"/>
                <a:gd name="T38" fmla="*/ 2147483646 w 704"/>
                <a:gd name="T39" fmla="*/ 2147483646 h 712"/>
                <a:gd name="T40" fmla="*/ 2147483646 w 704"/>
                <a:gd name="T41" fmla="*/ 2147483646 h 712"/>
                <a:gd name="T42" fmla="*/ 2147483646 w 704"/>
                <a:gd name="T43" fmla="*/ 2147483646 h 712"/>
                <a:gd name="T44" fmla="*/ 2147483646 w 704"/>
                <a:gd name="T45" fmla="*/ 2147483646 h 712"/>
                <a:gd name="T46" fmla="*/ 2147483646 w 704"/>
                <a:gd name="T47" fmla="*/ 2147483646 h 712"/>
                <a:gd name="T48" fmla="*/ 2147483646 w 704"/>
                <a:gd name="T49" fmla="*/ 2147483646 h 712"/>
                <a:gd name="T50" fmla="*/ 2147483646 w 704"/>
                <a:gd name="T51" fmla="*/ 2147483646 h 712"/>
                <a:gd name="T52" fmla="*/ 2147483646 w 704"/>
                <a:gd name="T53" fmla="*/ 2147483646 h 712"/>
                <a:gd name="T54" fmla="*/ 2147483646 w 704"/>
                <a:gd name="T55" fmla="*/ 2147483646 h 712"/>
                <a:gd name="T56" fmla="*/ 2147483646 w 704"/>
                <a:gd name="T57" fmla="*/ 2147483646 h 712"/>
                <a:gd name="T58" fmla="*/ 2147483646 w 704"/>
                <a:gd name="T59" fmla="*/ 2147483646 h 712"/>
                <a:gd name="T60" fmla="*/ 2147483646 w 704"/>
                <a:gd name="T61" fmla="*/ 2147483646 h 712"/>
                <a:gd name="T62" fmla="*/ 2147483646 w 704"/>
                <a:gd name="T63" fmla="*/ 2147483646 h 712"/>
                <a:gd name="T64" fmla="*/ 2147483646 w 704"/>
                <a:gd name="T65" fmla="*/ 2147483646 h 712"/>
                <a:gd name="T66" fmla="*/ 2147483646 w 704"/>
                <a:gd name="T67" fmla="*/ 2147483646 h 712"/>
                <a:gd name="T68" fmla="*/ 2147483646 w 704"/>
                <a:gd name="T69" fmla="*/ 2147483646 h 712"/>
                <a:gd name="T70" fmla="*/ 2147483646 w 704"/>
                <a:gd name="T71" fmla="*/ 2147483646 h 712"/>
                <a:gd name="T72" fmla="*/ 2147483646 w 704"/>
                <a:gd name="T73" fmla="*/ 2147483646 h 712"/>
                <a:gd name="T74" fmla="*/ 2147483646 w 704"/>
                <a:gd name="T75" fmla="*/ 2147483646 h 712"/>
                <a:gd name="T76" fmla="*/ 2147483646 w 704"/>
                <a:gd name="T77" fmla="*/ 2147483646 h 712"/>
                <a:gd name="T78" fmla="*/ 2147483646 w 704"/>
                <a:gd name="T79" fmla="*/ 2147483646 h 712"/>
                <a:gd name="T80" fmla="*/ 2147483646 w 704"/>
                <a:gd name="T81" fmla="*/ 2147483646 h 712"/>
                <a:gd name="T82" fmla="*/ 2147483646 w 704"/>
                <a:gd name="T83" fmla="*/ 2147483646 h 712"/>
                <a:gd name="T84" fmla="*/ 2147483646 w 704"/>
                <a:gd name="T85" fmla="*/ 2147483646 h 712"/>
                <a:gd name="T86" fmla="*/ 2147483646 w 704"/>
                <a:gd name="T87" fmla="*/ 2147483646 h 712"/>
                <a:gd name="T88" fmla="*/ 2147483646 w 704"/>
                <a:gd name="T89" fmla="*/ 2147483646 h 712"/>
                <a:gd name="T90" fmla="*/ 2147483646 w 704"/>
                <a:gd name="T91" fmla="*/ 2147483646 h 712"/>
                <a:gd name="T92" fmla="*/ 2147483646 w 704"/>
                <a:gd name="T93" fmla="*/ 2147483646 h 712"/>
                <a:gd name="T94" fmla="*/ 2147483646 w 704"/>
                <a:gd name="T95" fmla="*/ 2147483646 h 712"/>
                <a:gd name="T96" fmla="*/ 0 w 704"/>
                <a:gd name="T97" fmla="*/ 2147483646 h 712"/>
                <a:gd name="T98" fmla="*/ 2147483646 w 704"/>
                <a:gd name="T99" fmla="*/ 2147483646 h 712"/>
                <a:gd name="T100" fmla="*/ 2147483646 w 704"/>
                <a:gd name="T101" fmla="*/ 2147483646 h 712"/>
                <a:gd name="T102" fmla="*/ 2147483646 w 704"/>
                <a:gd name="T103" fmla="*/ 2147483646 h 712"/>
                <a:gd name="T104" fmla="*/ 2147483646 w 704"/>
                <a:gd name="T105" fmla="*/ 2147483646 h 712"/>
                <a:gd name="T106" fmla="*/ 2147483646 w 704"/>
                <a:gd name="T107" fmla="*/ 2147483646 h 712"/>
                <a:gd name="T108" fmla="*/ 2147483646 w 704"/>
                <a:gd name="T109" fmla="*/ 2147483646 h 712"/>
                <a:gd name="T110" fmla="*/ 2147483646 w 704"/>
                <a:gd name="T111" fmla="*/ 2147483646 h 712"/>
                <a:gd name="T112" fmla="*/ 2147483646 w 704"/>
                <a:gd name="T113" fmla="*/ 2147483646 h 712"/>
                <a:gd name="T114" fmla="*/ 2147483646 w 704"/>
                <a:gd name="T115" fmla="*/ 2147483646 h 712"/>
                <a:gd name="T116" fmla="*/ 2147483646 w 704"/>
                <a:gd name="T117" fmla="*/ 2147483646 h 712"/>
                <a:gd name="T118" fmla="*/ 2147483646 w 704"/>
                <a:gd name="T119" fmla="*/ 2147483646 h 712"/>
                <a:gd name="T120" fmla="*/ 2147483646 w 704"/>
                <a:gd name="T121" fmla="*/ 2147483646 h 712"/>
                <a:gd name="T122" fmla="*/ 2147483646 w 704"/>
                <a:gd name="T123" fmla="*/ 0 h 7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
                <a:gd name="T187" fmla="*/ 0 h 712"/>
                <a:gd name="T188" fmla="*/ 704 w 704"/>
                <a:gd name="T189" fmla="*/ 712 h 7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 h="712">
                  <a:moveTo>
                    <a:pt x="376" y="0"/>
                  </a:moveTo>
                  <a:lnTo>
                    <a:pt x="440" y="40"/>
                  </a:lnTo>
                  <a:lnTo>
                    <a:pt x="472" y="112"/>
                  </a:lnTo>
                  <a:lnTo>
                    <a:pt x="440" y="128"/>
                  </a:lnTo>
                  <a:lnTo>
                    <a:pt x="464" y="168"/>
                  </a:lnTo>
                  <a:lnTo>
                    <a:pt x="456" y="240"/>
                  </a:lnTo>
                  <a:lnTo>
                    <a:pt x="512" y="256"/>
                  </a:lnTo>
                  <a:lnTo>
                    <a:pt x="536" y="304"/>
                  </a:lnTo>
                  <a:lnTo>
                    <a:pt x="624" y="336"/>
                  </a:lnTo>
                  <a:lnTo>
                    <a:pt x="704" y="392"/>
                  </a:lnTo>
                  <a:lnTo>
                    <a:pt x="616" y="424"/>
                  </a:lnTo>
                  <a:lnTo>
                    <a:pt x="552" y="472"/>
                  </a:lnTo>
                  <a:lnTo>
                    <a:pt x="552" y="504"/>
                  </a:lnTo>
                  <a:lnTo>
                    <a:pt x="584" y="512"/>
                  </a:lnTo>
                  <a:lnTo>
                    <a:pt x="552" y="544"/>
                  </a:lnTo>
                  <a:lnTo>
                    <a:pt x="520" y="600"/>
                  </a:lnTo>
                  <a:lnTo>
                    <a:pt x="528" y="680"/>
                  </a:lnTo>
                  <a:lnTo>
                    <a:pt x="488" y="672"/>
                  </a:lnTo>
                  <a:lnTo>
                    <a:pt x="464" y="712"/>
                  </a:lnTo>
                  <a:lnTo>
                    <a:pt x="416" y="704"/>
                  </a:lnTo>
                  <a:lnTo>
                    <a:pt x="392" y="680"/>
                  </a:lnTo>
                  <a:lnTo>
                    <a:pt x="368" y="664"/>
                  </a:lnTo>
                  <a:lnTo>
                    <a:pt x="352" y="640"/>
                  </a:lnTo>
                  <a:lnTo>
                    <a:pt x="304" y="632"/>
                  </a:lnTo>
                  <a:lnTo>
                    <a:pt x="304" y="576"/>
                  </a:lnTo>
                  <a:lnTo>
                    <a:pt x="264" y="568"/>
                  </a:lnTo>
                  <a:lnTo>
                    <a:pt x="240" y="520"/>
                  </a:lnTo>
                  <a:lnTo>
                    <a:pt x="232" y="480"/>
                  </a:lnTo>
                  <a:lnTo>
                    <a:pt x="200" y="456"/>
                  </a:lnTo>
                  <a:lnTo>
                    <a:pt x="224" y="432"/>
                  </a:lnTo>
                  <a:lnTo>
                    <a:pt x="248" y="432"/>
                  </a:lnTo>
                  <a:lnTo>
                    <a:pt x="264" y="392"/>
                  </a:lnTo>
                  <a:lnTo>
                    <a:pt x="304" y="392"/>
                  </a:lnTo>
                  <a:lnTo>
                    <a:pt x="344" y="416"/>
                  </a:lnTo>
                  <a:lnTo>
                    <a:pt x="360" y="392"/>
                  </a:lnTo>
                  <a:lnTo>
                    <a:pt x="344" y="360"/>
                  </a:lnTo>
                  <a:lnTo>
                    <a:pt x="320" y="352"/>
                  </a:lnTo>
                  <a:lnTo>
                    <a:pt x="288" y="344"/>
                  </a:lnTo>
                  <a:lnTo>
                    <a:pt x="240" y="312"/>
                  </a:lnTo>
                  <a:lnTo>
                    <a:pt x="216" y="280"/>
                  </a:lnTo>
                  <a:lnTo>
                    <a:pt x="192" y="296"/>
                  </a:lnTo>
                  <a:lnTo>
                    <a:pt x="168" y="312"/>
                  </a:lnTo>
                  <a:lnTo>
                    <a:pt x="144" y="312"/>
                  </a:lnTo>
                  <a:lnTo>
                    <a:pt x="112" y="368"/>
                  </a:lnTo>
                  <a:lnTo>
                    <a:pt x="80" y="440"/>
                  </a:lnTo>
                  <a:lnTo>
                    <a:pt x="48" y="448"/>
                  </a:lnTo>
                  <a:lnTo>
                    <a:pt x="16" y="416"/>
                  </a:lnTo>
                  <a:lnTo>
                    <a:pt x="32" y="392"/>
                  </a:lnTo>
                  <a:lnTo>
                    <a:pt x="0" y="384"/>
                  </a:lnTo>
                  <a:lnTo>
                    <a:pt x="8" y="360"/>
                  </a:lnTo>
                  <a:lnTo>
                    <a:pt x="40" y="352"/>
                  </a:lnTo>
                  <a:lnTo>
                    <a:pt x="56" y="384"/>
                  </a:lnTo>
                  <a:lnTo>
                    <a:pt x="80" y="360"/>
                  </a:lnTo>
                  <a:lnTo>
                    <a:pt x="64" y="296"/>
                  </a:lnTo>
                  <a:lnTo>
                    <a:pt x="104" y="256"/>
                  </a:lnTo>
                  <a:lnTo>
                    <a:pt x="104" y="208"/>
                  </a:lnTo>
                  <a:lnTo>
                    <a:pt x="136" y="208"/>
                  </a:lnTo>
                  <a:lnTo>
                    <a:pt x="168" y="256"/>
                  </a:lnTo>
                  <a:lnTo>
                    <a:pt x="208" y="248"/>
                  </a:lnTo>
                  <a:lnTo>
                    <a:pt x="240" y="168"/>
                  </a:lnTo>
                  <a:lnTo>
                    <a:pt x="304" y="56"/>
                  </a:lnTo>
                  <a:lnTo>
                    <a:pt x="376" y="0"/>
                  </a:lnTo>
                  <a:close/>
                </a:path>
              </a:pathLst>
            </a:custGeom>
            <a:grpFill/>
            <a:ln w="9525">
              <a:solidFill>
                <a:schemeClr val="bg1"/>
              </a:solidFill>
              <a:round/>
              <a:headEnd/>
              <a:tailEnd/>
            </a:ln>
          </p:spPr>
          <p:txBody>
            <a:bodyPr/>
            <a:lstStyle/>
            <a:p>
              <a:endParaRPr lang="en-US"/>
            </a:p>
          </p:txBody>
        </p:sp>
        <p:sp>
          <p:nvSpPr>
            <p:cNvPr id="123" name="Freeform 38"/>
            <p:cNvSpPr>
              <a:spLocks/>
            </p:cNvSpPr>
            <p:nvPr/>
          </p:nvSpPr>
          <p:spPr bwMode="auto">
            <a:xfrm>
              <a:off x="2066930" y="4934352"/>
              <a:ext cx="871971" cy="852808"/>
            </a:xfrm>
            <a:custGeom>
              <a:avLst/>
              <a:gdLst>
                <a:gd name="T0" fmla="*/ 2147483646 w 728"/>
                <a:gd name="T1" fmla="*/ 2147483646 h 712"/>
                <a:gd name="T2" fmla="*/ 2147483646 w 728"/>
                <a:gd name="T3" fmla="*/ 2147483646 h 712"/>
                <a:gd name="T4" fmla="*/ 2147483646 w 728"/>
                <a:gd name="T5" fmla="*/ 2147483646 h 712"/>
                <a:gd name="T6" fmla="*/ 2147483646 w 728"/>
                <a:gd name="T7" fmla="*/ 2147483646 h 712"/>
                <a:gd name="T8" fmla="*/ 2147483646 w 728"/>
                <a:gd name="T9" fmla="*/ 2147483646 h 712"/>
                <a:gd name="T10" fmla="*/ 2147483646 w 728"/>
                <a:gd name="T11" fmla="*/ 2147483646 h 712"/>
                <a:gd name="T12" fmla="*/ 2147483646 w 728"/>
                <a:gd name="T13" fmla="*/ 2147483646 h 712"/>
                <a:gd name="T14" fmla="*/ 2147483646 w 728"/>
                <a:gd name="T15" fmla="*/ 2147483646 h 712"/>
                <a:gd name="T16" fmla="*/ 2147483646 w 728"/>
                <a:gd name="T17" fmla="*/ 2147483646 h 712"/>
                <a:gd name="T18" fmla="*/ 2147483646 w 728"/>
                <a:gd name="T19" fmla="*/ 2147483646 h 712"/>
                <a:gd name="T20" fmla="*/ 2147483646 w 728"/>
                <a:gd name="T21" fmla="*/ 2147483646 h 712"/>
                <a:gd name="T22" fmla="*/ 2147483646 w 728"/>
                <a:gd name="T23" fmla="*/ 2147483646 h 712"/>
                <a:gd name="T24" fmla="*/ 2147483646 w 728"/>
                <a:gd name="T25" fmla="*/ 2147483646 h 712"/>
                <a:gd name="T26" fmla="*/ 2147483646 w 728"/>
                <a:gd name="T27" fmla="*/ 0 h 712"/>
                <a:gd name="T28" fmla="*/ 2147483646 w 728"/>
                <a:gd name="T29" fmla="*/ 2147483646 h 712"/>
                <a:gd name="T30" fmla="*/ 2147483646 w 728"/>
                <a:gd name="T31" fmla="*/ 2147483646 h 712"/>
                <a:gd name="T32" fmla="*/ 2147483646 w 728"/>
                <a:gd name="T33" fmla="*/ 2147483646 h 712"/>
                <a:gd name="T34" fmla="*/ 2147483646 w 728"/>
                <a:gd name="T35" fmla="*/ 2147483646 h 712"/>
                <a:gd name="T36" fmla="*/ 2147483646 w 728"/>
                <a:gd name="T37" fmla="*/ 2147483646 h 712"/>
                <a:gd name="T38" fmla="*/ 2147483646 w 728"/>
                <a:gd name="T39" fmla="*/ 2147483646 h 712"/>
                <a:gd name="T40" fmla="*/ 2147483646 w 728"/>
                <a:gd name="T41" fmla="*/ 2147483646 h 712"/>
                <a:gd name="T42" fmla="*/ 2147483646 w 728"/>
                <a:gd name="T43" fmla="*/ 2147483646 h 712"/>
                <a:gd name="T44" fmla="*/ 2147483646 w 728"/>
                <a:gd name="T45" fmla="*/ 2147483646 h 712"/>
                <a:gd name="T46" fmla="*/ 2147483646 w 728"/>
                <a:gd name="T47" fmla="*/ 2147483646 h 712"/>
                <a:gd name="T48" fmla="*/ 2147483646 w 728"/>
                <a:gd name="T49" fmla="*/ 2147483646 h 712"/>
                <a:gd name="T50" fmla="*/ 2147483646 w 728"/>
                <a:gd name="T51" fmla="*/ 2147483646 h 712"/>
                <a:gd name="T52" fmla="*/ 2147483646 w 728"/>
                <a:gd name="T53" fmla="*/ 2147483646 h 712"/>
                <a:gd name="T54" fmla="*/ 2147483646 w 728"/>
                <a:gd name="T55" fmla="*/ 2147483646 h 712"/>
                <a:gd name="T56" fmla="*/ 2147483646 w 728"/>
                <a:gd name="T57" fmla="*/ 2147483646 h 712"/>
                <a:gd name="T58" fmla="*/ 2147483646 w 728"/>
                <a:gd name="T59" fmla="*/ 2147483646 h 712"/>
                <a:gd name="T60" fmla="*/ 2147483646 w 728"/>
                <a:gd name="T61" fmla="*/ 2147483646 h 712"/>
                <a:gd name="T62" fmla="*/ 2147483646 w 728"/>
                <a:gd name="T63" fmla="*/ 2147483646 h 712"/>
                <a:gd name="T64" fmla="*/ 2147483646 w 728"/>
                <a:gd name="T65" fmla="*/ 2147483646 h 712"/>
                <a:gd name="T66" fmla="*/ 2147483646 w 728"/>
                <a:gd name="T67" fmla="*/ 2147483646 h 712"/>
                <a:gd name="T68" fmla="*/ 2147483646 w 728"/>
                <a:gd name="T69" fmla="*/ 2147483646 h 712"/>
                <a:gd name="T70" fmla="*/ 2147483646 w 728"/>
                <a:gd name="T71" fmla="*/ 2147483646 h 712"/>
                <a:gd name="T72" fmla="*/ 2147483646 w 728"/>
                <a:gd name="T73" fmla="*/ 2147483646 h 712"/>
                <a:gd name="T74" fmla="*/ 2147483646 w 728"/>
                <a:gd name="T75" fmla="*/ 2147483646 h 712"/>
                <a:gd name="T76" fmla="*/ 2147483646 w 728"/>
                <a:gd name="T77" fmla="*/ 2147483646 h 712"/>
                <a:gd name="T78" fmla="*/ 2147483646 w 728"/>
                <a:gd name="T79" fmla="*/ 2147483646 h 712"/>
                <a:gd name="T80" fmla="*/ 2147483646 w 728"/>
                <a:gd name="T81" fmla="*/ 2147483646 h 712"/>
                <a:gd name="T82" fmla="*/ 2147483646 w 728"/>
                <a:gd name="T83" fmla="*/ 2147483646 h 712"/>
                <a:gd name="T84" fmla="*/ 2147483646 w 728"/>
                <a:gd name="T85" fmla="*/ 2147483646 h 712"/>
                <a:gd name="T86" fmla="*/ 2147483646 w 728"/>
                <a:gd name="T87" fmla="*/ 2147483646 h 712"/>
                <a:gd name="T88" fmla="*/ 2147483646 w 728"/>
                <a:gd name="T89" fmla="*/ 2147483646 h 712"/>
                <a:gd name="T90" fmla="*/ 2147483646 w 728"/>
                <a:gd name="T91" fmla="*/ 2147483646 h 712"/>
                <a:gd name="T92" fmla="*/ 2147483646 w 728"/>
                <a:gd name="T93" fmla="*/ 2147483646 h 712"/>
                <a:gd name="T94" fmla="*/ 2147483646 w 728"/>
                <a:gd name="T95" fmla="*/ 2147483646 h 712"/>
                <a:gd name="T96" fmla="*/ 0 w 728"/>
                <a:gd name="T97" fmla="*/ 2147483646 h 712"/>
                <a:gd name="T98" fmla="*/ 2147483646 w 728"/>
                <a:gd name="T99" fmla="*/ 2147483646 h 712"/>
                <a:gd name="T100" fmla="*/ 2147483646 w 728"/>
                <a:gd name="T101" fmla="*/ 2147483646 h 712"/>
                <a:gd name="T102" fmla="*/ 2147483646 w 728"/>
                <a:gd name="T103" fmla="*/ 2147483646 h 712"/>
                <a:gd name="T104" fmla="*/ 2147483646 w 728"/>
                <a:gd name="T105" fmla="*/ 2147483646 h 712"/>
                <a:gd name="T106" fmla="*/ 2147483646 w 728"/>
                <a:gd name="T107" fmla="*/ 2147483646 h 712"/>
                <a:gd name="T108" fmla="*/ 2147483646 w 728"/>
                <a:gd name="T109" fmla="*/ 2147483646 h 712"/>
                <a:gd name="T110" fmla="*/ 2147483646 w 728"/>
                <a:gd name="T111" fmla="*/ 2147483646 h 7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8"/>
                <a:gd name="T169" fmla="*/ 0 h 712"/>
                <a:gd name="T170" fmla="*/ 728 w 728"/>
                <a:gd name="T171" fmla="*/ 712 h 7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8" h="712">
                  <a:moveTo>
                    <a:pt x="104" y="432"/>
                  </a:moveTo>
                  <a:lnTo>
                    <a:pt x="128" y="392"/>
                  </a:lnTo>
                  <a:lnTo>
                    <a:pt x="168" y="400"/>
                  </a:lnTo>
                  <a:lnTo>
                    <a:pt x="160" y="320"/>
                  </a:lnTo>
                  <a:lnTo>
                    <a:pt x="192" y="264"/>
                  </a:lnTo>
                  <a:lnTo>
                    <a:pt x="224" y="232"/>
                  </a:lnTo>
                  <a:lnTo>
                    <a:pt x="192" y="224"/>
                  </a:lnTo>
                  <a:lnTo>
                    <a:pt x="192" y="192"/>
                  </a:lnTo>
                  <a:lnTo>
                    <a:pt x="256" y="144"/>
                  </a:lnTo>
                  <a:lnTo>
                    <a:pt x="344" y="112"/>
                  </a:lnTo>
                  <a:lnTo>
                    <a:pt x="384" y="88"/>
                  </a:lnTo>
                  <a:lnTo>
                    <a:pt x="456" y="96"/>
                  </a:lnTo>
                  <a:lnTo>
                    <a:pt x="480" y="8"/>
                  </a:lnTo>
                  <a:lnTo>
                    <a:pt x="512" y="0"/>
                  </a:lnTo>
                  <a:lnTo>
                    <a:pt x="520" y="56"/>
                  </a:lnTo>
                  <a:lnTo>
                    <a:pt x="560" y="72"/>
                  </a:lnTo>
                  <a:lnTo>
                    <a:pt x="576" y="136"/>
                  </a:lnTo>
                  <a:lnTo>
                    <a:pt x="528" y="184"/>
                  </a:lnTo>
                  <a:lnTo>
                    <a:pt x="592" y="216"/>
                  </a:lnTo>
                  <a:lnTo>
                    <a:pt x="608" y="272"/>
                  </a:lnTo>
                  <a:lnTo>
                    <a:pt x="664" y="288"/>
                  </a:lnTo>
                  <a:lnTo>
                    <a:pt x="704" y="344"/>
                  </a:lnTo>
                  <a:lnTo>
                    <a:pt x="696" y="408"/>
                  </a:lnTo>
                  <a:lnTo>
                    <a:pt x="728" y="432"/>
                  </a:lnTo>
                  <a:lnTo>
                    <a:pt x="688" y="448"/>
                  </a:lnTo>
                  <a:lnTo>
                    <a:pt x="680" y="488"/>
                  </a:lnTo>
                  <a:lnTo>
                    <a:pt x="712" y="520"/>
                  </a:lnTo>
                  <a:lnTo>
                    <a:pt x="688" y="544"/>
                  </a:lnTo>
                  <a:lnTo>
                    <a:pt x="704" y="576"/>
                  </a:lnTo>
                  <a:lnTo>
                    <a:pt x="672" y="584"/>
                  </a:lnTo>
                  <a:lnTo>
                    <a:pt x="680" y="624"/>
                  </a:lnTo>
                  <a:lnTo>
                    <a:pt x="648" y="632"/>
                  </a:lnTo>
                  <a:lnTo>
                    <a:pt x="640" y="712"/>
                  </a:lnTo>
                  <a:lnTo>
                    <a:pt x="592" y="688"/>
                  </a:lnTo>
                  <a:lnTo>
                    <a:pt x="560" y="672"/>
                  </a:lnTo>
                  <a:lnTo>
                    <a:pt x="528" y="672"/>
                  </a:lnTo>
                  <a:lnTo>
                    <a:pt x="504" y="656"/>
                  </a:lnTo>
                  <a:lnTo>
                    <a:pt x="456" y="648"/>
                  </a:lnTo>
                  <a:lnTo>
                    <a:pt x="424" y="624"/>
                  </a:lnTo>
                  <a:lnTo>
                    <a:pt x="384" y="640"/>
                  </a:lnTo>
                  <a:lnTo>
                    <a:pt x="360" y="624"/>
                  </a:lnTo>
                  <a:lnTo>
                    <a:pt x="320" y="608"/>
                  </a:lnTo>
                  <a:lnTo>
                    <a:pt x="288" y="600"/>
                  </a:lnTo>
                  <a:lnTo>
                    <a:pt x="240" y="600"/>
                  </a:lnTo>
                  <a:lnTo>
                    <a:pt x="200" y="616"/>
                  </a:lnTo>
                  <a:lnTo>
                    <a:pt x="144" y="624"/>
                  </a:lnTo>
                  <a:lnTo>
                    <a:pt x="88" y="616"/>
                  </a:lnTo>
                  <a:lnTo>
                    <a:pt x="40" y="608"/>
                  </a:lnTo>
                  <a:lnTo>
                    <a:pt x="0" y="576"/>
                  </a:lnTo>
                  <a:lnTo>
                    <a:pt x="16" y="536"/>
                  </a:lnTo>
                  <a:lnTo>
                    <a:pt x="24" y="512"/>
                  </a:lnTo>
                  <a:lnTo>
                    <a:pt x="32" y="488"/>
                  </a:lnTo>
                  <a:lnTo>
                    <a:pt x="80" y="480"/>
                  </a:lnTo>
                  <a:lnTo>
                    <a:pt x="120" y="464"/>
                  </a:lnTo>
                  <a:lnTo>
                    <a:pt x="120" y="440"/>
                  </a:lnTo>
                  <a:lnTo>
                    <a:pt x="104" y="432"/>
                  </a:lnTo>
                  <a:close/>
                </a:path>
              </a:pathLst>
            </a:custGeom>
            <a:grpFill/>
            <a:ln w="9525">
              <a:solidFill>
                <a:schemeClr val="bg1"/>
              </a:solidFill>
              <a:round/>
              <a:headEnd/>
              <a:tailEnd/>
            </a:ln>
          </p:spPr>
          <p:txBody>
            <a:bodyPr/>
            <a:lstStyle/>
            <a:p>
              <a:endParaRPr lang="en-US"/>
            </a:p>
          </p:txBody>
        </p:sp>
        <p:sp>
          <p:nvSpPr>
            <p:cNvPr id="131" name="Freeform 39"/>
            <p:cNvSpPr>
              <a:spLocks/>
            </p:cNvSpPr>
            <p:nvPr/>
          </p:nvSpPr>
          <p:spPr bwMode="auto">
            <a:xfrm>
              <a:off x="1295961" y="4159069"/>
              <a:ext cx="824060" cy="919881"/>
            </a:xfrm>
            <a:custGeom>
              <a:avLst/>
              <a:gdLst>
                <a:gd name="T0" fmla="*/ 2147483646 w 688"/>
                <a:gd name="T1" fmla="*/ 2147483646 h 768"/>
                <a:gd name="T2" fmla="*/ 2147483646 w 688"/>
                <a:gd name="T3" fmla="*/ 2147483646 h 768"/>
                <a:gd name="T4" fmla="*/ 2147483646 w 688"/>
                <a:gd name="T5" fmla="*/ 2147483646 h 768"/>
                <a:gd name="T6" fmla="*/ 2147483646 w 688"/>
                <a:gd name="T7" fmla="*/ 2147483646 h 768"/>
                <a:gd name="T8" fmla="*/ 2147483646 w 688"/>
                <a:gd name="T9" fmla="*/ 2147483646 h 768"/>
                <a:gd name="T10" fmla="*/ 2147483646 w 688"/>
                <a:gd name="T11" fmla="*/ 2147483646 h 768"/>
                <a:gd name="T12" fmla="*/ 2147483646 w 688"/>
                <a:gd name="T13" fmla="*/ 2147483646 h 768"/>
                <a:gd name="T14" fmla="*/ 2147483646 w 688"/>
                <a:gd name="T15" fmla="*/ 2147483646 h 768"/>
                <a:gd name="T16" fmla="*/ 2147483646 w 688"/>
                <a:gd name="T17" fmla="*/ 2147483646 h 768"/>
                <a:gd name="T18" fmla="*/ 2147483646 w 688"/>
                <a:gd name="T19" fmla="*/ 2147483646 h 768"/>
                <a:gd name="T20" fmla="*/ 2147483646 w 688"/>
                <a:gd name="T21" fmla="*/ 2147483646 h 768"/>
                <a:gd name="T22" fmla="*/ 2147483646 w 688"/>
                <a:gd name="T23" fmla="*/ 2147483646 h 768"/>
                <a:gd name="T24" fmla="*/ 2147483646 w 688"/>
                <a:gd name="T25" fmla="*/ 2147483646 h 768"/>
                <a:gd name="T26" fmla="*/ 2147483646 w 688"/>
                <a:gd name="T27" fmla="*/ 2147483646 h 768"/>
                <a:gd name="T28" fmla="*/ 2147483646 w 688"/>
                <a:gd name="T29" fmla="*/ 2147483646 h 768"/>
                <a:gd name="T30" fmla="*/ 2147483646 w 688"/>
                <a:gd name="T31" fmla="*/ 2147483646 h 768"/>
                <a:gd name="T32" fmla="*/ 2147483646 w 688"/>
                <a:gd name="T33" fmla="*/ 2147483646 h 768"/>
                <a:gd name="T34" fmla="*/ 2147483646 w 688"/>
                <a:gd name="T35" fmla="*/ 2147483646 h 768"/>
                <a:gd name="T36" fmla="*/ 2147483646 w 688"/>
                <a:gd name="T37" fmla="*/ 2147483646 h 768"/>
                <a:gd name="T38" fmla="*/ 2147483646 w 688"/>
                <a:gd name="T39" fmla="*/ 2147483646 h 768"/>
                <a:gd name="T40" fmla="*/ 2147483646 w 688"/>
                <a:gd name="T41" fmla="*/ 2147483646 h 768"/>
                <a:gd name="T42" fmla="*/ 2147483646 w 688"/>
                <a:gd name="T43" fmla="*/ 2147483646 h 768"/>
                <a:gd name="T44" fmla="*/ 2147483646 w 688"/>
                <a:gd name="T45" fmla="*/ 0 h 768"/>
                <a:gd name="T46" fmla="*/ 2147483646 w 688"/>
                <a:gd name="T47" fmla="*/ 2147483646 h 768"/>
                <a:gd name="T48" fmla="*/ 2147483646 w 688"/>
                <a:gd name="T49" fmla="*/ 2147483646 h 768"/>
                <a:gd name="T50" fmla="*/ 2147483646 w 688"/>
                <a:gd name="T51" fmla="*/ 2147483646 h 768"/>
                <a:gd name="T52" fmla="*/ 2147483646 w 688"/>
                <a:gd name="T53" fmla="*/ 2147483646 h 768"/>
                <a:gd name="T54" fmla="*/ 2147483646 w 688"/>
                <a:gd name="T55" fmla="*/ 2147483646 h 768"/>
                <a:gd name="T56" fmla="*/ 2147483646 w 688"/>
                <a:gd name="T57" fmla="*/ 2147483646 h 768"/>
                <a:gd name="T58" fmla="*/ 2147483646 w 688"/>
                <a:gd name="T59" fmla="*/ 2147483646 h 768"/>
                <a:gd name="T60" fmla="*/ 2147483646 w 688"/>
                <a:gd name="T61" fmla="*/ 2147483646 h 768"/>
                <a:gd name="T62" fmla="*/ 2147483646 w 688"/>
                <a:gd name="T63" fmla="*/ 2147483646 h 768"/>
                <a:gd name="T64" fmla="*/ 2147483646 w 688"/>
                <a:gd name="T65" fmla="*/ 2147483646 h 768"/>
                <a:gd name="T66" fmla="*/ 2147483646 w 688"/>
                <a:gd name="T67" fmla="*/ 2147483646 h 768"/>
                <a:gd name="T68" fmla="*/ 2147483646 w 688"/>
                <a:gd name="T69" fmla="*/ 2147483646 h 768"/>
                <a:gd name="T70" fmla="*/ 2147483646 w 688"/>
                <a:gd name="T71" fmla="*/ 2147483646 h 768"/>
                <a:gd name="T72" fmla="*/ 2147483646 w 688"/>
                <a:gd name="T73" fmla="*/ 2147483646 h 768"/>
                <a:gd name="T74" fmla="*/ 2147483646 w 688"/>
                <a:gd name="T75" fmla="*/ 2147483646 h 768"/>
                <a:gd name="T76" fmla="*/ 2147483646 w 688"/>
                <a:gd name="T77" fmla="*/ 2147483646 h 768"/>
                <a:gd name="T78" fmla="*/ 2147483646 w 688"/>
                <a:gd name="T79" fmla="*/ 2147483646 h 768"/>
                <a:gd name="T80" fmla="*/ 2147483646 w 688"/>
                <a:gd name="T81" fmla="*/ 2147483646 h 768"/>
                <a:gd name="T82" fmla="*/ 2147483646 w 688"/>
                <a:gd name="T83" fmla="*/ 2147483646 h 768"/>
                <a:gd name="T84" fmla="*/ 2147483646 w 688"/>
                <a:gd name="T85" fmla="*/ 2147483646 h 768"/>
                <a:gd name="T86" fmla="*/ 2147483646 w 688"/>
                <a:gd name="T87" fmla="*/ 2147483646 h 768"/>
                <a:gd name="T88" fmla="*/ 2147483646 w 688"/>
                <a:gd name="T89" fmla="*/ 2147483646 h 768"/>
                <a:gd name="T90" fmla="*/ 2147483646 w 688"/>
                <a:gd name="T91" fmla="*/ 2147483646 h 768"/>
                <a:gd name="T92" fmla="*/ 2147483646 w 688"/>
                <a:gd name="T93" fmla="*/ 2147483646 h 768"/>
                <a:gd name="T94" fmla="*/ 2147483646 w 688"/>
                <a:gd name="T95" fmla="*/ 2147483646 h 768"/>
                <a:gd name="T96" fmla="*/ 0 w 688"/>
                <a:gd name="T97" fmla="*/ 2147483646 h 768"/>
                <a:gd name="T98" fmla="*/ 0 w 688"/>
                <a:gd name="T99" fmla="*/ 2147483646 h 768"/>
                <a:gd name="T100" fmla="*/ 2147483646 w 688"/>
                <a:gd name="T101" fmla="*/ 2147483646 h 768"/>
                <a:gd name="T102" fmla="*/ 2147483646 w 688"/>
                <a:gd name="T103" fmla="*/ 2147483646 h 768"/>
                <a:gd name="T104" fmla="*/ 2147483646 w 688"/>
                <a:gd name="T105" fmla="*/ 2147483646 h 768"/>
                <a:gd name="T106" fmla="*/ 2147483646 w 688"/>
                <a:gd name="T107" fmla="*/ 2147483646 h 768"/>
                <a:gd name="T108" fmla="*/ 2147483646 w 688"/>
                <a:gd name="T109" fmla="*/ 2147483646 h 768"/>
                <a:gd name="T110" fmla="*/ 2147483646 w 688"/>
                <a:gd name="T111" fmla="*/ 2147483646 h 768"/>
                <a:gd name="T112" fmla="*/ 2147483646 w 688"/>
                <a:gd name="T113" fmla="*/ 2147483646 h 768"/>
                <a:gd name="T114" fmla="*/ 2147483646 w 688"/>
                <a:gd name="T115" fmla="*/ 2147483646 h 768"/>
                <a:gd name="T116" fmla="*/ 2147483646 w 688"/>
                <a:gd name="T117" fmla="*/ 2147483646 h 7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8"/>
                <a:gd name="T178" fmla="*/ 0 h 768"/>
                <a:gd name="T179" fmla="*/ 688 w 688"/>
                <a:gd name="T180" fmla="*/ 768 h 7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8" h="768">
                  <a:moveTo>
                    <a:pt x="304" y="744"/>
                  </a:moveTo>
                  <a:lnTo>
                    <a:pt x="336" y="736"/>
                  </a:lnTo>
                  <a:lnTo>
                    <a:pt x="352" y="768"/>
                  </a:lnTo>
                  <a:lnTo>
                    <a:pt x="376" y="744"/>
                  </a:lnTo>
                  <a:lnTo>
                    <a:pt x="360" y="680"/>
                  </a:lnTo>
                  <a:lnTo>
                    <a:pt x="400" y="640"/>
                  </a:lnTo>
                  <a:lnTo>
                    <a:pt x="400" y="592"/>
                  </a:lnTo>
                  <a:lnTo>
                    <a:pt x="432" y="592"/>
                  </a:lnTo>
                  <a:lnTo>
                    <a:pt x="464" y="640"/>
                  </a:lnTo>
                  <a:lnTo>
                    <a:pt x="504" y="632"/>
                  </a:lnTo>
                  <a:lnTo>
                    <a:pt x="536" y="552"/>
                  </a:lnTo>
                  <a:lnTo>
                    <a:pt x="600" y="440"/>
                  </a:lnTo>
                  <a:lnTo>
                    <a:pt x="672" y="384"/>
                  </a:lnTo>
                  <a:lnTo>
                    <a:pt x="616" y="344"/>
                  </a:lnTo>
                  <a:lnTo>
                    <a:pt x="616" y="312"/>
                  </a:lnTo>
                  <a:lnTo>
                    <a:pt x="656" y="280"/>
                  </a:lnTo>
                  <a:lnTo>
                    <a:pt x="648" y="200"/>
                  </a:lnTo>
                  <a:lnTo>
                    <a:pt x="688" y="168"/>
                  </a:lnTo>
                  <a:lnTo>
                    <a:pt x="600" y="32"/>
                  </a:lnTo>
                  <a:lnTo>
                    <a:pt x="560" y="16"/>
                  </a:lnTo>
                  <a:lnTo>
                    <a:pt x="512" y="16"/>
                  </a:lnTo>
                  <a:lnTo>
                    <a:pt x="464" y="56"/>
                  </a:lnTo>
                  <a:lnTo>
                    <a:pt x="432" y="0"/>
                  </a:lnTo>
                  <a:lnTo>
                    <a:pt x="392" y="64"/>
                  </a:lnTo>
                  <a:lnTo>
                    <a:pt x="360" y="72"/>
                  </a:lnTo>
                  <a:lnTo>
                    <a:pt x="360" y="120"/>
                  </a:lnTo>
                  <a:lnTo>
                    <a:pt x="320" y="128"/>
                  </a:lnTo>
                  <a:lnTo>
                    <a:pt x="192" y="64"/>
                  </a:lnTo>
                  <a:lnTo>
                    <a:pt x="144" y="80"/>
                  </a:lnTo>
                  <a:lnTo>
                    <a:pt x="128" y="136"/>
                  </a:lnTo>
                  <a:lnTo>
                    <a:pt x="80" y="152"/>
                  </a:lnTo>
                  <a:lnTo>
                    <a:pt x="112" y="184"/>
                  </a:lnTo>
                  <a:lnTo>
                    <a:pt x="72" y="208"/>
                  </a:lnTo>
                  <a:lnTo>
                    <a:pt x="112" y="264"/>
                  </a:lnTo>
                  <a:lnTo>
                    <a:pt x="96" y="304"/>
                  </a:lnTo>
                  <a:lnTo>
                    <a:pt x="64" y="336"/>
                  </a:lnTo>
                  <a:lnTo>
                    <a:pt x="72" y="360"/>
                  </a:lnTo>
                  <a:lnTo>
                    <a:pt x="64" y="376"/>
                  </a:lnTo>
                  <a:lnTo>
                    <a:pt x="48" y="384"/>
                  </a:lnTo>
                  <a:lnTo>
                    <a:pt x="48" y="408"/>
                  </a:lnTo>
                  <a:lnTo>
                    <a:pt x="40" y="440"/>
                  </a:lnTo>
                  <a:lnTo>
                    <a:pt x="8" y="440"/>
                  </a:lnTo>
                  <a:lnTo>
                    <a:pt x="8" y="472"/>
                  </a:lnTo>
                  <a:lnTo>
                    <a:pt x="24" y="472"/>
                  </a:lnTo>
                  <a:lnTo>
                    <a:pt x="64" y="496"/>
                  </a:lnTo>
                  <a:lnTo>
                    <a:pt x="80" y="512"/>
                  </a:lnTo>
                  <a:lnTo>
                    <a:pt x="80" y="536"/>
                  </a:lnTo>
                  <a:lnTo>
                    <a:pt x="48" y="544"/>
                  </a:lnTo>
                  <a:lnTo>
                    <a:pt x="0" y="544"/>
                  </a:lnTo>
                  <a:lnTo>
                    <a:pt x="0" y="568"/>
                  </a:lnTo>
                  <a:lnTo>
                    <a:pt x="16" y="600"/>
                  </a:lnTo>
                  <a:lnTo>
                    <a:pt x="64" y="608"/>
                  </a:lnTo>
                  <a:lnTo>
                    <a:pt x="96" y="616"/>
                  </a:lnTo>
                  <a:lnTo>
                    <a:pt x="112" y="672"/>
                  </a:lnTo>
                  <a:lnTo>
                    <a:pt x="144" y="696"/>
                  </a:lnTo>
                  <a:lnTo>
                    <a:pt x="192" y="688"/>
                  </a:lnTo>
                  <a:lnTo>
                    <a:pt x="240" y="712"/>
                  </a:lnTo>
                  <a:lnTo>
                    <a:pt x="288" y="720"/>
                  </a:lnTo>
                  <a:lnTo>
                    <a:pt x="304" y="744"/>
                  </a:lnTo>
                  <a:close/>
                </a:path>
              </a:pathLst>
            </a:custGeom>
            <a:grpFill/>
            <a:ln w="9525">
              <a:solidFill>
                <a:schemeClr val="bg1"/>
              </a:solidFill>
              <a:round/>
              <a:headEnd/>
              <a:tailEnd/>
            </a:ln>
          </p:spPr>
          <p:txBody>
            <a:bodyPr/>
            <a:lstStyle/>
            <a:p>
              <a:endParaRPr lang="en-US"/>
            </a:p>
          </p:txBody>
        </p:sp>
        <p:sp>
          <p:nvSpPr>
            <p:cNvPr id="141" name="Freeform 40"/>
            <p:cNvSpPr>
              <a:spLocks/>
            </p:cNvSpPr>
            <p:nvPr/>
          </p:nvSpPr>
          <p:spPr bwMode="auto">
            <a:xfrm>
              <a:off x="764187" y="3699643"/>
              <a:ext cx="1258444" cy="896791"/>
            </a:xfrm>
            <a:custGeom>
              <a:avLst/>
              <a:gdLst>
                <a:gd name="T0" fmla="*/ 2147483646 w 1080"/>
                <a:gd name="T1" fmla="*/ 2147483646 h 696"/>
                <a:gd name="T2" fmla="*/ 2147483646 w 1080"/>
                <a:gd name="T3" fmla="*/ 2147483646 h 696"/>
                <a:gd name="T4" fmla="*/ 2147483646 w 1080"/>
                <a:gd name="T5" fmla="*/ 2147483646 h 696"/>
                <a:gd name="T6" fmla="*/ 2147483646 w 1080"/>
                <a:gd name="T7" fmla="*/ 2147483646 h 696"/>
                <a:gd name="T8" fmla="*/ 2147483646 w 1080"/>
                <a:gd name="T9" fmla="*/ 2147483646 h 696"/>
                <a:gd name="T10" fmla="*/ 2147483646 w 1080"/>
                <a:gd name="T11" fmla="*/ 2147483646 h 696"/>
                <a:gd name="T12" fmla="*/ 2147483646 w 1080"/>
                <a:gd name="T13" fmla="*/ 2147483646 h 696"/>
                <a:gd name="T14" fmla="*/ 2147483646 w 1080"/>
                <a:gd name="T15" fmla="*/ 2147483646 h 696"/>
                <a:gd name="T16" fmla="*/ 2147483646 w 1080"/>
                <a:gd name="T17" fmla="*/ 2147483646 h 696"/>
                <a:gd name="T18" fmla="*/ 2147483646 w 1080"/>
                <a:gd name="T19" fmla="*/ 2147483646 h 696"/>
                <a:gd name="T20" fmla="*/ 2147483646 w 1080"/>
                <a:gd name="T21" fmla="*/ 2147483646 h 696"/>
                <a:gd name="T22" fmla="*/ 2147483646 w 1080"/>
                <a:gd name="T23" fmla="*/ 2147483646 h 696"/>
                <a:gd name="T24" fmla="*/ 2147483646 w 1080"/>
                <a:gd name="T25" fmla="*/ 2147483646 h 696"/>
                <a:gd name="T26" fmla="*/ 2147483646 w 1080"/>
                <a:gd name="T27" fmla="*/ 2147483646 h 696"/>
                <a:gd name="T28" fmla="*/ 2147483646 w 1080"/>
                <a:gd name="T29" fmla="*/ 2147483646 h 696"/>
                <a:gd name="T30" fmla="*/ 2147483646 w 1080"/>
                <a:gd name="T31" fmla="*/ 2147483646 h 696"/>
                <a:gd name="T32" fmla="*/ 2147483646 w 1080"/>
                <a:gd name="T33" fmla="*/ 2147483646 h 696"/>
                <a:gd name="T34" fmla="*/ 2147483646 w 1080"/>
                <a:gd name="T35" fmla="*/ 2147483646 h 696"/>
                <a:gd name="T36" fmla="*/ 2147483646 w 1080"/>
                <a:gd name="T37" fmla="*/ 2147483646 h 696"/>
                <a:gd name="T38" fmla="*/ 2147483646 w 1080"/>
                <a:gd name="T39" fmla="*/ 2147483646 h 696"/>
                <a:gd name="T40" fmla="*/ 2147483646 w 1080"/>
                <a:gd name="T41" fmla="*/ 2147483646 h 696"/>
                <a:gd name="T42" fmla="*/ 2147483646 w 1080"/>
                <a:gd name="T43" fmla="*/ 0 h 696"/>
                <a:gd name="T44" fmla="*/ 2147483646 w 1080"/>
                <a:gd name="T45" fmla="*/ 2147483646 h 696"/>
                <a:gd name="T46" fmla="*/ 2147483646 w 1080"/>
                <a:gd name="T47" fmla="*/ 2147483646 h 696"/>
                <a:gd name="T48" fmla="*/ 2147483646 w 1080"/>
                <a:gd name="T49" fmla="*/ 2147483646 h 696"/>
                <a:gd name="T50" fmla="*/ 2147483646 w 1080"/>
                <a:gd name="T51" fmla="*/ 2147483646 h 696"/>
                <a:gd name="T52" fmla="*/ 2147483646 w 1080"/>
                <a:gd name="T53" fmla="*/ 2147483646 h 696"/>
                <a:gd name="T54" fmla="*/ 2147483646 w 1080"/>
                <a:gd name="T55" fmla="*/ 2147483646 h 696"/>
                <a:gd name="T56" fmla="*/ 2147483646 w 1080"/>
                <a:gd name="T57" fmla="*/ 2147483646 h 696"/>
                <a:gd name="T58" fmla="*/ 2147483646 w 1080"/>
                <a:gd name="T59" fmla="*/ 2147483646 h 696"/>
                <a:gd name="T60" fmla="*/ 2147483646 w 1080"/>
                <a:gd name="T61" fmla="*/ 2147483646 h 696"/>
                <a:gd name="T62" fmla="*/ 2147483646 w 1080"/>
                <a:gd name="T63" fmla="*/ 2147483646 h 696"/>
                <a:gd name="T64" fmla="*/ 2147483646 w 1080"/>
                <a:gd name="T65" fmla="*/ 2147483646 h 696"/>
                <a:gd name="T66" fmla="*/ 2147483646 w 1080"/>
                <a:gd name="T67" fmla="*/ 2147483646 h 696"/>
                <a:gd name="T68" fmla="*/ 2147483646 w 1080"/>
                <a:gd name="T69" fmla="*/ 2147483646 h 696"/>
                <a:gd name="T70" fmla="*/ 2147483646 w 1080"/>
                <a:gd name="T71" fmla="*/ 2147483646 h 696"/>
                <a:gd name="T72" fmla="*/ 2147483646 w 1080"/>
                <a:gd name="T73" fmla="*/ 2147483646 h 6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0"/>
                <a:gd name="T112" fmla="*/ 0 h 696"/>
                <a:gd name="T113" fmla="*/ 1080 w 1080"/>
                <a:gd name="T114" fmla="*/ 696 h 6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0" h="696">
                  <a:moveTo>
                    <a:pt x="536" y="696"/>
                  </a:moveTo>
                  <a:lnTo>
                    <a:pt x="584" y="624"/>
                  </a:lnTo>
                  <a:lnTo>
                    <a:pt x="544" y="568"/>
                  </a:lnTo>
                  <a:lnTo>
                    <a:pt x="584" y="544"/>
                  </a:lnTo>
                  <a:lnTo>
                    <a:pt x="552" y="512"/>
                  </a:lnTo>
                  <a:lnTo>
                    <a:pt x="600" y="496"/>
                  </a:lnTo>
                  <a:lnTo>
                    <a:pt x="616" y="440"/>
                  </a:lnTo>
                  <a:lnTo>
                    <a:pt x="664" y="424"/>
                  </a:lnTo>
                  <a:lnTo>
                    <a:pt x="792" y="488"/>
                  </a:lnTo>
                  <a:lnTo>
                    <a:pt x="832" y="480"/>
                  </a:lnTo>
                  <a:lnTo>
                    <a:pt x="832" y="432"/>
                  </a:lnTo>
                  <a:lnTo>
                    <a:pt x="864" y="424"/>
                  </a:lnTo>
                  <a:lnTo>
                    <a:pt x="904" y="360"/>
                  </a:lnTo>
                  <a:lnTo>
                    <a:pt x="936" y="416"/>
                  </a:lnTo>
                  <a:lnTo>
                    <a:pt x="984" y="376"/>
                  </a:lnTo>
                  <a:lnTo>
                    <a:pt x="1032" y="376"/>
                  </a:lnTo>
                  <a:lnTo>
                    <a:pt x="1080" y="312"/>
                  </a:lnTo>
                  <a:lnTo>
                    <a:pt x="1048" y="256"/>
                  </a:lnTo>
                  <a:lnTo>
                    <a:pt x="1008" y="248"/>
                  </a:lnTo>
                  <a:lnTo>
                    <a:pt x="1008" y="200"/>
                  </a:lnTo>
                  <a:lnTo>
                    <a:pt x="976" y="192"/>
                  </a:lnTo>
                  <a:lnTo>
                    <a:pt x="912" y="232"/>
                  </a:lnTo>
                  <a:lnTo>
                    <a:pt x="840" y="176"/>
                  </a:lnTo>
                  <a:lnTo>
                    <a:pt x="784" y="192"/>
                  </a:lnTo>
                  <a:lnTo>
                    <a:pt x="752" y="160"/>
                  </a:lnTo>
                  <a:lnTo>
                    <a:pt x="720" y="208"/>
                  </a:lnTo>
                  <a:lnTo>
                    <a:pt x="688" y="208"/>
                  </a:lnTo>
                  <a:lnTo>
                    <a:pt x="672" y="168"/>
                  </a:lnTo>
                  <a:lnTo>
                    <a:pt x="624" y="184"/>
                  </a:lnTo>
                  <a:lnTo>
                    <a:pt x="592" y="120"/>
                  </a:lnTo>
                  <a:lnTo>
                    <a:pt x="568" y="120"/>
                  </a:lnTo>
                  <a:lnTo>
                    <a:pt x="552" y="160"/>
                  </a:lnTo>
                  <a:lnTo>
                    <a:pt x="488" y="168"/>
                  </a:lnTo>
                  <a:lnTo>
                    <a:pt x="464" y="152"/>
                  </a:lnTo>
                  <a:lnTo>
                    <a:pt x="432" y="152"/>
                  </a:lnTo>
                  <a:lnTo>
                    <a:pt x="408" y="104"/>
                  </a:lnTo>
                  <a:lnTo>
                    <a:pt x="352" y="120"/>
                  </a:lnTo>
                  <a:lnTo>
                    <a:pt x="280" y="24"/>
                  </a:lnTo>
                  <a:lnTo>
                    <a:pt x="216" y="8"/>
                  </a:lnTo>
                  <a:lnTo>
                    <a:pt x="192" y="32"/>
                  </a:lnTo>
                  <a:lnTo>
                    <a:pt x="176" y="40"/>
                  </a:lnTo>
                  <a:lnTo>
                    <a:pt x="160" y="32"/>
                  </a:lnTo>
                  <a:lnTo>
                    <a:pt x="144" y="8"/>
                  </a:lnTo>
                  <a:lnTo>
                    <a:pt x="112" y="0"/>
                  </a:lnTo>
                  <a:lnTo>
                    <a:pt x="104" y="24"/>
                  </a:lnTo>
                  <a:lnTo>
                    <a:pt x="72" y="24"/>
                  </a:lnTo>
                  <a:lnTo>
                    <a:pt x="48" y="8"/>
                  </a:lnTo>
                  <a:lnTo>
                    <a:pt x="16" y="24"/>
                  </a:lnTo>
                  <a:lnTo>
                    <a:pt x="0" y="32"/>
                  </a:lnTo>
                  <a:lnTo>
                    <a:pt x="24" y="80"/>
                  </a:lnTo>
                  <a:lnTo>
                    <a:pt x="40" y="128"/>
                  </a:lnTo>
                  <a:lnTo>
                    <a:pt x="72" y="152"/>
                  </a:lnTo>
                  <a:lnTo>
                    <a:pt x="96" y="176"/>
                  </a:lnTo>
                  <a:lnTo>
                    <a:pt x="128" y="192"/>
                  </a:lnTo>
                  <a:lnTo>
                    <a:pt x="160" y="224"/>
                  </a:lnTo>
                  <a:lnTo>
                    <a:pt x="176" y="264"/>
                  </a:lnTo>
                  <a:lnTo>
                    <a:pt x="200" y="304"/>
                  </a:lnTo>
                  <a:lnTo>
                    <a:pt x="224" y="296"/>
                  </a:lnTo>
                  <a:lnTo>
                    <a:pt x="240" y="304"/>
                  </a:lnTo>
                  <a:lnTo>
                    <a:pt x="232" y="360"/>
                  </a:lnTo>
                  <a:lnTo>
                    <a:pt x="216" y="384"/>
                  </a:lnTo>
                  <a:lnTo>
                    <a:pt x="216" y="416"/>
                  </a:lnTo>
                  <a:lnTo>
                    <a:pt x="240" y="440"/>
                  </a:lnTo>
                  <a:lnTo>
                    <a:pt x="232" y="456"/>
                  </a:lnTo>
                  <a:lnTo>
                    <a:pt x="216" y="472"/>
                  </a:lnTo>
                  <a:lnTo>
                    <a:pt x="248" y="488"/>
                  </a:lnTo>
                  <a:lnTo>
                    <a:pt x="280" y="536"/>
                  </a:lnTo>
                  <a:lnTo>
                    <a:pt x="312" y="584"/>
                  </a:lnTo>
                  <a:lnTo>
                    <a:pt x="360" y="608"/>
                  </a:lnTo>
                  <a:lnTo>
                    <a:pt x="384" y="600"/>
                  </a:lnTo>
                  <a:lnTo>
                    <a:pt x="408" y="640"/>
                  </a:lnTo>
                  <a:lnTo>
                    <a:pt x="464" y="672"/>
                  </a:lnTo>
                  <a:lnTo>
                    <a:pt x="512" y="688"/>
                  </a:lnTo>
                  <a:lnTo>
                    <a:pt x="536" y="696"/>
                  </a:lnTo>
                  <a:close/>
                </a:path>
              </a:pathLst>
            </a:custGeom>
            <a:grpFill/>
            <a:ln w="9525">
              <a:solidFill>
                <a:schemeClr val="bg1"/>
              </a:solidFill>
              <a:round/>
              <a:headEnd/>
              <a:tailEnd/>
            </a:ln>
          </p:spPr>
          <p:txBody>
            <a:bodyPr/>
            <a:lstStyle/>
            <a:p>
              <a:endParaRPr lang="en-US"/>
            </a:p>
          </p:txBody>
        </p:sp>
        <p:sp>
          <p:nvSpPr>
            <p:cNvPr id="142" name="Freeform 41"/>
            <p:cNvSpPr>
              <a:spLocks/>
            </p:cNvSpPr>
            <p:nvPr/>
          </p:nvSpPr>
          <p:spPr bwMode="auto">
            <a:xfrm>
              <a:off x="1004873" y="3362979"/>
              <a:ext cx="1130688" cy="642002"/>
            </a:xfrm>
            <a:custGeom>
              <a:avLst/>
              <a:gdLst>
                <a:gd name="T0" fmla="*/ 0 w 944"/>
                <a:gd name="T1" fmla="*/ 2147483646 h 536"/>
                <a:gd name="T2" fmla="*/ 2147483646 w 944"/>
                <a:gd name="T3" fmla="*/ 2147483646 h 536"/>
                <a:gd name="T4" fmla="*/ 2147483646 w 944"/>
                <a:gd name="T5" fmla="*/ 2147483646 h 536"/>
                <a:gd name="T6" fmla="*/ 2147483646 w 944"/>
                <a:gd name="T7" fmla="*/ 2147483646 h 536"/>
                <a:gd name="T8" fmla="*/ 2147483646 w 944"/>
                <a:gd name="T9" fmla="*/ 2147483646 h 536"/>
                <a:gd name="T10" fmla="*/ 2147483646 w 944"/>
                <a:gd name="T11" fmla="*/ 2147483646 h 536"/>
                <a:gd name="T12" fmla="*/ 2147483646 w 944"/>
                <a:gd name="T13" fmla="*/ 2147483646 h 536"/>
                <a:gd name="T14" fmla="*/ 2147483646 w 944"/>
                <a:gd name="T15" fmla="*/ 2147483646 h 536"/>
                <a:gd name="T16" fmla="*/ 2147483646 w 944"/>
                <a:gd name="T17" fmla="*/ 2147483646 h 536"/>
                <a:gd name="T18" fmla="*/ 2147483646 w 944"/>
                <a:gd name="T19" fmla="*/ 2147483646 h 536"/>
                <a:gd name="T20" fmla="*/ 2147483646 w 944"/>
                <a:gd name="T21" fmla="*/ 2147483646 h 536"/>
                <a:gd name="T22" fmla="*/ 2147483646 w 944"/>
                <a:gd name="T23" fmla="*/ 2147483646 h 536"/>
                <a:gd name="T24" fmla="*/ 2147483646 w 944"/>
                <a:gd name="T25" fmla="*/ 2147483646 h 536"/>
                <a:gd name="T26" fmla="*/ 2147483646 w 944"/>
                <a:gd name="T27" fmla="*/ 2147483646 h 536"/>
                <a:gd name="T28" fmla="*/ 2147483646 w 944"/>
                <a:gd name="T29" fmla="*/ 2147483646 h 536"/>
                <a:gd name="T30" fmla="*/ 2147483646 w 944"/>
                <a:gd name="T31" fmla="*/ 2147483646 h 536"/>
                <a:gd name="T32" fmla="*/ 2147483646 w 944"/>
                <a:gd name="T33" fmla="*/ 2147483646 h 536"/>
                <a:gd name="T34" fmla="*/ 2147483646 w 944"/>
                <a:gd name="T35" fmla="*/ 2147483646 h 536"/>
                <a:gd name="T36" fmla="*/ 2147483646 w 944"/>
                <a:gd name="T37" fmla="*/ 2147483646 h 536"/>
                <a:gd name="T38" fmla="*/ 2147483646 w 944"/>
                <a:gd name="T39" fmla="*/ 2147483646 h 536"/>
                <a:gd name="T40" fmla="*/ 2147483646 w 944"/>
                <a:gd name="T41" fmla="*/ 2147483646 h 536"/>
                <a:gd name="T42" fmla="*/ 2147483646 w 944"/>
                <a:gd name="T43" fmla="*/ 2147483646 h 536"/>
                <a:gd name="T44" fmla="*/ 2147483646 w 944"/>
                <a:gd name="T45" fmla="*/ 2147483646 h 536"/>
                <a:gd name="T46" fmla="*/ 2147483646 w 944"/>
                <a:gd name="T47" fmla="*/ 2147483646 h 536"/>
                <a:gd name="T48" fmla="*/ 2147483646 w 944"/>
                <a:gd name="T49" fmla="*/ 2147483646 h 536"/>
                <a:gd name="T50" fmla="*/ 2147483646 w 944"/>
                <a:gd name="T51" fmla="*/ 2147483646 h 536"/>
                <a:gd name="T52" fmla="*/ 2147483646 w 944"/>
                <a:gd name="T53" fmla="*/ 2147483646 h 536"/>
                <a:gd name="T54" fmla="*/ 2147483646 w 944"/>
                <a:gd name="T55" fmla="*/ 2147483646 h 536"/>
                <a:gd name="T56" fmla="*/ 2147483646 w 944"/>
                <a:gd name="T57" fmla="*/ 2147483646 h 536"/>
                <a:gd name="T58" fmla="*/ 2147483646 w 944"/>
                <a:gd name="T59" fmla="*/ 2147483646 h 536"/>
                <a:gd name="T60" fmla="*/ 2147483646 w 944"/>
                <a:gd name="T61" fmla="*/ 2147483646 h 536"/>
                <a:gd name="T62" fmla="*/ 2147483646 w 944"/>
                <a:gd name="T63" fmla="*/ 2147483646 h 536"/>
                <a:gd name="T64" fmla="*/ 2147483646 w 944"/>
                <a:gd name="T65" fmla="*/ 2147483646 h 536"/>
                <a:gd name="T66" fmla="*/ 2147483646 w 944"/>
                <a:gd name="T67" fmla="*/ 2147483646 h 536"/>
                <a:gd name="T68" fmla="*/ 2147483646 w 944"/>
                <a:gd name="T69" fmla="*/ 2147483646 h 536"/>
                <a:gd name="T70" fmla="*/ 2147483646 w 944"/>
                <a:gd name="T71" fmla="*/ 2147483646 h 536"/>
                <a:gd name="T72" fmla="*/ 2147483646 w 944"/>
                <a:gd name="T73" fmla="*/ 0 h 536"/>
                <a:gd name="T74" fmla="*/ 2147483646 w 944"/>
                <a:gd name="T75" fmla="*/ 0 h 536"/>
                <a:gd name="T76" fmla="*/ 2147483646 w 944"/>
                <a:gd name="T77" fmla="*/ 2147483646 h 536"/>
                <a:gd name="T78" fmla="*/ 2147483646 w 944"/>
                <a:gd name="T79" fmla="*/ 2147483646 h 536"/>
                <a:gd name="T80" fmla="*/ 2147483646 w 944"/>
                <a:gd name="T81" fmla="*/ 2147483646 h 536"/>
                <a:gd name="T82" fmla="*/ 2147483646 w 944"/>
                <a:gd name="T83" fmla="*/ 2147483646 h 536"/>
                <a:gd name="T84" fmla="*/ 2147483646 w 944"/>
                <a:gd name="T85" fmla="*/ 2147483646 h 536"/>
                <a:gd name="T86" fmla="*/ 2147483646 w 944"/>
                <a:gd name="T87" fmla="*/ 2147483646 h 536"/>
                <a:gd name="T88" fmla="*/ 2147483646 w 944"/>
                <a:gd name="T89" fmla="*/ 2147483646 h 536"/>
                <a:gd name="T90" fmla="*/ 2147483646 w 944"/>
                <a:gd name="T91" fmla="*/ 2147483646 h 536"/>
                <a:gd name="T92" fmla="*/ 2147483646 w 944"/>
                <a:gd name="T93" fmla="*/ 2147483646 h 536"/>
                <a:gd name="T94" fmla="*/ 2147483646 w 944"/>
                <a:gd name="T95" fmla="*/ 2147483646 h 536"/>
                <a:gd name="T96" fmla="*/ 2147483646 w 944"/>
                <a:gd name="T97" fmla="*/ 2147483646 h 536"/>
                <a:gd name="T98" fmla="*/ 2147483646 w 944"/>
                <a:gd name="T99" fmla="*/ 2147483646 h 536"/>
                <a:gd name="T100" fmla="*/ 2147483646 w 944"/>
                <a:gd name="T101" fmla="*/ 2147483646 h 536"/>
                <a:gd name="T102" fmla="*/ 2147483646 w 944"/>
                <a:gd name="T103" fmla="*/ 2147483646 h 536"/>
                <a:gd name="T104" fmla="*/ 2147483646 w 944"/>
                <a:gd name="T105" fmla="*/ 2147483646 h 536"/>
                <a:gd name="T106" fmla="*/ 2147483646 w 944"/>
                <a:gd name="T107" fmla="*/ 2147483646 h 536"/>
                <a:gd name="T108" fmla="*/ 2147483646 w 944"/>
                <a:gd name="T109" fmla="*/ 2147483646 h 536"/>
                <a:gd name="T110" fmla="*/ 2147483646 w 944"/>
                <a:gd name="T111" fmla="*/ 2147483646 h 536"/>
                <a:gd name="T112" fmla="*/ 2147483646 w 944"/>
                <a:gd name="T113" fmla="*/ 2147483646 h 536"/>
                <a:gd name="T114" fmla="*/ 2147483646 w 944"/>
                <a:gd name="T115" fmla="*/ 2147483646 h 536"/>
                <a:gd name="T116" fmla="*/ 2147483646 w 944"/>
                <a:gd name="T117" fmla="*/ 2147483646 h 536"/>
                <a:gd name="T118" fmla="*/ 0 w 944"/>
                <a:gd name="T119" fmla="*/ 2147483646 h 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44"/>
                <a:gd name="T181" fmla="*/ 0 h 536"/>
                <a:gd name="T182" fmla="*/ 944 w 944"/>
                <a:gd name="T183" fmla="*/ 536 h 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44" h="536">
                  <a:moveTo>
                    <a:pt x="0" y="312"/>
                  </a:moveTo>
                  <a:lnTo>
                    <a:pt x="64" y="328"/>
                  </a:lnTo>
                  <a:lnTo>
                    <a:pt x="136" y="424"/>
                  </a:lnTo>
                  <a:lnTo>
                    <a:pt x="192" y="408"/>
                  </a:lnTo>
                  <a:lnTo>
                    <a:pt x="216" y="456"/>
                  </a:lnTo>
                  <a:lnTo>
                    <a:pt x="248" y="456"/>
                  </a:lnTo>
                  <a:lnTo>
                    <a:pt x="272" y="472"/>
                  </a:lnTo>
                  <a:lnTo>
                    <a:pt x="336" y="464"/>
                  </a:lnTo>
                  <a:lnTo>
                    <a:pt x="352" y="424"/>
                  </a:lnTo>
                  <a:lnTo>
                    <a:pt x="376" y="424"/>
                  </a:lnTo>
                  <a:lnTo>
                    <a:pt x="408" y="488"/>
                  </a:lnTo>
                  <a:lnTo>
                    <a:pt x="456" y="472"/>
                  </a:lnTo>
                  <a:lnTo>
                    <a:pt x="472" y="512"/>
                  </a:lnTo>
                  <a:lnTo>
                    <a:pt x="504" y="512"/>
                  </a:lnTo>
                  <a:lnTo>
                    <a:pt x="536" y="464"/>
                  </a:lnTo>
                  <a:lnTo>
                    <a:pt x="568" y="496"/>
                  </a:lnTo>
                  <a:lnTo>
                    <a:pt x="624" y="480"/>
                  </a:lnTo>
                  <a:lnTo>
                    <a:pt x="696" y="536"/>
                  </a:lnTo>
                  <a:lnTo>
                    <a:pt x="760" y="496"/>
                  </a:lnTo>
                  <a:lnTo>
                    <a:pt x="776" y="464"/>
                  </a:lnTo>
                  <a:lnTo>
                    <a:pt x="808" y="448"/>
                  </a:lnTo>
                  <a:lnTo>
                    <a:pt x="808" y="424"/>
                  </a:lnTo>
                  <a:lnTo>
                    <a:pt x="848" y="400"/>
                  </a:lnTo>
                  <a:lnTo>
                    <a:pt x="856" y="328"/>
                  </a:lnTo>
                  <a:lnTo>
                    <a:pt x="904" y="328"/>
                  </a:lnTo>
                  <a:lnTo>
                    <a:pt x="944" y="224"/>
                  </a:lnTo>
                  <a:lnTo>
                    <a:pt x="896" y="200"/>
                  </a:lnTo>
                  <a:lnTo>
                    <a:pt x="832" y="200"/>
                  </a:lnTo>
                  <a:lnTo>
                    <a:pt x="768" y="128"/>
                  </a:lnTo>
                  <a:lnTo>
                    <a:pt x="728" y="120"/>
                  </a:lnTo>
                  <a:lnTo>
                    <a:pt x="720" y="80"/>
                  </a:lnTo>
                  <a:lnTo>
                    <a:pt x="632" y="40"/>
                  </a:lnTo>
                  <a:lnTo>
                    <a:pt x="608" y="48"/>
                  </a:lnTo>
                  <a:lnTo>
                    <a:pt x="568" y="8"/>
                  </a:lnTo>
                  <a:lnTo>
                    <a:pt x="456" y="24"/>
                  </a:lnTo>
                  <a:lnTo>
                    <a:pt x="424" y="40"/>
                  </a:lnTo>
                  <a:lnTo>
                    <a:pt x="368" y="0"/>
                  </a:lnTo>
                  <a:lnTo>
                    <a:pt x="352" y="0"/>
                  </a:lnTo>
                  <a:lnTo>
                    <a:pt x="344" y="32"/>
                  </a:lnTo>
                  <a:lnTo>
                    <a:pt x="320" y="48"/>
                  </a:lnTo>
                  <a:lnTo>
                    <a:pt x="288" y="40"/>
                  </a:lnTo>
                  <a:lnTo>
                    <a:pt x="272" y="72"/>
                  </a:lnTo>
                  <a:lnTo>
                    <a:pt x="272" y="96"/>
                  </a:lnTo>
                  <a:lnTo>
                    <a:pt x="256" y="112"/>
                  </a:lnTo>
                  <a:lnTo>
                    <a:pt x="280" y="160"/>
                  </a:lnTo>
                  <a:lnTo>
                    <a:pt x="264" y="176"/>
                  </a:lnTo>
                  <a:lnTo>
                    <a:pt x="224" y="176"/>
                  </a:lnTo>
                  <a:lnTo>
                    <a:pt x="216" y="224"/>
                  </a:lnTo>
                  <a:lnTo>
                    <a:pt x="208" y="256"/>
                  </a:lnTo>
                  <a:lnTo>
                    <a:pt x="192" y="256"/>
                  </a:lnTo>
                  <a:lnTo>
                    <a:pt x="160" y="288"/>
                  </a:lnTo>
                  <a:lnTo>
                    <a:pt x="136" y="264"/>
                  </a:lnTo>
                  <a:lnTo>
                    <a:pt x="120" y="264"/>
                  </a:lnTo>
                  <a:lnTo>
                    <a:pt x="104" y="256"/>
                  </a:lnTo>
                  <a:lnTo>
                    <a:pt x="88" y="264"/>
                  </a:lnTo>
                  <a:lnTo>
                    <a:pt x="64" y="248"/>
                  </a:lnTo>
                  <a:lnTo>
                    <a:pt x="32" y="264"/>
                  </a:lnTo>
                  <a:lnTo>
                    <a:pt x="16" y="272"/>
                  </a:lnTo>
                  <a:lnTo>
                    <a:pt x="16" y="296"/>
                  </a:lnTo>
                  <a:lnTo>
                    <a:pt x="0" y="312"/>
                  </a:lnTo>
                  <a:close/>
                </a:path>
              </a:pathLst>
            </a:custGeom>
            <a:grpFill/>
            <a:ln w="9525">
              <a:solidFill>
                <a:schemeClr val="bg1"/>
              </a:solidFill>
              <a:round/>
              <a:headEnd/>
              <a:tailEnd/>
            </a:ln>
          </p:spPr>
          <p:txBody>
            <a:bodyPr/>
            <a:lstStyle/>
            <a:p>
              <a:endParaRPr lang="en-US"/>
            </a:p>
          </p:txBody>
        </p:sp>
        <p:sp>
          <p:nvSpPr>
            <p:cNvPr id="143" name="Freeform 42"/>
            <p:cNvSpPr>
              <a:spLocks/>
            </p:cNvSpPr>
            <p:nvPr/>
          </p:nvSpPr>
          <p:spPr bwMode="auto">
            <a:xfrm>
              <a:off x="1431587" y="2634918"/>
              <a:ext cx="776150" cy="996538"/>
            </a:xfrm>
            <a:custGeom>
              <a:avLst/>
              <a:gdLst>
                <a:gd name="T0" fmla="*/ 2147483646 w 648"/>
                <a:gd name="T1" fmla="*/ 2147483646 h 832"/>
                <a:gd name="T2" fmla="*/ 2147483646 w 648"/>
                <a:gd name="T3" fmla="*/ 2147483646 h 832"/>
                <a:gd name="T4" fmla="*/ 2147483646 w 648"/>
                <a:gd name="T5" fmla="*/ 2147483646 h 832"/>
                <a:gd name="T6" fmla="*/ 2147483646 w 648"/>
                <a:gd name="T7" fmla="*/ 2147483646 h 832"/>
                <a:gd name="T8" fmla="*/ 2147483646 w 648"/>
                <a:gd name="T9" fmla="*/ 2147483646 h 832"/>
                <a:gd name="T10" fmla="*/ 2147483646 w 648"/>
                <a:gd name="T11" fmla="*/ 2147483646 h 832"/>
                <a:gd name="T12" fmla="*/ 2147483646 w 648"/>
                <a:gd name="T13" fmla="*/ 2147483646 h 832"/>
                <a:gd name="T14" fmla="*/ 2147483646 w 648"/>
                <a:gd name="T15" fmla="*/ 2147483646 h 832"/>
                <a:gd name="T16" fmla="*/ 2147483646 w 648"/>
                <a:gd name="T17" fmla="*/ 2147483646 h 832"/>
                <a:gd name="T18" fmla="*/ 2147483646 w 648"/>
                <a:gd name="T19" fmla="*/ 2147483646 h 832"/>
                <a:gd name="T20" fmla="*/ 2147483646 w 648"/>
                <a:gd name="T21" fmla="*/ 2147483646 h 832"/>
                <a:gd name="T22" fmla="*/ 2147483646 w 648"/>
                <a:gd name="T23" fmla="*/ 2147483646 h 832"/>
                <a:gd name="T24" fmla="*/ 2147483646 w 648"/>
                <a:gd name="T25" fmla="*/ 2147483646 h 832"/>
                <a:gd name="T26" fmla="*/ 2147483646 w 648"/>
                <a:gd name="T27" fmla="*/ 2147483646 h 832"/>
                <a:gd name="T28" fmla="*/ 2147483646 w 648"/>
                <a:gd name="T29" fmla="*/ 2147483646 h 832"/>
                <a:gd name="T30" fmla="*/ 2147483646 w 648"/>
                <a:gd name="T31" fmla="*/ 2147483646 h 832"/>
                <a:gd name="T32" fmla="*/ 2147483646 w 648"/>
                <a:gd name="T33" fmla="*/ 2147483646 h 832"/>
                <a:gd name="T34" fmla="*/ 2147483646 w 648"/>
                <a:gd name="T35" fmla="*/ 2147483646 h 832"/>
                <a:gd name="T36" fmla="*/ 2147483646 w 648"/>
                <a:gd name="T37" fmla="*/ 2147483646 h 832"/>
                <a:gd name="T38" fmla="*/ 2147483646 w 648"/>
                <a:gd name="T39" fmla="*/ 2147483646 h 832"/>
                <a:gd name="T40" fmla="*/ 2147483646 w 648"/>
                <a:gd name="T41" fmla="*/ 2147483646 h 832"/>
                <a:gd name="T42" fmla="*/ 2147483646 w 648"/>
                <a:gd name="T43" fmla="*/ 2147483646 h 832"/>
                <a:gd name="T44" fmla="*/ 2147483646 w 648"/>
                <a:gd name="T45" fmla="*/ 2147483646 h 832"/>
                <a:gd name="T46" fmla="*/ 2147483646 w 648"/>
                <a:gd name="T47" fmla="*/ 2147483646 h 832"/>
                <a:gd name="T48" fmla="*/ 2147483646 w 648"/>
                <a:gd name="T49" fmla="*/ 2147483646 h 832"/>
                <a:gd name="T50" fmla="*/ 2147483646 w 648"/>
                <a:gd name="T51" fmla="*/ 2147483646 h 832"/>
                <a:gd name="T52" fmla="*/ 2147483646 w 648"/>
                <a:gd name="T53" fmla="*/ 2147483646 h 832"/>
                <a:gd name="T54" fmla="*/ 2147483646 w 648"/>
                <a:gd name="T55" fmla="*/ 2147483646 h 832"/>
                <a:gd name="T56" fmla="*/ 2147483646 w 648"/>
                <a:gd name="T57" fmla="*/ 2147483646 h 832"/>
                <a:gd name="T58" fmla="*/ 2147483646 w 648"/>
                <a:gd name="T59" fmla="*/ 2147483646 h 832"/>
                <a:gd name="T60" fmla="*/ 2147483646 w 648"/>
                <a:gd name="T61" fmla="*/ 2147483646 h 832"/>
                <a:gd name="T62" fmla="*/ 2147483646 w 648"/>
                <a:gd name="T63" fmla="*/ 2147483646 h 832"/>
                <a:gd name="T64" fmla="*/ 2147483646 w 648"/>
                <a:gd name="T65" fmla="*/ 2147483646 h 8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832"/>
                <a:gd name="T101" fmla="*/ 648 w 648"/>
                <a:gd name="T102" fmla="*/ 832 h 8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832">
                  <a:moveTo>
                    <a:pt x="0" y="608"/>
                  </a:moveTo>
                  <a:lnTo>
                    <a:pt x="56" y="648"/>
                  </a:lnTo>
                  <a:lnTo>
                    <a:pt x="88" y="632"/>
                  </a:lnTo>
                  <a:lnTo>
                    <a:pt x="200" y="616"/>
                  </a:lnTo>
                  <a:lnTo>
                    <a:pt x="240" y="656"/>
                  </a:lnTo>
                  <a:lnTo>
                    <a:pt x="264" y="648"/>
                  </a:lnTo>
                  <a:lnTo>
                    <a:pt x="352" y="688"/>
                  </a:lnTo>
                  <a:lnTo>
                    <a:pt x="360" y="728"/>
                  </a:lnTo>
                  <a:lnTo>
                    <a:pt x="400" y="736"/>
                  </a:lnTo>
                  <a:lnTo>
                    <a:pt x="464" y="808"/>
                  </a:lnTo>
                  <a:lnTo>
                    <a:pt x="528" y="808"/>
                  </a:lnTo>
                  <a:lnTo>
                    <a:pt x="576" y="832"/>
                  </a:lnTo>
                  <a:lnTo>
                    <a:pt x="592" y="784"/>
                  </a:lnTo>
                  <a:lnTo>
                    <a:pt x="560" y="712"/>
                  </a:lnTo>
                  <a:lnTo>
                    <a:pt x="592" y="672"/>
                  </a:lnTo>
                  <a:lnTo>
                    <a:pt x="632" y="656"/>
                  </a:lnTo>
                  <a:lnTo>
                    <a:pt x="624" y="608"/>
                  </a:lnTo>
                  <a:lnTo>
                    <a:pt x="560" y="544"/>
                  </a:lnTo>
                  <a:lnTo>
                    <a:pt x="616" y="536"/>
                  </a:lnTo>
                  <a:lnTo>
                    <a:pt x="648" y="472"/>
                  </a:lnTo>
                  <a:lnTo>
                    <a:pt x="616" y="448"/>
                  </a:lnTo>
                  <a:lnTo>
                    <a:pt x="640" y="408"/>
                  </a:lnTo>
                  <a:lnTo>
                    <a:pt x="632" y="376"/>
                  </a:lnTo>
                  <a:lnTo>
                    <a:pt x="592" y="368"/>
                  </a:lnTo>
                  <a:lnTo>
                    <a:pt x="552" y="312"/>
                  </a:lnTo>
                  <a:lnTo>
                    <a:pt x="528" y="312"/>
                  </a:lnTo>
                  <a:lnTo>
                    <a:pt x="512" y="280"/>
                  </a:lnTo>
                  <a:lnTo>
                    <a:pt x="568" y="248"/>
                  </a:lnTo>
                  <a:lnTo>
                    <a:pt x="568" y="216"/>
                  </a:lnTo>
                  <a:lnTo>
                    <a:pt x="600" y="208"/>
                  </a:lnTo>
                  <a:lnTo>
                    <a:pt x="592" y="168"/>
                  </a:lnTo>
                  <a:lnTo>
                    <a:pt x="552" y="128"/>
                  </a:lnTo>
                  <a:lnTo>
                    <a:pt x="496" y="136"/>
                  </a:lnTo>
                  <a:lnTo>
                    <a:pt x="464" y="96"/>
                  </a:lnTo>
                  <a:lnTo>
                    <a:pt x="424" y="96"/>
                  </a:lnTo>
                  <a:lnTo>
                    <a:pt x="432" y="40"/>
                  </a:lnTo>
                  <a:lnTo>
                    <a:pt x="352" y="0"/>
                  </a:lnTo>
                  <a:lnTo>
                    <a:pt x="320" y="24"/>
                  </a:lnTo>
                  <a:lnTo>
                    <a:pt x="264" y="40"/>
                  </a:lnTo>
                  <a:lnTo>
                    <a:pt x="256" y="72"/>
                  </a:lnTo>
                  <a:lnTo>
                    <a:pt x="272" y="120"/>
                  </a:lnTo>
                  <a:lnTo>
                    <a:pt x="264" y="152"/>
                  </a:lnTo>
                  <a:lnTo>
                    <a:pt x="240" y="168"/>
                  </a:lnTo>
                  <a:lnTo>
                    <a:pt x="216" y="168"/>
                  </a:lnTo>
                  <a:lnTo>
                    <a:pt x="208" y="184"/>
                  </a:lnTo>
                  <a:lnTo>
                    <a:pt x="200" y="200"/>
                  </a:lnTo>
                  <a:lnTo>
                    <a:pt x="192" y="208"/>
                  </a:lnTo>
                  <a:lnTo>
                    <a:pt x="192" y="232"/>
                  </a:lnTo>
                  <a:lnTo>
                    <a:pt x="184" y="240"/>
                  </a:lnTo>
                  <a:lnTo>
                    <a:pt x="184" y="264"/>
                  </a:lnTo>
                  <a:lnTo>
                    <a:pt x="168" y="296"/>
                  </a:lnTo>
                  <a:lnTo>
                    <a:pt x="152" y="312"/>
                  </a:lnTo>
                  <a:lnTo>
                    <a:pt x="128" y="328"/>
                  </a:lnTo>
                  <a:lnTo>
                    <a:pt x="112" y="344"/>
                  </a:lnTo>
                  <a:lnTo>
                    <a:pt x="96" y="360"/>
                  </a:lnTo>
                  <a:lnTo>
                    <a:pt x="88" y="376"/>
                  </a:lnTo>
                  <a:lnTo>
                    <a:pt x="104" y="400"/>
                  </a:lnTo>
                  <a:lnTo>
                    <a:pt x="96" y="424"/>
                  </a:lnTo>
                  <a:lnTo>
                    <a:pt x="80" y="448"/>
                  </a:lnTo>
                  <a:lnTo>
                    <a:pt x="56" y="448"/>
                  </a:lnTo>
                  <a:lnTo>
                    <a:pt x="72" y="480"/>
                  </a:lnTo>
                  <a:lnTo>
                    <a:pt x="40" y="504"/>
                  </a:lnTo>
                  <a:lnTo>
                    <a:pt x="24" y="520"/>
                  </a:lnTo>
                  <a:lnTo>
                    <a:pt x="8" y="544"/>
                  </a:lnTo>
                  <a:lnTo>
                    <a:pt x="0" y="568"/>
                  </a:lnTo>
                  <a:lnTo>
                    <a:pt x="32" y="576"/>
                  </a:lnTo>
                  <a:lnTo>
                    <a:pt x="0" y="608"/>
                  </a:lnTo>
                  <a:close/>
                </a:path>
              </a:pathLst>
            </a:custGeom>
            <a:grpFill/>
            <a:ln w="9525">
              <a:solidFill>
                <a:schemeClr val="bg1"/>
              </a:solidFill>
              <a:round/>
              <a:headEnd/>
              <a:tailEnd/>
            </a:ln>
          </p:spPr>
          <p:txBody>
            <a:bodyPr/>
            <a:lstStyle/>
            <a:p>
              <a:endParaRPr lang="en-US"/>
            </a:p>
          </p:txBody>
        </p:sp>
        <p:sp>
          <p:nvSpPr>
            <p:cNvPr id="144" name="Freeform 44"/>
            <p:cNvSpPr>
              <a:spLocks/>
            </p:cNvSpPr>
            <p:nvPr/>
          </p:nvSpPr>
          <p:spPr bwMode="auto">
            <a:xfrm>
              <a:off x="3603061" y="4319010"/>
              <a:ext cx="651583" cy="651584"/>
            </a:xfrm>
            <a:custGeom>
              <a:avLst/>
              <a:gdLst>
                <a:gd name="T0" fmla="*/ 2147483646 w 544"/>
                <a:gd name="T1" fmla="*/ 2147483646 h 544"/>
                <a:gd name="T2" fmla="*/ 2147483646 w 544"/>
                <a:gd name="T3" fmla="*/ 2147483646 h 544"/>
                <a:gd name="T4" fmla="*/ 2147483646 w 544"/>
                <a:gd name="T5" fmla="*/ 2147483646 h 544"/>
                <a:gd name="T6" fmla="*/ 2147483646 w 544"/>
                <a:gd name="T7" fmla="*/ 2147483646 h 544"/>
                <a:gd name="T8" fmla="*/ 2147483646 w 544"/>
                <a:gd name="T9" fmla="*/ 2147483646 h 544"/>
                <a:gd name="T10" fmla="*/ 2147483646 w 544"/>
                <a:gd name="T11" fmla="*/ 2147483646 h 544"/>
                <a:gd name="T12" fmla="*/ 2147483646 w 544"/>
                <a:gd name="T13" fmla="*/ 2147483646 h 544"/>
                <a:gd name="T14" fmla="*/ 2147483646 w 544"/>
                <a:gd name="T15" fmla="*/ 2147483646 h 544"/>
                <a:gd name="T16" fmla="*/ 2147483646 w 544"/>
                <a:gd name="T17" fmla="*/ 2147483646 h 544"/>
                <a:gd name="T18" fmla="*/ 2147483646 w 544"/>
                <a:gd name="T19" fmla="*/ 2147483646 h 544"/>
                <a:gd name="T20" fmla="*/ 2147483646 w 544"/>
                <a:gd name="T21" fmla="*/ 2147483646 h 544"/>
                <a:gd name="T22" fmla="*/ 2147483646 w 544"/>
                <a:gd name="T23" fmla="*/ 2147483646 h 544"/>
                <a:gd name="T24" fmla="*/ 2147483646 w 544"/>
                <a:gd name="T25" fmla="*/ 2147483646 h 544"/>
                <a:gd name="T26" fmla="*/ 2147483646 w 544"/>
                <a:gd name="T27" fmla="*/ 2147483646 h 544"/>
                <a:gd name="T28" fmla="*/ 2147483646 w 544"/>
                <a:gd name="T29" fmla="*/ 2147483646 h 544"/>
                <a:gd name="T30" fmla="*/ 2147483646 w 544"/>
                <a:gd name="T31" fmla="*/ 2147483646 h 544"/>
                <a:gd name="T32" fmla="*/ 2147483646 w 544"/>
                <a:gd name="T33" fmla="*/ 2147483646 h 544"/>
                <a:gd name="T34" fmla="*/ 2147483646 w 544"/>
                <a:gd name="T35" fmla="*/ 0 h 544"/>
                <a:gd name="T36" fmla="*/ 2147483646 w 544"/>
                <a:gd name="T37" fmla="*/ 2147483646 h 544"/>
                <a:gd name="T38" fmla="*/ 2147483646 w 544"/>
                <a:gd name="T39" fmla="*/ 2147483646 h 544"/>
                <a:gd name="T40" fmla="*/ 2147483646 w 544"/>
                <a:gd name="T41" fmla="*/ 2147483646 h 544"/>
                <a:gd name="T42" fmla="*/ 2147483646 w 544"/>
                <a:gd name="T43" fmla="*/ 2147483646 h 544"/>
                <a:gd name="T44" fmla="*/ 2147483646 w 544"/>
                <a:gd name="T45" fmla="*/ 2147483646 h 544"/>
                <a:gd name="T46" fmla="*/ 2147483646 w 544"/>
                <a:gd name="T47" fmla="*/ 2147483646 h 544"/>
                <a:gd name="T48" fmla="*/ 0 w 544"/>
                <a:gd name="T49" fmla="*/ 2147483646 h 544"/>
                <a:gd name="T50" fmla="*/ 2147483646 w 544"/>
                <a:gd name="T51" fmla="*/ 2147483646 h 544"/>
                <a:gd name="T52" fmla="*/ 2147483646 w 544"/>
                <a:gd name="T53" fmla="*/ 2147483646 h 544"/>
                <a:gd name="T54" fmla="*/ 2147483646 w 544"/>
                <a:gd name="T55" fmla="*/ 2147483646 h 544"/>
                <a:gd name="T56" fmla="*/ 2147483646 w 544"/>
                <a:gd name="T57" fmla="*/ 2147483646 h 544"/>
                <a:gd name="T58" fmla="*/ 2147483646 w 544"/>
                <a:gd name="T59" fmla="*/ 2147483646 h 544"/>
                <a:gd name="T60" fmla="*/ 2147483646 w 544"/>
                <a:gd name="T61" fmla="*/ 2147483646 h 544"/>
                <a:gd name="T62" fmla="*/ 2147483646 w 544"/>
                <a:gd name="T63" fmla="*/ 2147483646 h 544"/>
                <a:gd name="T64" fmla="*/ 2147483646 w 544"/>
                <a:gd name="T65" fmla="*/ 2147483646 h 544"/>
                <a:gd name="T66" fmla="*/ 2147483646 w 544"/>
                <a:gd name="T67" fmla="*/ 2147483646 h 544"/>
                <a:gd name="T68" fmla="*/ 2147483646 w 544"/>
                <a:gd name="T69" fmla="*/ 2147483646 h 544"/>
                <a:gd name="T70" fmla="*/ 2147483646 w 544"/>
                <a:gd name="T71" fmla="*/ 2147483646 h 544"/>
                <a:gd name="T72" fmla="*/ 2147483646 w 544"/>
                <a:gd name="T73" fmla="*/ 2147483646 h 5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4"/>
                <a:gd name="T112" fmla="*/ 0 h 544"/>
                <a:gd name="T113" fmla="*/ 544 w 544"/>
                <a:gd name="T114" fmla="*/ 544 h 5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4" h="544">
                  <a:moveTo>
                    <a:pt x="368" y="544"/>
                  </a:moveTo>
                  <a:lnTo>
                    <a:pt x="400" y="504"/>
                  </a:lnTo>
                  <a:lnTo>
                    <a:pt x="488" y="496"/>
                  </a:lnTo>
                  <a:lnTo>
                    <a:pt x="504" y="464"/>
                  </a:lnTo>
                  <a:lnTo>
                    <a:pt x="544" y="456"/>
                  </a:lnTo>
                  <a:lnTo>
                    <a:pt x="496" y="392"/>
                  </a:lnTo>
                  <a:lnTo>
                    <a:pt x="528" y="384"/>
                  </a:lnTo>
                  <a:lnTo>
                    <a:pt x="520" y="344"/>
                  </a:lnTo>
                  <a:lnTo>
                    <a:pt x="464" y="328"/>
                  </a:lnTo>
                  <a:lnTo>
                    <a:pt x="448" y="248"/>
                  </a:lnTo>
                  <a:lnTo>
                    <a:pt x="400" y="264"/>
                  </a:lnTo>
                  <a:lnTo>
                    <a:pt x="392" y="232"/>
                  </a:lnTo>
                  <a:lnTo>
                    <a:pt x="352" y="224"/>
                  </a:lnTo>
                  <a:lnTo>
                    <a:pt x="360" y="160"/>
                  </a:lnTo>
                  <a:lnTo>
                    <a:pt x="320" y="136"/>
                  </a:lnTo>
                  <a:lnTo>
                    <a:pt x="320" y="72"/>
                  </a:lnTo>
                  <a:lnTo>
                    <a:pt x="288" y="40"/>
                  </a:lnTo>
                  <a:lnTo>
                    <a:pt x="224" y="0"/>
                  </a:lnTo>
                  <a:lnTo>
                    <a:pt x="184" y="72"/>
                  </a:lnTo>
                  <a:lnTo>
                    <a:pt x="104" y="32"/>
                  </a:lnTo>
                  <a:lnTo>
                    <a:pt x="64" y="32"/>
                  </a:lnTo>
                  <a:lnTo>
                    <a:pt x="48" y="48"/>
                  </a:lnTo>
                  <a:lnTo>
                    <a:pt x="16" y="32"/>
                  </a:lnTo>
                  <a:lnTo>
                    <a:pt x="8" y="64"/>
                  </a:lnTo>
                  <a:lnTo>
                    <a:pt x="0" y="120"/>
                  </a:lnTo>
                  <a:lnTo>
                    <a:pt x="64" y="176"/>
                  </a:lnTo>
                  <a:lnTo>
                    <a:pt x="32" y="224"/>
                  </a:lnTo>
                  <a:lnTo>
                    <a:pt x="112" y="304"/>
                  </a:lnTo>
                  <a:lnTo>
                    <a:pt x="104" y="368"/>
                  </a:lnTo>
                  <a:lnTo>
                    <a:pt x="160" y="384"/>
                  </a:lnTo>
                  <a:lnTo>
                    <a:pt x="160" y="480"/>
                  </a:lnTo>
                  <a:lnTo>
                    <a:pt x="192" y="480"/>
                  </a:lnTo>
                  <a:lnTo>
                    <a:pt x="224" y="520"/>
                  </a:lnTo>
                  <a:lnTo>
                    <a:pt x="224" y="544"/>
                  </a:lnTo>
                  <a:lnTo>
                    <a:pt x="304" y="544"/>
                  </a:lnTo>
                  <a:lnTo>
                    <a:pt x="328" y="528"/>
                  </a:lnTo>
                  <a:lnTo>
                    <a:pt x="368" y="544"/>
                  </a:lnTo>
                  <a:close/>
                </a:path>
              </a:pathLst>
            </a:custGeom>
            <a:grpFill/>
            <a:ln w="9525">
              <a:solidFill>
                <a:schemeClr val="bg1"/>
              </a:solidFill>
              <a:round/>
              <a:headEnd/>
              <a:tailEnd/>
            </a:ln>
          </p:spPr>
          <p:txBody>
            <a:bodyPr/>
            <a:lstStyle/>
            <a:p>
              <a:endParaRPr lang="en-US"/>
            </a:p>
          </p:txBody>
        </p:sp>
        <p:sp>
          <p:nvSpPr>
            <p:cNvPr id="145" name="Freeform 43"/>
            <p:cNvSpPr>
              <a:spLocks/>
            </p:cNvSpPr>
            <p:nvPr/>
          </p:nvSpPr>
          <p:spPr bwMode="auto">
            <a:xfrm>
              <a:off x="1852306" y="2260811"/>
              <a:ext cx="804896" cy="632418"/>
            </a:xfrm>
            <a:custGeom>
              <a:avLst/>
              <a:gdLst>
                <a:gd name="T0" fmla="*/ 0 w 672"/>
                <a:gd name="T1" fmla="*/ 2147483646 h 528"/>
                <a:gd name="T2" fmla="*/ 2147483646 w 672"/>
                <a:gd name="T3" fmla="*/ 2147483646 h 528"/>
                <a:gd name="T4" fmla="*/ 2147483646 w 672"/>
                <a:gd name="T5" fmla="*/ 2147483646 h 528"/>
                <a:gd name="T6" fmla="*/ 2147483646 w 672"/>
                <a:gd name="T7" fmla="*/ 2147483646 h 528"/>
                <a:gd name="T8" fmla="*/ 2147483646 w 672"/>
                <a:gd name="T9" fmla="*/ 2147483646 h 528"/>
                <a:gd name="T10" fmla="*/ 2147483646 w 672"/>
                <a:gd name="T11" fmla="*/ 2147483646 h 528"/>
                <a:gd name="T12" fmla="*/ 2147483646 w 672"/>
                <a:gd name="T13" fmla="*/ 2147483646 h 528"/>
                <a:gd name="T14" fmla="*/ 2147483646 w 672"/>
                <a:gd name="T15" fmla="*/ 2147483646 h 528"/>
                <a:gd name="T16" fmla="*/ 2147483646 w 672"/>
                <a:gd name="T17" fmla="*/ 2147483646 h 528"/>
                <a:gd name="T18" fmla="*/ 2147483646 w 672"/>
                <a:gd name="T19" fmla="*/ 2147483646 h 528"/>
                <a:gd name="T20" fmla="*/ 2147483646 w 672"/>
                <a:gd name="T21" fmla="*/ 2147483646 h 528"/>
                <a:gd name="T22" fmla="*/ 2147483646 w 672"/>
                <a:gd name="T23" fmla="*/ 2147483646 h 528"/>
                <a:gd name="T24" fmla="*/ 2147483646 w 672"/>
                <a:gd name="T25" fmla="*/ 2147483646 h 528"/>
                <a:gd name="T26" fmla="*/ 2147483646 w 672"/>
                <a:gd name="T27" fmla="*/ 2147483646 h 528"/>
                <a:gd name="T28" fmla="*/ 2147483646 w 672"/>
                <a:gd name="T29" fmla="*/ 2147483646 h 528"/>
                <a:gd name="T30" fmla="*/ 2147483646 w 672"/>
                <a:gd name="T31" fmla="*/ 2147483646 h 528"/>
                <a:gd name="T32" fmla="*/ 2147483646 w 672"/>
                <a:gd name="T33" fmla="*/ 2147483646 h 528"/>
                <a:gd name="T34" fmla="*/ 2147483646 w 672"/>
                <a:gd name="T35" fmla="*/ 2147483646 h 528"/>
                <a:gd name="T36" fmla="*/ 2147483646 w 672"/>
                <a:gd name="T37" fmla="*/ 2147483646 h 528"/>
                <a:gd name="T38" fmla="*/ 2147483646 w 672"/>
                <a:gd name="T39" fmla="*/ 2147483646 h 528"/>
                <a:gd name="T40" fmla="*/ 2147483646 w 672"/>
                <a:gd name="T41" fmla="*/ 2147483646 h 528"/>
                <a:gd name="T42" fmla="*/ 2147483646 w 672"/>
                <a:gd name="T43" fmla="*/ 2147483646 h 528"/>
                <a:gd name="T44" fmla="*/ 2147483646 w 672"/>
                <a:gd name="T45" fmla="*/ 2147483646 h 528"/>
                <a:gd name="T46" fmla="*/ 2147483646 w 672"/>
                <a:gd name="T47" fmla="*/ 2147483646 h 528"/>
                <a:gd name="T48" fmla="*/ 2147483646 w 672"/>
                <a:gd name="T49" fmla="*/ 2147483646 h 528"/>
                <a:gd name="T50" fmla="*/ 2147483646 w 672"/>
                <a:gd name="T51" fmla="*/ 2147483646 h 528"/>
                <a:gd name="T52" fmla="*/ 2147483646 w 672"/>
                <a:gd name="T53" fmla="*/ 2147483646 h 528"/>
                <a:gd name="T54" fmla="*/ 2147483646 w 672"/>
                <a:gd name="T55" fmla="*/ 2147483646 h 528"/>
                <a:gd name="T56" fmla="*/ 2147483646 w 672"/>
                <a:gd name="T57" fmla="*/ 2147483646 h 528"/>
                <a:gd name="T58" fmla="*/ 2147483646 w 672"/>
                <a:gd name="T59" fmla="*/ 2147483646 h 528"/>
                <a:gd name="T60" fmla="*/ 2147483646 w 672"/>
                <a:gd name="T61" fmla="*/ 2147483646 h 528"/>
                <a:gd name="T62" fmla="*/ 2147483646 w 672"/>
                <a:gd name="T63" fmla="*/ 2147483646 h 528"/>
                <a:gd name="T64" fmla="*/ 2147483646 w 672"/>
                <a:gd name="T65" fmla="*/ 2147483646 h 528"/>
                <a:gd name="T66" fmla="*/ 2147483646 w 672"/>
                <a:gd name="T67" fmla="*/ 0 h 528"/>
                <a:gd name="T68" fmla="*/ 2147483646 w 672"/>
                <a:gd name="T69" fmla="*/ 2147483646 h 528"/>
                <a:gd name="T70" fmla="*/ 2147483646 w 672"/>
                <a:gd name="T71" fmla="*/ 2147483646 h 528"/>
                <a:gd name="T72" fmla="*/ 2147483646 w 672"/>
                <a:gd name="T73" fmla="*/ 2147483646 h 528"/>
                <a:gd name="T74" fmla="*/ 2147483646 w 672"/>
                <a:gd name="T75" fmla="*/ 2147483646 h 528"/>
                <a:gd name="T76" fmla="*/ 2147483646 w 672"/>
                <a:gd name="T77" fmla="*/ 2147483646 h 528"/>
                <a:gd name="T78" fmla="*/ 2147483646 w 672"/>
                <a:gd name="T79" fmla="*/ 2147483646 h 528"/>
                <a:gd name="T80" fmla="*/ 2147483646 w 672"/>
                <a:gd name="T81" fmla="*/ 2147483646 h 528"/>
                <a:gd name="T82" fmla="*/ 2147483646 w 672"/>
                <a:gd name="T83" fmla="*/ 2147483646 h 528"/>
                <a:gd name="T84" fmla="*/ 2147483646 w 672"/>
                <a:gd name="T85" fmla="*/ 2147483646 h 528"/>
                <a:gd name="T86" fmla="*/ 2147483646 w 672"/>
                <a:gd name="T87" fmla="*/ 2147483646 h 528"/>
                <a:gd name="T88" fmla="*/ 2147483646 w 672"/>
                <a:gd name="T89" fmla="*/ 2147483646 h 528"/>
                <a:gd name="T90" fmla="*/ 2147483646 w 672"/>
                <a:gd name="T91" fmla="*/ 2147483646 h 528"/>
                <a:gd name="T92" fmla="*/ 2147483646 w 672"/>
                <a:gd name="T93" fmla="*/ 2147483646 h 528"/>
                <a:gd name="T94" fmla="*/ 2147483646 w 672"/>
                <a:gd name="T95" fmla="*/ 2147483646 h 528"/>
                <a:gd name="T96" fmla="*/ 2147483646 w 672"/>
                <a:gd name="T97" fmla="*/ 2147483646 h 528"/>
                <a:gd name="T98" fmla="*/ 2147483646 w 672"/>
                <a:gd name="T99" fmla="*/ 2147483646 h 528"/>
                <a:gd name="T100" fmla="*/ 2147483646 w 672"/>
                <a:gd name="T101" fmla="*/ 2147483646 h 528"/>
                <a:gd name="T102" fmla="*/ 2147483646 w 672"/>
                <a:gd name="T103" fmla="*/ 2147483646 h 528"/>
                <a:gd name="T104" fmla="*/ 0 w 672"/>
                <a:gd name="T105" fmla="*/ 2147483646 h 5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28"/>
                <a:gd name="T161" fmla="*/ 672 w 672"/>
                <a:gd name="T162" fmla="*/ 528 h 5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28">
                  <a:moveTo>
                    <a:pt x="0" y="320"/>
                  </a:moveTo>
                  <a:lnTo>
                    <a:pt x="80" y="360"/>
                  </a:lnTo>
                  <a:lnTo>
                    <a:pt x="72" y="416"/>
                  </a:lnTo>
                  <a:lnTo>
                    <a:pt x="112" y="416"/>
                  </a:lnTo>
                  <a:lnTo>
                    <a:pt x="144" y="456"/>
                  </a:lnTo>
                  <a:lnTo>
                    <a:pt x="200" y="448"/>
                  </a:lnTo>
                  <a:lnTo>
                    <a:pt x="240" y="488"/>
                  </a:lnTo>
                  <a:lnTo>
                    <a:pt x="336" y="456"/>
                  </a:lnTo>
                  <a:lnTo>
                    <a:pt x="320" y="488"/>
                  </a:lnTo>
                  <a:lnTo>
                    <a:pt x="352" y="488"/>
                  </a:lnTo>
                  <a:lnTo>
                    <a:pt x="408" y="528"/>
                  </a:lnTo>
                  <a:lnTo>
                    <a:pt x="440" y="488"/>
                  </a:lnTo>
                  <a:lnTo>
                    <a:pt x="440" y="480"/>
                  </a:lnTo>
                  <a:lnTo>
                    <a:pt x="376" y="480"/>
                  </a:lnTo>
                  <a:lnTo>
                    <a:pt x="376" y="440"/>
                  </a:lnTo>
                  <a:lnTo>
                    <a:pt x="408" y="432"/>
                  </a:lnTo>
                  <a:lnTo>
                    <a:pt x="400" y="384"/>
                  </a:lnTo>
                  <a:lnTo>
                    <a:pt x="448" y="336"/>
                  </a:lnTo>
                  <a:lnTo>
                    <a:pt x="512" y="368"/>
                  </a:lnTo>
                  <a:lnTo>
                    <a:pt x="520" y="304"/>
                  </a:lnTo>
                  <a:lnTo>
                    <a:pt x="544" y="264"/>
                  </a:lnTo>
                  <a:lnTo>
                    <a:pt x="472" y="256"/>
                  </a:lnTo>
                  <a:lnTo>
                    <a:pt x="480" y="224"/>
                  </a:lnTo>
                  <a:lnTo>
                    <a:pt x="632" y="200"/>
                  </a:lnTo>
                  <a:lnTo>
                    <a:pt x="672" y="128"/>
                  </a:lnTo>
                  <a:lnTo>
                    <a:pt x="624" y="112"/>
                  </a:lnTo>
                  <a:lnTo>
                    <a:pt x="624" y="72"/>
                  </a:lnTo>
                  <a:lnTo>
                    <a:pt x="592" y="96"/>
                  </a:lnTo>
                  <a:lnTo>
                    <a:pt x="568" y="80"/>
                  </a:lnTo>
                  <a:lnTo>
                    <a:pt x="536" y="80"/>
                  </a:lnTo>
                  <a:lnTo>
                    <a:pt x="520" y="56"/>
                  </a:lnTo>
                  <a:lnTo>
                    <a:pt x="488" y="16"/>
                  </a:lnTo>
                  <a:lnTo>
                    <a:pt x="464" y="16"/>
                  </a:lnTo>
                  <a:lnTo>
                    <a:pt x="448" y="0"/>
                  </a:lnTo>
                  <a:lnTo>
                    <a:pt x="424" y="24"/>
                  </a:lnTo>
                  <a:lnTo>
                    <a:pt x="416" y="56"/>
                  </a:lnTo>
                  <a:lnTo>
                    <a:pt x="384" y="88"/>
                  </a:lnTo>
                  <a:lnTo>
                    <a:pt x="352" y="64"/>
                  </a:lnTo>
                  <a:lnTo>
                    <a:pt x="344" y="96"/>
                  </a:lnTo>
                  <a:lnTo>
                    <a:pt x="320" y="96"/>
                  </a:lnTo>
                  <a:lnTo>
                    <a:pt x="304" y="136"/>
                  </a:lnTo>
                  <a:lnTo>
                    <a:pt x="256" y="152"/>
                  </a:lnTo>
                  <a:lnTo>
                    <a:pt x="280" y="184"/>
                  </a:lnTo>
                  <a:lnTo>
                    <a:pt x="240" y="184"/>
                  </a:lnTo>
                  <a:lnTo>
                    <a:pt x="216" y="216"/>
                  </a:lnTo>
                  <a:lnTo>
                    <a:pt x="168" y="224"/>
                  </a:lnTo>
                  <a:lnTo>
                    <a:pt x="136" y="200"/>
                  </a:lnTo>
                  <a:lnTo>
                    <a:pt x="112" y="200"/>
                  </a:lnTo>
                  <a:lnTo>
                    <a:pt x="104" y="232"/>
                  </a:lnTo>
                  <a:lnTo>
                    <a:pt x="80" y="248"/>
                  </a:lnTo>
                  <a:lnTo>
                    <a:pt x="56" y="232"/>
                  </a:lnTo>
                  <a:lnTo>
                    <a:pt x="24" y="264"/>
                  </a:lnTo>
                  <a:lnTo>
                    <a:pt x="0" y="320"/>
                  </a:lnTo>
                  <a:close/>
                </a:path>
              </a:pathLst>
            </a:custGeom>
            <a:grpFill/>
            <a:ln w="9525">
              <a:solidFill>
                <a:schemeClr val="bg1"/>
              </a:solidFill>
              <a:round/>
              <a:headEnd/>
              <a:tailEnd/>
            </a:ln>
          </p:spPr>
          <p:txBody>
            <a:bodyPr/>
            <a:lstStyle/>
            <a:p>
              <a:endParaRPr lang="en-US"/>
            </a:p>
          </p:txBody>
        </p:sp>
      </p:gr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1296" y="2715813"/>
            <a:ext cx="274320" cy="18288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0541" y="1491030"/>
            <a:ext cx="457200" cy="304800"/>
          </a:xfrm>
          <a:prstGeom prst="rect">
            <a:avLst/>
          </a:prstGeom>
        </p:spPr>
      </p:pic>
      <p:pic>
        <p:nvPicPr>
          <p:cNvPr id="146" name="Picture 1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94245" y="3923113"/>
            <a:ext cx="457200" cy="304800"/>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33665" y="2283167"/>
            <a:ext cx="457200" cy="151653"/>
          </a:xfrm>
          <a:prstGeom prst="rect">
            <a:avLst/>
          </a:prstGeom>
        </p:spPr>
      </p:pic>
      <p:pic>
        <p:nvPicPr>
          <p:cNvPr id="147" name="Picture 1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87157" y="1902334"/>
            <a:ext cx="457200" cy="151653"/>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5897" y="1787693"/>
            <a:ext cx="365760" cy="365760"/>
          </a:xfrm>
          <a:prstGeom prst="rect">
            <a:avLst/>
          </a:prstGeom>
        </p:spPr>
      </p:pic>
      <p:pic>
        <p:nvPicPr>
          <p:cNvPr id="148" name="Picture 1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59622" y="4017693"/>
            <a:ext cx="365760" cy="365760"/>
          </a:xfrm>
          <a:prstGeom prst="rect">
            <a:avLst/>
          </a:prstGeom>
        </p:spPr>
      </p:pic>
      <p:pic>
        <p:nvPicPr>
          <p:cNvPr id="149" name="Picture 1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15621" y="2604125"/>
            <a:ext cx="457200" cy="151653"/>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72165" y="4326582"/>
            <a:ext cx="365760" cy="243840"/>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76893" y="4182997"/>
            <a:ext cx="365760" cy="109319"/>
          </a:xfrm>
          <a:prstGeom prst="rect">
            <a:avLst/>
          </a:prstGeom>
        </p:spPr>
      </p:pic>
      <p:pic>
        <p:nvPicPr>
          <p:cNvPr id="11" name="Picture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42308" y="3698502"/>
            <a:ext cx="457200" cy="304800"/>
          </a:xfrm>
          <a:prstGeom prst="rect">
            <a:avLst/>
          </a:prstGeom>
        </p:spPr>
      </p:pic>
      <p:pic>
        <p:nvPicPr>
          <p:cNvPr id="150" name="Picture 14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55911" y="4140266"/>
            <a:ext cx="457200" cy="304800"/>
          </a:xfrm>
          <a:prstGeom prst="rect">
            <a:avLst/>
          </a:prstGeom>
        </p:spPr>
      </p:pic>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483661" y="2776805"/>
            <a:ext cx="365760" cy="365760"/>
          </a:xfrm>
          <a:prstGeom prst="rect">
            <a:avLst/>
          </a:prstGeom>
        </p:spPr>
      </p:pic>
      <p:pic>
        <p:nvPicPr>
          <p:cNvPr id="151" name="Picture 15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52596" y="4344313"/>
            <a:ext cx="365760" cy="365760"/>
          </a:xfrm>
          <a:prstGeom prst="rect">
            <a:avLst/>
          </a:prstGeom>
        </p:spPr>
      </p:pic>
      <p:pic>
        <p:nvPicPr>
          <p:cNvPr id="152" name="Picture 15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15409" y="2630063"/>
            <a:ext cx="365760" cy="365760"/>
          </a:xfrm>
          <a:prstGeom prst="rect">
            <a:avLst/>
          </a:prstGeom>
        </p:spPr>
      </p:pic>
      <p:pic>
        <p:nvPicPr>
          <p:cNvPr id="153" name="Picture 15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852343" y="1737563"/>
            <a:ext cx="365760" cy="365760"/>
          </a:xfrm>
          <a:prstGeom prst="rect">
            <a:avLst/>
          </a:prstGeom>
        </p:spPr>
      </p:pic>
      <p:pic>
        <p:nvPicPr>
          <p:cNvPr id="154" name="Picture 1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507625" y="2751601"/>
            <a:ext cx="274320" cy="182880"/>
          </a:xfrm>
          <a:prstGeom prst="rect">
            <a:avLst/>
          </a:prstGeom>
        </p:spPr>
      </p:pic>
      <p:pic>
        <p:nvPicPr>
          <p:cNvPr id="155" name="Picture 1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15235" y="4235142"/>
            <a:ext cx="274320" cy="182880"/>
          </a:xfrm>
          <a:prstGeom prst="rect">
            <a:avLst/>
          </a:prstGeom>
        </p:spPr>
      </p:pic>
      <p:pic>
        <p:nvPicPr>
          <p:cNvPr id="156" name="Picture 15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04329" y="1747748"/>
            <a:ext cx="274320" cy="182880"/>
          </a:xfrm>
          <a:prstGeom prst="rect">
            <a:avLst/>
          </a:prstGeom>
        </p:spPr>
      </p:pic>
      <p:pic>
        <p:nvPicPr>
          <p:cNvPr id="14" name="Picture 1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97406" y="2786349"/>
            <a:ext cx="365760" cy="243840"/>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852343" y="2000828"/>
            <a:ext cx="365760" cy="71417"/>
          </a:xfrm>
          <a:prstGeom prst="rect">
            <a:avLst/>
          </a:prstGeom>
        </p:spPr>
      </p:pic>
      <p:pic>
        <p:nvPicPr>
          <p:cNvPr id="16" name="Picture 1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419492" y="2557749"/>
            <a:ext cx="457200" cy="457200"/>
          </a:xfrm>
          <a:prstGeom prst="rect">
            <a:avLst/>
          </a:prstGeom>
        </p:spPr>
      </p:pic>
      <p:pic>
        <p:nvPicPr>
          <p:cNvPr id="17" name="Picture 1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682789" y="1543673"/>
            <a:ext cx="548640" cy="411480"/>
          </a:xfrm>
          <a:prstGeom prst="rect">
            <a:avLst/>
          </a:prstGeom>
        </p:spPr>
      </p:pic>
      <p:pic>
        <p:nvPicPr>
          <p:cNvPr id="18" name="Picture 1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162576" y="2785340"/>
            <a:ext cx="457200" cy="304800"/>
          </a:xfrm>
          <a:prstGeom prst="rect">
            <a:avLst/>
          </a:prstGeom>
        </p:spPr>
      </p:pic>
      <p:pic>
        <p:nvPicPr>
          <p:cNvPr id="157" name="Picture 15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568953" y="1402165"/>
            <a:ext cx="457200" cy="304800"/>
          </a:xfrm>
          <a:prstGeom prst="rect">
            <a:avLst/>
          </a:prstGeom>
        </p:spPr>
      </p:pic>
      <p:pic>
        <p:nvPicPr>
          <p:cNvPr id="158" name="Picture 15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833882" y="3942386"/>
            <a:ext cx="457200" cy="304800"/>
          </a:xfrm>
          <a:prstGeom prst="rect">
            <a:avLst/>
          </a:prstGeom>
        </p:spPr>
      </p:pic>
      <p:pic>
        <p:nvPicPr>
          <p:cNvPr id="160" name="Picture 15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952570" y="2918647"/>
            <a:ext cx="365760" cy="243840"/>
          </a:xfrm>
          <a:prstGeom prst="rect">
            <a:avLst/>
          </a:prstGeom>
        </p:spPr>
      </p:pic>
      <p:pic>
        <p:nvPicPr>
          <p:cNvPr id="20" name="Picture 1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301536" y="2995632"/>
            <a:ext cx="365760" cy="101956"/>
          </a:xfrm>
          <a:prstGeom prst="rect">
            <a:avLst/>
          </a:prstGeom>
        </p:spPr>
      </p:pic>
      <p:pic>
        <p:nvPicPr>
          <p:cNvPr id="21" name="Picture 20"/>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949182" y="2927067"/>
            <a:ext cx="457200" cy="457200"/>
          </a:xfrm>
          <a:prstGeom prst="rect">
            <a:avLst/>
          </a:prstGeom>
        </p:spPr>
      </p:pic>
      <p:pic>
        <p:nvPicPr>
          <p:cNvPr id="22" name="Picture 2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990511" y="3195921"/>
            <a:ext cx="457200" cy="158642"/>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350345" y="3853050"/>
            <a:ext cx="457200" cy="304800"/>
          </a:xfrm>
          <a:prstGeom prst="rect">
            <a:avLst/>
          </a:prstGeom>
        </p:spPr>
      </p:pic>
      <p:pic>
        <p:nvPicPr>
          <p:cNvPr id="161" name="Picture 160"/>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378046" y="3005656"/>
            <a:ext cx="457200" cy="304800"/>
          </a:xfrm>
          <a:prstGeom prst="rect">
            <a:avLst/>
          </a:prstGeom>
        </p:spPr>
      </p:pic>
      <p:pic>
        <p:nvPicPr>
          <p:cNvPr id="162" name="Picture 161"/>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697746" y="1992183"/>
            <a:ext cx="457200" cy="304800"/>
          </a:xfrm>
          <a:prstGeom prst="rect">
            <a:avLst/>
          </a:prstGeom>
        </p:spPr>
      </p:pic>
      <p:pic>
        <p:nvPicPr>
          <p:cNvPr id="24" name="Picture 2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122693" y="3268869"/>
            <a:ext cx="457200" cy="304800"/>
          </a:xfrm>
          <a:prstGeom prst="rect">
            <a:avLst/>
          </a:prstGeom>
        </p:spPr>
      </p:pic>
      <p:pic>
        <p:nvPicPr>
          <p:cNvPr id="163" name="Picture 162"/>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713913" y="2952060"/>
            <a:ext cx="457200" cy="304800"/>
          </a:xfrm>
          <a:prstGeom prst="rect">
            <a:avLst/>
          </a:prstGeom>
        </p:spPr>
      </p:pic>
      <p:pic>
        <p:nvPicPr>
          <p:cNvPr id="164" name="Picture 16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366858" y="2330113"/>
            <a:ext cx="457200" cy="304800"/>
          </a:xfrm>
          <a:prstGeom prst="rect">
            <a:avLst/>
          </a:prstGeom>
        </p:spPr>
      </p:pic>
      <p:pic>
        <p:nvPicPr>
          <p:cNvPr id="165" name="Picture 164"/>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968566" y="2242897"/>
            <a:ext cx="457200" cy="158642"/>
          </a:xfrm>
          <a:prstGeom prst="rect">
            <a:avLst/>
          </a:prstGeom>
        </p:spPr>
      </p:pic>
      <p:pic>
        <p:nvPicPr>
          <p:cNvPr id="25" name="Picture 2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212667" y="2074450"/>
            <a:ext cx="457200" cy="304800"/>
          </a:xfrm>
          <a:prstGeom prst="rect">
            <a:avLst/>
          </a:prstGeom>
        </p:spPr>
      </p:pic>
      <p:pic>
        <p:nvPicPr>
          <p:cNvPr id="27" name="Picture 26"/>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761297" y="2421028"/>
            <a:ext cx="365760" cy="96441"/>
          </a:xfrm>
          <a:prstGeom prst="rect">
            <a:avLst/>
          </a:prstGeom>
        </p:spPr>
      </p:pic>
      <p:pic>
        <p:nvPicPr>
          <p:cNvPr id="166" name="Picture 16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578945" y="3769896"/>
            <a:ext cx="365760" cy="96441"/>
          </a:xfrm>
          <a:prstGeom prst="rect">
            <a:avLst/>
          </a:prstGeom>
        </p:spPr>
      </p:pic>
      <p:pic>
        <p:nvPicPr>
          <p:cNvPr id="28" name="Picture 27"/>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791256" y="1794944"/>
            <a:ext cx="457200" cy="96705"/>
          </a:xfrm>
          <a:prstGeom prst="rect">
            <a:avLst/>
          </a:prstGeom>
        </p:spPr>
      </p:pic>
      <p:pic>
        <p:nvPicPr>
          <p:cNvPr id="30" name="Picture 29"/>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911435" y="2101725"/>
            <a:ext cx="457200" cy="304800"/>
          </a:xfrm>
          <a:prstGeom prst="rect">
            <a:avLst/>
          </a:prstGeom>
        </p:spPr>
      </p:pic>
      <p:pic>
        <p:nvPicPr>
          <p:cNvPr id="31" name="Picture 30"/>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972066" y="2776773"/>
            <a:ext cx="365760" cy="243840"/>
          </a:xfrm>
          <a:prstGeom prst="rect">
            <a:avLst/>
          </a:prstGeom>
        </p:spPr>
      </p:pic>
      <p:pic>
        <p:nvPicPr>
          <p:cNvPr id="167" name="Picture 166"/>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914562" y="2723326"/>
            <a:ext cx="365760" cy="243840"/>
          </a:xfrm>
          <a:prstGeom prst="rect">
            <a:avLst/>
          </a:prstGeom>
        </p:spPr>
      </p:pic>
      <p:pic>
        <p:nvPicPr>
          <p:cNvPr id="32" name="Picture 31"/>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543166" y="1324873"/>
            <a:ext cx="365760" cy="243840"/>
          </a:xfrm>
          <a:prstGeom prst="rect">
            <a:avLst/>
          </a:prstGeom>
        </p:spPr>
      </p:pic>
      <p:pic>
        <p:nvPicPr>
          <p:cNvPr id="168" name="Picture 167"/>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972338" y="3851626"/>
            <a:ext cx="365760" cy="243840"/>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702013" y="3064642"/>
            <a:ext cx="365760" cy="243840"/>
          </a:xfrm>
          <a:prstGeom prst="rect">
            <a:avLst/>
          </a:prstGeom>
        </p:spPr>
      </p:pic>
      <p:pic>
        <p:nvPicPr>
          <p:cNvPr id="169" name="Picture 168"/>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578881" y="3995175"/>
            <a:ext cx="365760" cy="243840"/>
          </a:xfrm>
          <a:prstGeom prst="rect">
            <a:avLst/>
          </a:prstGeom>
        </p:spPr>
      </p:pic>
      <p:pic>
        <p:nvPicPr>
          <p:cNvPr id="170" name="Picture 16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870079" y="3168347"/>
            <a:ext cx="365760" cy="243840"/>
          </a:xfrm>
          <a:prstGeom prst="rect">
            <a:avLst/>
          </a:prstGeom>
        </p:spPr>
      </p:pic>
      <p:pic>
        <p:nvPicPr>
          <p:cNvPr id="34" name="Picture 33"/>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553590" y="3271217"/>
            <a:ext cx="457200" cy="223594"/>
          </a:xfrm>
          <a:prstGeom prst="rect">
            <a:avLst/>
          </a:prstGeom>
        </p:spPr>
      </p:pic>
      <p:pic>
        <p:nvPicPr>
          <p:cNvPr id="35" name="Picture 34"/>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744370" y="2614885"/>
            <a:ext cx="457200" cy="304800"/>
          </a:xfrm>
          <a:prstGeom prst="rect">
            <a:avLst/>
          </a:prstGeom>
        </p:spPr>
      </p:pic>
      <p:pic>
        <p:nvPicPr>
          <p:cNvPr id="171" name="Picture 170"/>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174116" y="1347616"/>
            <a:ext cx="457200" cy="304800"/>
          </a:xfrm>
          <a:prstGeom prst="rect">
            <a:avLst/>
          </a:prstGeom>
        </p:spPr>
      </p:pic>
      <p:pic>
        <p:nvPicPr>
          <p:cNvPr id="172" name="Picture 171"/>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647888" y="2816293"/>
            <a:ext cx="457200" cy="304800"/>
          </a:xfrm>
          <a:prstGeom prst="rect">
            <a:avLst/>
          </a:prstGeom>
        </p:spPr>
      </p:pic>
      <p:pic>
        <p:nvPicPr>
          <p:cNvPr id="36" name="Picture 35"/>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793303" y="3010166"/>
            <a:ext cx="457200" cy="102239"/>
          </a:xfrm>
          <a:prstGeom prst="rect">
            <a:avLst/>
          </a:prstGeom>
        </p:spPr>
      </p:pic>
      <p:pic>
        <p:nvPicPr>
          <p:cNvPr id="37" name="Picture 36"/>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568512" y="3021831"/>
            <a:ext cx="182880" cy="183279"/>
          </a:xfrm>
          <a:prstGeom prst="rect">
            <a:avLst/>
          </a:prstGeom>
        </p:spPr>
      </p:pic>
      <p:pic>
        <p:nvPicPr>
          <p:cNvPr id="38" name="Picture 37"/>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6360915" y="1711109"/>
            <a:ext cx="365760" cy="90526"/>
          </a:xfrm>
          <a:prstGeom prst="rect">
            <a:avLst/>
          </a:prstGeom>
        </p:spPr>
      </p:pic>
      <p:pic>
        <p:nvPicPr>
          <p:cNvPr id="39" name="Picture 38"/>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5015409" y="2640150"/>
            <a:ext cx="365760" cy="94117"/>
          </a:xfrm>
          <a:prstGeom prst="rect">
            <a:avLst/>
          </a:prstGeom>
        </p:spPr>
      </p:pic>
      <p:pic>
        <p:nvPicPr>
          <p:cNvPr id="41" name="Picture 40"/>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4311079" y="2020907"/>
            <a:ext cx="365760" cy="123587"/>
          </a:xfrm>
          <a:prstGeom prst="rect">
            <a:avLst/>
          </a:prstGeom>
        </p:spPr>
      </p:pic>
      <p:pic>
        <p:nvPicPr>
          <p:cNvPr id="42" name="Picture 41"/>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410052" y="1844138"/>
            <a:ext cx="365760" cy="117302"/>
          </a:xfrm>
          <a:prstGeom prst="rect">
            <a:avLst/>
          </a:prstGeom>
        </p:spPr>
      </p:pic>
      <p:pic>
        <p:nvPicPr>
          <p:cNvPr id="43" name="Picture 42"/>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6951579" y="1784666"/>
            <a:ext cx="365760" cy="195682"/>
          </a:xfrm>
          <a:prstGeom prst="rect">
            <a:avLst/>
          </a:prstGeom>
        </p:spPr>
      </p:pic>
      <p:pic>
        <p:nvPicPr>
          <p:cNvPr id="45" name="Picture 44"/>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6494265" y="1739573"/>
            <a:ext cx="457200" cy="304800"/>
          </a:xfrm>
          <a:prstGeom prst="rect">
            <a:avLst/>
          </a:prstGeom>
        </p:spPr>
      </p:pic>
      <p:pic>
        <p:nvPicPr>
          <p:cNvPr id="173" name="Picture 172"/>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6639966" y="3784390"/>
            <a:ext cx="457200" cy="304800"/>
          </a:xfrm>
          <a:prstGeom prst="rect">
            <a:avLst/>
          </a:prstGeom>
        </p:spPr>
      </p:pic>
      <p:pic>
        <p:nvPicPr>
          <p:cNvPr id="174" name="Picture 173"/>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863340" y="4093668"/>
            <a:ext cx="457200" cy="304800"/>
          </a:xfrm>
          <a:prstGeom prst="rect">
            <a:avLst/>
          </a:prstGeom>
        </p:spPr>
      </p:pic>
      <p:pic>
        <p:nvPicPr>
          <p:cNvPr id="46" name="Picture 45"/>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6114054" y="4409480"/>
            <a:ext cx="365760" cy="125425"/>
          </a:xfrm>
          <a:prstGeom prst="rect">
            <a:avLst/>
          </a:prstGeom>
        </p:spPr>
      </p:pic>
      <p:pic>
        <p:nvPicPr>
          <p:cNvPr id="47" name="Picture 46"/>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5901788" y="3691149"/>
            <a:ext cx="457200" cy="304800"/>
          </a:xfrm>
          <a:prstGeom prst="rect">
            <a:avLst/>
          </a:prstGeom>
        </p:spPr>
      </p:pic>
      <p:pic>
        <p:nvPicPr>
          <p:cNvPr id="48" name="Picture 47"/>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6569443" y="4141908"/>
            <a:ext cx="457200" cy="304800"/>
          </a:xfrm>
          <a:prstGeom prst="rect">
            <a:avLst/>
          </a:prstGeom>
        </p:spPr>
      </p:pic>
      <p:pic>
        <p:nvPicPr>
          <p:cNvPr id="49" name="Picture 48"/>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6036956" y="3621984"/>
            <a:ext cx="365760" cy="243840"/>
          </a:xfrm>
          <a:prstGeom prst="rect">
            <a:avLst/>
          </a:prstGeom>
        </p:spPr>
      </p:pic>
      <p:pic>
        <p:nvPicPr>
          <p:cNvPr id="50" name="Picture 49"/>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6507994" y="3596114"/>
            <a:ext cx="365760" cy="196453"/>
          </a:xfrm>
          <a:prstGeom prst="rect">
            <a:avLst/>
          </a:prstGeom>
        </p:spPr>
      </p:pic>
      <p:pic>
        <p:nvPicPr>
          <p:cNvPr id="176" name="Picture 17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207457" y="1476622"/>
            <a:ext cx="457200" cy="304800"/>
          </a:xfrm>
          <a:prstGeom prst="rect">
            <a:avLst/>
          </a:prstGeom>
        </p:spPr>
      </p:pic>
      <p:pic>
        <p:nvPicPr>
          <p:cNvPr id="52" name="Picture 5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6422658" y="1754954"/>
            <a:ext cx="457200" cy="457200"/>
          </a:xfrm>
          <a:prstGeom prst="rect">
            <a:avLst/>
          </a:prstGeom>
        </p:spPr>
      </p:pic>
      <p:pic>
        <p:nvPicPr>
          <p:cNvPr id="53" name="Picture 52"/>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6941236" y="3984985"/>
            <a:ext cx="182880" cy="182880"/>
          </a:xfrm>
          <a:prstGeom prst="rect">
            <a:avLst/>
          </a:prstGeom>
        </p:spPr>
      </p:pic>
      <p:pic>
        <p:nvPicPr>
          <p:cNvPr id="54" name="Picture 53"/>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6973360" y="3688416"/>
            <a:ext cx="274320" cy="133388"/>
          </a:xfrm>
          <a:prstGeom prst="rect">
            <a:avLst/>
          </a:prstGeom>
        </p:spPr>
      </p:pic>
      <p:pic>
        <p:nvPicPr>
          <p:cNvPr id="56" name="Picture 55"/>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304338" y="3015512"/>
            <a:ext cx="457200" cy="457200"/>
          </a:xfrm>
          <a:prstGeom prst="rect">
            <a:avLst/>
          </a:prstGeom>
        </p:spPr>
      </p:pic>
      <p:pic>
        <p:nvPicPr>
          <p:cNvPr id="178" name="Picture 177"/>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5856411" y="2713314"/>
            <a:ext cx="457200" cy="457200"/>
          </a:xfrm>
          <a:prstGeom prst="rect">
            <a:avLst/>
          </a:prstGeom>
        </p:spPr>
      </p:pic>
      <p:pic>
        <p:nvPicPr>
          <p:cNvPr id="181" name="Picture 180"/>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6202157" y="1385458"/>
            <a:ext cx="365760" cy="54864"/>
          </a:xfrm>
          <a:prstGeom prst="rect">
            <a:avLst/>
          </a:prstGeom>
        </p:spPr>
      </p:pic>
      <p:pic>
        <p:nvPicPr>
          <p:cNvPr id="182" name="Picture 181"/>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6741123" y="2007684"/>
            <a:ext cx="182880" cy="182880"/>
          </a:xfrm>
          <a:prstGeom prst="rect">
            <a:avLst/>
          </a:prstGeom>
        </p:spPr>
      </p:pic>
      <p:pic>
        <p:nvPicPr>
          <p:cNvPr id="185" name="Picture 184"/>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6456758" y="1138627"/>
            <a:ext cx="365760" cy="365760"/>
          </a:xfrm>
          <a:prstGeom prst="rect">
            <a:avLst/>
          </a:prstGeom>
        </p:spPr>
      </p:pic>
      <p:pic>
        <p:nvPicPr>
          <p:cNvPr id="188" name="Picture 187"/>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5336096" y="3317848"/>
            <a:ext cx="365760" cy="92083"/>
          </a:xfrm>
          <a:prstGeom prst="rect">
            <a:avLst/>
          </a:prstGeom>
        </p:spPr>
      </p:pic>
    </p:spTree>
    <p:extLst>
      <p:ext uri="{BB962C8B-B14F-4D97-AF65-F5344CB8AC3E}">
        <p14:creationId xmlns:p14="http://schemas.microsoft.com/office/powerpoint/2010/main" val="3126013606"/>
      </p:ext>
    </p:extLst>
  </p:cSld>
  <p:clrMapOvr>
    <a:masterClrMapping/>
  </p:clrMapOvr>
  <p:transition>
    <p:fade thruBlk="1"/>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1"/>
            </p:custDataLst>
          </p:nvPr>
        </p:nvGraphicFramePr>
        <p:xfrm>
          <a:off x="85844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858442" y="1192"/>
                        <a:ext cx="1190" cy="1190"/>
                      </a:xfrm>
                      <a:prstGeom prst="rect">
                        <a:avLst/>
                      </a:prstGeom>
                    </p:spPr>
                  </p:pic>
                </p:oleObj>
              </mc:Fallback>
            </mc:AlternateContent>
          </a:graphicData>
        </a:graphic>
      </p:graphicFrame>
      <p:cxnSp>
        <p:nvCxnSpPr>
          <p:cNvPr id="12" name="Straight Connector 11"/>
          <p:cNvCxnSpPr/>
          <p:nvPr/>
        </p:nvCxnSpPr>
        <p:spPr>
          <a:xfrm>
            <a:off x="215998" y="2671436"/>
            <a:ext cx="8654615" cy="52"/>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62" name="Straight Connector 61"/>
          <p:cNvCxnSpPr/>
          <p:nvPr/>
        </p:nvCxnSpPr>
        <p:spPr>
          <a:xfrm flipV="1">
            <a:off x="215998" y="4101704"/>
            <a:ext cx="8654614" cy="0"/>
          </a:xfrm>
          <a:prstGeom prst="line">
            <a:avLst/>
          </a:prstGeom>
          <a:ln/>
        </p:spPr>
        <p:style>
          <a:lnRef idx="2">
            <a:schemeClr val="accent5"/>
          </a:lnRef>
          <a:fillRef idx="0">
            <a:schemeClr val="accent5"/>
          </a:fillRef>
          <a:effectRef idx="1">
            <a:schemeClr val="accent5"/>
          </a:effectRef>
          <a:fontRef idx="minor">
            <a:schemeClr val="tx1"/>
          </a:fontRef>
        </p:style>
      </p:cxnSp>
      <p:sp>
        <p:nvSpPr>
          <p:cNvPr id="65" name="Rectangle 64"/>
          <p:cNvSpPr/>
          <p:nvPr/>
        </p:nvSpPr>
        <p:spPr>
          <a:xfrm>
            <a:off x="1553290" y="747544"/>
            <a:ext cx="1613762" cy="310896"/>
          </a:xfrm>
          <a:prstGeom prst="rect">
            <a:avLst/>
          </a:prstGeom>
          <a:solidFill>
            <a:srgbClr val="2846A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a:solidFill>
                  <a:schemeClr val="bg1"/>
                </a:solidFill>
                <a:latin typeface="Cambria" panose="02040503050406030204" pitchFamily="18" charset="0"/>
                <a:cs typeface="Arial" pitchFamily="34" charset="0"/>
              </a:rPr>
              <a:t>INDUSTRY SIZE</a:t>
            </a:r>
          </a:p>
        </p:txBody>
      </p:sp>
      <p:sp>
        <p:nvSpPr>
          <p:cNvPr id="66" name="Rectangle 65"/>
          <p:cNvSpPr/>
          <p:nvPr/>
        </p:nvSpPr>
        <p:spPr>
          <a:xfrm>
            <a:off x="3321230" y="751323"/>
            <a:ext cx="1682496" cy="308750"/>
          </a:xfrm>
          <a:prstGeom prst="rect">
            <a:avLst/>
          </a:prstGeom>
          <a:solidFill>
            <a:srgbClr val="2846A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a:solidFill>
                  <a:schemeClr val="bg1"/>
                </a:solidFill>
                <a:latin typeface="Cambria" panose="02040503050406030204" pitchFamily="18" charset="0"/>
                <a:cs typeface="Arial" pitchFamily="34" charset="0"/>
              </a:rPr>
              <a:t>KEY PLAYERS</a:t>
            </a:r>
          </a:p>
        </p:txBody>
      </p:sp>
      <p:sp>
        <p:nvSpPr>
          <p:cNvPr id="67" name="Rectangle 66"/>
          <p:cNvSpPr/>
          <p:nvPr/>
        </p:nvSpPr>
        <p:spPr>
          <a:xfrm>
            <a:off x="6268462" y="755989"/>
            <a:ext cx="1682496" cy="308750"/>
          </a:xfrm>
          <a:prstGeom prst="rect">
            <a:avLst/>
          </a:prstGeom>
          <a:solidFill>
            <a:srgbClr val="2846A8"/>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o-RO" sz="1300" b="1" dirty="0">
                <a:solidFill>
                  <a:schemeClr val="bg1"/>
                </a:solidFill>
                <a:latin typeface="Cambria" panose="02040503050406030204" pitchFamily="18" charset="0"/>
                <a:cs typeface="Arial" pitchFamily="34" charset="0"/>
              </a:rPr>
              <a:t>NEW </a:t>
            </a:r>
            <a:r>
              <a:rPr lang="en-US" sz="1300" b="1" dirty="0">
                <a:solidFill>
                  <a:schemeClr val="bg1"/>
                </a:solidFill>
                <a:latin typeface="Cambria" panose="02040503050406030204" pitchFamily="18" charset="0"/>
                <a:cs typeface="Arial" pitchFamily="34" charset="0"/>
              </a:rPr>
              <a:t>KEY PROJECTS</a:t>
            </a:r>
          </a:p>
        </p:txBody>
      </p:sp>
      <p:sp>
        <p:nvSpPr>
          <p:cNvPr id="57" name="Title 7"/>
          <p:cNvSpPr txBox="1">
            <a:spLocks/>
          </p:cNvSpPr>
          <p:nvPr/>
        </p:nvSpPr>
        <p:spPr>
          <a:xfrm>
            <a:off x="-48125" y="150445"/>
            <a:ext cx="9143999" cy="635064"/>
          </a:xfrm>
          <a:prstGeom prst="rect">
            <a:avLst/>
          </a:prstGeom>
          <a:noFill/>
        </p:spPr>
        <p:txBody>
          <a:bodyPr vert="horz" lIns="0" tIns="0" rIns="0" bIns="0" rtlCol="0" anchor="ctr" anchorCtr="0">
            <a:noAutofit/>
          </a:bodyPr>
          <a:lstStyle>
            <a:lvl1pPr algn="l" defTabSz="914400" rtl="0" eaLnBrk="1" latinLnBrk="0" hangingPunct="1">
              <a:lnSpc>
                <a:spcPct val="93000"/>
              </a:lnSpc>
              <a:spcBef>
                <a:spcPct val="0"/>
              </a:spcBef>
              <a:buNone/>
              <a:defRPr sz="2700" b="0" kern="1200">
                <a:solidFill>
                  <a:schemeClr val="bg1"/>
                </a:solidFill>
                <a:latin typeface="+mj-lt"/>
                <a:ea typeface="+mj-ea"/>
                <a:cs typeface="+mj-cs"/>
              </a:defRPr>
            </a:lvl1pPr>
          </a:lstStyle>
          <a:p>
            <a:pPr algn="ctr"/>
            <a:r>
              <a:rPr lang="en-US" sz="2400" b="1" dirty="0">
                <a:solidFill>
                  <a:srgbClr val="2846A8"/>
                </a:solidFill>
                <a:latin typeface="Cambria" panose="02040503050406030204" pitchFamily="18" charset="0"/>
              </a:rPr>
              <a:t>Key facts for top tech oriented industries</a:t>
            </a:r>
          </a:p>
        </p:txBody>
      </p:sp>
      <p:cxnSp>
        <p:nvCxnSpPr>
          <p:cNvPr id="14" name="Straight Connector 13"/>
          <p:cNvCxnSpPr/>
          <p:nvPr/>
        </p:nvCxnSpPr>
        <p:spPr>
          <a:xfrm>
            <a:off x="1588906" y="4200289"/>
            <a:ext cx="0" cy="848758"/>
          </a:xfrm>
          <a:prstGeom prst="line">
            <a:avLst/>
          </a:prstGeom>
          <a:ln>
            <a:solidFill>
              <a:srgbClr val="2846A8"/>
            </a:solidFill>
          </a:ln>
        </p:spPr>
        <p:style>
          <a:lnRef idx="1">
            <a:schemeClr val="accent5"/>
          </a:lnRef>
          <a:fillRef idx="0">
            <a:schemeClr val="accent5"/>
          </a:fillRef>
          <a:effectRef idx="0">
            <a:schemeClr val="accent5"/>
          </a:effectRef>
          <a:fontRef idx="minor">
            <a:schemeClr val="tx1"/>
          </a:fontRef>
        </p:style>
      </p:cxnSp>
      <p:pic>
        <p:nvPicPr>
          <p:cNvPr id="480278" name="Picture 22" descr="http://actmedia.eu/images/articles/140725103230iar_log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32540" y="4826466"/>
            <a:ext cx="548640" cy="206884"/>
          </a:xfrm>
          <a:prstGeom prst="rect">
            <a:avLst/>
          </a:prstGeom>
          <a:noFill/>
          <a:extLst>
            <a:ext uri="{909E8E84-426E-40DD-AFC4-6F175D3DCCD1}">
              <a14:hiddenFill xmlns:a14="http://schemas.microsoft.com/office/drawing/2010/main">
                <a:solidFill>
                  <a:srgbClr val="FFFFFF"/>
                </a:solidFill>
              </a14:hiddenFill>
            </a:ext>
          </a:extLst>
        </p:spPr>
      </p:pic>
      <p:pic>
        <p:nvPicPr>
          <p:cNvPr id="480274" name="Picture 18" descr="http://www.coriolis-composites.com/tl_files/_media/images/Logos/New/logo-premium_aerotec.png"/>
          <p:cNvPicPr>
            <a:picLocks noChangeAspect="1" noChangeArrowheads="1"/>
          </p:cNvPicPr>
          <p:nvPr/>
        </p:nvPicPr>
        <p:blipFill rotWithShape="1">
          <a:blip r:embed="rId7">
            <a:extLst>
              <a:ext uri="{28A0092B-C50C-407E-A947-70E740481C1C}">
                <a14:useLocalDpi xmlns:a14="http://schemas.microsoft.com/office/drawing/2010/main" val="0"/>
              </a:ext>
            </a:extLst>
          </a:blip>
          <a:srcRect l="376" t="37310" r="-376" b="31179"/>
          <a:stretch/>
        </p:blipFill>
        <p:spPr bwMode="auto">
          <a:xfrm>
            <a:off x="3215273" y="4580559"/>
            <a:ext cx="914400" cy="185947"/>
          </a:xfrm>
          <a:prstGeom prst="rect">
            <a:avLst/>
          </a:prstGeom>
          <a:noFill/>
          <a:extLst>
            <a:ext uri="{909E8E84-426E-40DD-AFC4-6F175D3DCCD1}">
              <a14:hiddenFill xmlns:a14="http://schemas.microsoft.com/office/drawing/2010/main">
                <a:solidFill>
                  <a:srgbClr val="FFFFFF"/>
                </a:solidFill>
              </a14:hiddenFill>
            </a:ext>
          </a:extLst>
        </p:spPr>
      </p:pic>
      <p:pic>
        <p:nvPicPr>
          <p:cNvPr id="480270" name="Picture 14" descr="https://upload.wikimedia.org/wikipedia/commons/thumb/7/74/Airbus_Helicopters_logo_2014.svg/2000px-Airbus_Helicopters_logo_2014.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2473" y="4284810"/>
            <a:ext cx="731520" cy="183956"/>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p:cNvSpPr txBox="1"/>
          <p:nvPr/>
        </p:nvSpPr>
        <p:spPr>
          <a:xfrm>
            <a:off x="5199060" y="4322086"/>
            <a:ext cx="3695040" cy="629660"/>
          </a:xfrm>
          <a:prstGeom prst="rect">
            <a:avLst/>
          </a:prstGeom>
          <a:noFill/>
          <a:ln w="9525">
            <a:noFill/>
          </a:ln>
        </p:spPr>
        <p:txBody>
          <a:bodyPr wrap="square" lIns="0" tIns="0" rIns="0" bIns="0" rtlCol="0">
            <a:spAutoFit/>
          </a:bodyPr>
          <a:lstStyle/>
          <a:p>
            <a:pPr marL="214313" indent="-214313">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Premium </a:t>
            </a:r>
            <a:r>
              <a:rPr lang="en-US" sz="1100" dirty="0" err="1">
                <a:solidFill>
                  <a:srgbClr val="2846A8"/>
                </a:solidFill>
                <a:latin typeface="Cambria" panose="02040503050406030204" pitchFamily="18" charset="0"/>
                <a:cs typeface="Arial" pitchFamily="34" charset="0"/>
              </a:rPr>
              <a:t>Aerotec</a:t>
            </a:r>
            <a:r>
              <a:rPr lang="en-US" sz="1100" dirty="0">
                <a:solidFill>
                  <a:srgbClr val="2846A8"/>
                </a:solidFill>
                <a:latin typeface="Cambria" panose="02040503050406030204" pitchFamily="18" charset="0"/>
                <a:cs typeface="Arial" pitchFamily="34" charset="0"/>
              </a:rPr>
              <a:t> €100 M investment</a:t>
            </a:r>
          </a:p>
          <a:p>
            <a:pPr marL="214313" indent="-214313">
              <a:lnSpc>
                <a:spcPct val="93000"/>
              </a:lnSpc>
              <a:buClr>
                <a:srgbClr val="2846A8"/>
              </a:buClr>
              <a:buFont typeface="Wingdings" panose="05000000000000000000" pitchFamily="2" charset="2"/>
              <a:buChar char="ü"/>
            </a:pPr>
            <a:r>
              <a:rPr lang="en-US" sz="1100" dirty="0" err="1">
                <a:solidFill>
                  <a:srgbClr val="2846A8"/>
                </a:solidFill>
                <a:latin typeface="Cambria" panose="02040503050406030204" pitchFamily="18" charset="0"/>
                <a:cs typeface="Arial" pitchFamily="34" charset="0"/>
              </a:rPr>
              <a:t>Sonaca</a:t>
            </a:r>
            <a:r>
              <a:rPr lang="en-US" sz="1100" dirty="0">
                <a:solidFill>
                  <a:srgbClr val="2846A8"/>
                </a:solidFill>
                <a:latin typeface="Cambria" panose="02040503050406030204" pitchFamily="18" charset="0"/>
                <a:cs typeface="Arial" pitchFamily="34" charset="0"/>
              </a:rPr>
              <a:t> €100 M investment</a:t>
            </a:r>
          </a:p>
          <a:p>
            <a:pPr marL="214313" indent="-214313">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Airbus Helicopters €15 M investment</a:t>
            </a:r>
          </a:p>
          <a:p>
            <a:pPr marL="214313" indent="-214313">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UAC Europe €100 M investment</a:t>
            </a:r>
          </a:p>
        </p:txBody>
      </p:sp>
      <p:sp>
        <p:nvSpPr>
          <p:cNvPr id="86" name="Oval 85"/>
          <p:cNvSpPr/>
          <p:nvPr/>
        </p:nvSpPr>
        <p:spPr>
          <a:xfrm>
            <a:off x="1622582" y="4215040"/>
            <a:ext cx="1568587" cy="973302"/>
          </a:xfrm>
          <a:prstGeom prst="ellipse">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a:solidFill>
                  <a:srgbClr val="2846A8"/>
                </a:solidFill>
                <a:latin typeface="Cambria" panose="02040503050406030204" pitchFamily="18" charset="0"/>
                <a:cs typeface="Arial" pitchFamily="34" charset="0"/>
              </a:rPr>
              <a:t>€678.9 M</a:t>
            </a:r>
          </a:p>
        </p:txBody>
      </p:sp>
      <p:pic>
        <p:nvPicPr>
          <p:cNvPr id="480272" name="Picture 16" descr="http://www.sonaca.com/sites/all/themes/sonaca/images/logo-sonaca-grey.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86820" y="4445938"/>
            <a:ext cx="640080" cy="300097"/>
          </a:xfrm>
          <a:prstGeom prst="rect">
            <a:avLst/>
          </a:prstGeom>
          <a:noFill/>
          <a:extLst>
            <a:ext uri="{909E8E84-426E-40DD-AFC4-6F175D3DCCD1}">
              <a14:hiddenFill xmlns:a14="http://schemas.microsoft.com/office/drawing/2010/main">
                <a:solidFill>
                  <a:srgbClr val="FFFFFF"/>
                </a:solidFill>
              </a14:hiddenFill>
            </a:ext>
          </a:extLst>
        </p:spPr>
      </p:pic>
      <p:pic>
        <p:nvPicPr>
          <p:cNvPr id="480276" name="Picture 20" descr="http://www.universalalloy.com/images/biglog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05594" y="4875521"/>
            <a:ext cx="1005840" cy="194268"/>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34253" y="4148045"/>
            <a:ext cx="1772873" cy="186077"/>
          </a:xfrm>
          <a:prstGeom prst="rect">
            <a:avLst/>
          </a:prstGeom>
          <a:noFill/>
          <a:ln w="9525">
            <a:noFill/>
          </a:ln>
        </p:spPr>
        <p:txBody>
          <a:bodyPr wrap="square" lIns="0" tIns="0" rIns="0" bIns="0" rtlCol="0">
            <a:spAutoFit/>
          </a:bodyPr>
          <a:lstStyle/>
          <a:p>
            <a:pPr algn="ctr">
              <a:lnSpc>
                <a:spcPct val="93000"/>
              </a:lnSpc>
            </a:pPr>
            <a:r>
              <a:rPr lang="en-US" sz="1300" b="1" dirty="0">
                <a:solidFill>
                  <a:srgbClr val="2846A8"/>
                </a:solidFill>
                <a:latin typeface="Cambria" panose="02040503050406030204" pitchFamily="18" charset="0"/>
                <a:cs typeface="Arial" pitchFamily="34" charset="0"/>
              </a:rPr>
              <a:t>AEROSPACE</a:t>
            </a:r>
          </a:p>
        </p:txBody>
      </p:sp>
      <p:cxnSp>
        <p:nvCxnSpPr>
          <p:cNvPr id="72" name="Straight Connector 71"/>
          <p:cNvCxnSpPr/>
          <p:nvPr/>
        </p:nvCxnSpPr>
        <p:spPr>
          <a:xfrm>
            <a:off x="3167052" y="4200289"/>
            <a:ext cx="0" cy="848758"/>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153485" y="4200289"/>
            <a:ext cx="0" cy="848758"/>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pic>
        <p:nvPicPr>
          <p:cNvPr id="480262" name="Picture 6" descr="http://www.tcc.edu/uploads/images/pages/programs/icons/computer-science-icon.png"/>
          <p:cNvPicPr>
            <a:picLocks noChangeAspect="1" noChangeArrowheads="1"/>
          </p:cNvPicPr>
          <p:nvPr/>
        </p:nvPicPr>
        <p:blipFill>
          <a:blip r:embed="rId11" cstate="print">
            <a:biLevel thresh="25000"/>
            <a:extLst>
              <a:ext uri="{28A0092B-C50C-407E-A947-70E740481C1C}">
                <a14:useLocalDpi xmlns:a14="http://schemas.microsoft.com/office/drawing/2010/main" val="0"/>
              </a:ext>
            </a:extLst>
          </a:blip>
          <a:srcRect/>
          <a:stretch>
            <a:fillRect/>
          </a:stretch>
        </p:blipFill>
        <p:spPr bwMode="auto">
          <a:xfrm>
            <a:off x="359422" y="3086317"/>
            <a:ext cx="878313" cy="613659"/>
          </a:xfrm>
          <a:prstGeom prst="rect">
            <a:avLst/>
          </a:prstGeom>
          <a:noFill/>
          <a:extLst>
            <a:ext uri="{909E8E84-426E-40DD-AFC4-6F175D3DCCD1}">
              <a14:hiddenFill xmlns:a14="http://schemas.microsoft.com/office/drawing/2010/main">
                <a:solidFill>
                  <a:srgbClr val="FFFFFF"/>
                </a:solidFill>
              </a14:hiddenFill>
            </a:ext>
          </a:extLst>
        </p:spPr>
      </p:pic>
      <p:sp>
        <p:nvSpPr>
          <p:cNvPr id="87" name="Oval 86"/>
          <p:cNvSpPr/>
          <p:nvPr/>
        </p:nvSpPr>
        <p:spPr>
          <a:xfrm>
            <a:off x="1581266" y="2904127"/>
            <a:ext cx="1585784" cy="973302"/>
          </a:xfrm>
          <a:prstGeom prst="ellipse">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a:solidFill>
                  <a:srgbClr val="2846A8"/>
                </a:solidFill>
                <a:latin typeface="Cambria" panose="02040503050406030204" pitchFamily="18" charset="0"/>
                <a:cs typeface="Arial" pitchFamily="34" charset="0"/>
              </a:rPr>
              <a:t>€15.8 </a:t>
            </a:r>
            <a:r>
              <a:rPr lang="en-US" sz="1300" b="1" dirty="0" err="1">
                <a:solidFill>
                  <a:srgbClr val="2846A8"/>
                </a:solidFill>
                <a:latin typeface="Cambria" panose="02040503050406030204" pitchFamily="18" charset="0"/>
                <a:cs typeface="Arial" pitchFamily="34" charset="0"/>
              </a:rPr>
              <a:t>Bn</a:t>
            </a:r>
            <a:endParaRPr lang="en-US" sz="1300" b="1" dirty="0">
              <a:solidFill>
                <a:srgbClr val="2846A8"/>
              </a:solidFill>
              <a:latin typeface="Cambria" panose="02040503050406030204" pitchFamily="18" charset="0"/>
              <a:cs typeface="Arial" pitchFamily="34" charset="0"/>
            </a:endParaRPr>
          </a:p>
        </p:txBody>
      </p:sp>
      <p:sp>
        <p:nvSpPr>
          <p:cNvPr id="101" name="TextBox 100"/>
          <p:cNvSpPr txBox="1"/>
          <p:nvPr/>
        </p:nvSpPr>
        <p:spPr>
          <a:xfrm>
            <a:off x="5205192" y="2696179"/>
            <a:ext cx="3665135" cy="1416734"/>
          </a:xfrm>
          <a:prstGeom prst="rect">
            <a:avLst/>
          </a:prstGeom>
          <a:noFill/>
          <a:ln w="9525">
            <a:noFill/>
          </a:ln>
        </p:spPr>
        <p:txBody>
          <a:bodyPr wrap="square" lIns="0" tIns="0" rIns="0" bIns="0" rtlCol="0">
            <a:spAutoFit/>
          </a:bodyPr>
          <a:lstStyle/>
          <a:p>
            <a:pPr marL="214313" indent="-214313">
              <a:lnSpc>
                <a:spcPct val="93000"/>
              </a:lnSpc>
              <a:buClr>
                <a:srgbClr val="2846A8"/>
              </a:buClr>
              <a:buFont typeface="Wingdings" panose="05000000000000000000" pitchFamily="2" charset="2"/>
              <a:buChar char="ü"/>
            </a:pPr>
            <a:r>
              <a:rPr lang="ro-RO" sz="1100" dirty="0">
                <a:solidFill>
                  <a:srgbClr val="2846A8"/>
                </a:solidFill>
                <a:latin typeface="Cambria" panose="02040503050406030204" pitchFamily="18" charset="0"/>
                <a:cs typeface="Arial" pitchFamily="34" charset="0"/>
              </a:rPr>
              <a:t>Amazon </a:t>
            </a:r>
            <a:r>
              <a:rPr lang="en-US" sz="1100" dirty="0">
                <a:solidFill>
                  <a:srgbClr val="2846A8"/>
                </a:solidFill>
                <a:latin typeface="Cambria" panose="02040503050406030204" pitchFamily="18" charset="0"/>
                <a:cs typeface="Arial" pitchFamily="34" charset="0"/>
              </a:rPr>
              <a:t>€</a:t>
            </a:r>
            <a:r>
              <a:rPr lang="ro-RO" sz="1100" dirty="0">
                <a:solidFill>
                  <a:srgbClr val="2846A8"/>
                </a:solidFill>
                <a:latin typeface="Cambria" panose="02040503050406030204" pitchFamily="18" charset="0"/>
                <a:cs typeface="Arial" pitchFamily="34" charset="0"/>
              </a:rPr>
              <a:t>120 M new corporate office to develop i</a:t>
            </a:r>
            <a:r>
              <a:rPr lang="en-US" sz="1100" dirty="0" err="1">
                <a:solidFill>
                  <a:srgbClr val="2846A8"/>
                </a:solidFill>
                <a:latin typeface="Cambria" panose="02040503050406030204" pitchFamily="18" charset="0"/>
                <a:cs typeface="Arial" pitchFamily="34" charset="0"/>
              </a:rPr>
              <a:t>nnovations</a:t>
            </a:r>
            <a:r>
              <a:rPr lang="en-US" sz="1100" dirty="0">
                <a:solidFill>
                  <a:srgbClr val="2846A8"/>
                </a:solidFill>
                <a:latin typeface="Cambria" panose="02040503050406030204" pitchFamily="18" charset="0"/>
                <a:cs typeface="Arial" pitchFamily="34" charset="0"/>
              </a:rPr>
              <a:t> across areas like product safety, compliance, cloud computing, machine learning, and information security</a:t>
            </a:r>
            <a:r>
              <a:rPr lang="ro-RO" sz="1100" dirty="0">
                <a:solidFill>
                  <a:srgbClr val="2846A8"/>
                </a:solidFill>
                <a:latin typeface="Cambria" panose="02040503050406030204" pitchFamily="18" charset="0"/>
                <a:cs typeface="Arial" pitchFamily="34" charset="0"/>
              </a:rPr>
              <a:t> (2023)</a:t>
            </a:r>
          </a:p>
          <a:p>
            <a:pPr marL="214313" indent="-214313">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Siemens has opened a regional service hub in the field of energy, IT and cyber security</a:t>
            </a:r>
            <a:r>
              <a:rPr lang="ro-RO" sz="1100" dirty="0">
                <a:solidFill>
                  <a:srgbClr val="2846A8"/>
                </a:solidFill>
                <a:latin typeface="Cambria" panose="02040503050406030204" pitchFamily="18" charset="0"/>
                <a:cs typeface="Arial" pitchFamily="34" charset="0"/>
              </a:rPr>
              <a:t> (2022)</a:t>
            </a:r>
          </a:p>
          <a:p>
            <a:pPr marL="214313" indent="-214313">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Siemens software developers worked on the Mars Rover</a:t>
            </a:r>
          </a:p>
          <a:p>
            <a:pPr marL="214313" indent="-214313">
              <a:lnSpc>
                <a:spcPct val="93000"/>
              </a:lnSpc>
              <a:buClr>
                <a:srgbClr val="2846A8"/>
              </a:buClr>
              <a:buFont typeface="Wingdings" panose="05000000000000000000" pitchFamily="2" charset="2"/>
              <a:buChar char="ü"/>
            </a:pPr>
            <a:r>
              <a:rPr lang="ro-RO" sz="1100" dirty="0">
                <a:solidFill>
                  <a:srgbClr val="2846A8"/>
                </a:solidFill>
                <a:latin typeface="Cambria" panose="02040503050406030204" pitchFamily="18" charset="0"/>
                <a:cs typeface="Arial" pitchFamily="34" charset="0"/>
              </a:rPr>
              <a:t>Microsoft opened a Technology Development Center in Iasi (2020)</a:t>
            </a:r>
          </a:p>
        </p:txBody>
      </p:sp>
      <p:sp>
        <p:nvSpPr>
          <p:cNvPr id="59" name="TextBox 58"/>
          <p:cNvSpPr txBox="1"/>
          <p:nvPr/>
        </p:nvSpPr>
        <p:spPr>
          <a:xfrm>
            <a:off x="0" y="2801957"/>
            <a:ext cx="1600543" cy="186077"/>
          </a:xfrm>
          <a:prstGeom prst="rect">
            <a:avLst/>
          </a:prstGeom>
          <a:noFill/>
          <a:ln w="9525">
            <a:noFill/>
          </a:ln>
        </p:spPr>
        <p:txBody>
          <a:bodyPr wrap="square" lIns="0" tIns="0" rIns="0" bIns="0" rtlCol="0">
            <a:spAutoFit/>
          </a:bodyPr>
          <a:lstStyle/>
          <a:p>
            <a:pPr algn="ctr">
              <a:lnSpc>
                <a:spcPct val="93000"/>
              </a:lnSpc>
            </a:pPr>
            <a:r>
              <a:rPr lang="en-US" sz="1300" b="1" dirty="0">
                <a:solidFill>
                  <a:srgbClr val="2846A8"/>
                </a:solidFill>
                <a:latin typeface="Cambria" panose="02040503050406030204" pitchFamily="18" charset="0"/>
                <a:cs typeface="Arial" pitchFamily="34" charset="0"/>
              </a:rPr>
              <a:t>IT&amp;C</a:t>
            </a:r>
          </a:p>
        </p:txBody>
      </p:sp>
      <p:cxnSp>
        <p:nvCxnSpPr>
          <p:cNvPr id="68" name="Straight Connector 67"/>
          <p:cNvCxnSpPr/>
          <p:nvPr/>
        </p:nvCxnSpPr>
        <p:spPr>
          <a:xfrm>
            <a:off x="1590085" y="2902020"/>
            <a:ext cx="0" cy="848759"/>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3159993" y="2944661"/>
            <a:ext cx="0" cy="848759"/>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157492" y="2939339"/>
            <a:ext cx="0" cy="848759"/>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pic>
        <p:nvPicPr>
          <p:cNvPr id="480264" name="Picture 8" descr="http://www.freeiconspng.com/uploads/automotive-industry--patti-engineering-10.png"/>
          <p:cNvPicPr>
            <a:picLocks noChangeAspect="1" noChangeArrowheads="1"/>
          </p:cNvPicPr>
          <p:nvPr/>
        </p:nvPicPr>
        <p:blipFill>
          <a:blip r:embed="rId12" cstate="print">
            <a:biLevel thresh="75000"/>
            <a:extLst>
              <a:ext uri="{28A0092B-C50C-407E-A947-70E740481C1C}">
                <a14:useLocalDpi xmlns:a14="http://schemas.microsoft.com/office/drawing/2010/main" val="0"/>
              </a:ext>
            </a:extLst>
          </a:blip>
          <a:srcRect/>
          <a:stretch>
            <a:fillRect/>
          </a:stretch>
        </p:blipFill>
        <p:spPr bwMode="auto">
          <a:xfrm>
            <a:off x="403546" y="1663676"/>
            <a:ext cx="882309" cy="79524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4253" y="1518648"/>
            <a:ext cx="1757909" cy="186077"/>
          </a:xfrm>
          <a:prstGeom prst="rect">
            <a:avLst/>
          </a:prstGeom>
          <a:noFill/>
          <a:ln w="9525">
            <a:noFill/>
          </a:ln>
        </p:spPr>
        <p:txBody>
          <a:bodyPr wrap="square" lIns="0" tIns="0" rIns="0" bIns="0" rtlCol="0">
            <a:spAutoFit/>
          </a:bodyPr>
          <a:lstStyle/>
          <a:p>
            <a:pPr algn="ctr">
              <a:lnSpc>
                <a:spcPct val="93000"/>
              </a:lnSpc>
            </a:pPr>
            <a:r>
              <a:rPr lang="en-US" sz="1300" b="1" dirty="0">
                <a:solidFill>
                  <a:srgbClr val="2846A8"/>
                </a:solidFill>
                <a:latin typeface="Cambria" panose="02040503050406030204" pitchFamily="18" charset="0"/>
                <a:cs typeface="Arial" pitchFamily="34" charset="0"/>
              </a:rPr>
              <a:t>AUTOMOTIVE</a:t>
            </a:r>
          </a:p>
        </p:txBody>
      </p:sp>
      <p:sp>
        <p:nvSpPr>
          <p:cNvPr id="88" name="Oval 87"/>
          <p:cNvSpPr/>
          <p:nvPr/>
        </p:nvSpPr>
        <p:spPr>
          <a:xfrm>
            <a:off x="1600543" y="1412742"/>
            <a:ext cx="1515324" cy="973302"/>
          </a:xfrm>
          <a:prstGeom prst="ellipse">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b="1" dirty="0">
                <a:solidFill>
                  <a:srgbClr val="2846A8"/>
                </a:solidFill>
                <a:latin typeface="Cambria" panose="02040503050406030204" pitchFamily="18" charset="0"/>
                <a:cs typeface="Arial" pitchFamily="34" charset="0"/>
              </a:rPr>
              <a:t>€31 </a:t>
            </a:r>
            <a:r>
              <a:rPr lang="en-US" sz="1300" b="1" dirty="0" err="1">
                <a:solidFill>
                  <a:srgbClr val="2846A8"/>
                </a:solidFill>
                <a:latin typeface="Cambria" panose="02040503050406030204" pitchFamily="18" charset="0"/>
                <a:cs typeface="Arial" pitchFamily="34" charset="0"/>
              </a:rPr>
              <a:t>Bn</a:t>
            </a:r>
            <a:endParaRPr lang="en-US" sz="1300" b="1" dirty="0">
              <a:solidFill>
                <a:srgbClr val="2846A8"/>
              </a:solidFill>
              <a:latin typeface="Cambria" panose="02040503050406030204" pitchFamily="18" charset="0"/>
              <a:cs typeface="Arial" pitchFamily="34" charset="0"/>
            </a:endParaRPr>
          </a:p>
        </p:txBody>
      </p:sp>
      <p:sp>
        <p:nvSpPr>
          <p:cNvPr id="103" name="TextBox 102"/>
          <p:cNvSpPr txBox="1"/>
          <p:nvPr/>
        </p:nvSpPr>
        <p:spPr>
          <a:xfrm>
            <a:off x="5230147" y="1383785"/>
            <a:ext cx="3759126" cy="1101905"/>
          </a:xfrm>
          <a:prstGeom prst="rect">
            <a:avLst/>
          </a:prstGeom>
          <a:noFill/>
          <a:ln w="9525">
            <a:noFill/>
          </a:ln>
        </p:spPr>
        <p:txBody>
          <a:bodyPr wrap="square" lIns="0" tIns="0" rIns="0" bIns="0" rtlCol="0">
            <a:spAutoFit/>
          </a:bodyPr>
          <a:lstStyle/>
          <a:p>
            <a:pPr marL="173038" indent="-173038">
              <a:lnSpc>
                <a:spcPct val="93000"/>
              </a:lnSpc>
              <a:buClr>
                <a:srgbClr val="2846A8"/>
              </a:buClr>
              <a:buFont typeface="Wingdings" panose="05000000000000000000" pitchFamily="2" charset="2"/>
              <a:buChar char="ü"/>
            </a:pPr>
            <a:r>
              <a:rPr lang="ro-RO" sz="1100" dirty="0">
                <a:solidFill>
                  <a:srgbClr val="2846A8"/>
                </a:solidFill>
                <a:latin typeface="Cambria" panose="02040503050406030204" pitchFamily="18" charset="0"/>
                <a:cs typeface="Arial" pitchFamily="34" charset="0"/>
              </a:rPr>
              <a:t>Dacia </a:t>
            </a:r>
            <a:r>
              <a:rPr lang="en-US" sz="1100" dirty="0">
                <a:solidFill>
                  <a:srgbClr val="2846A8"/>
                </a:solidFill>
                <a:latin typeface="Cambria" panose="02040503050406030204" pitchFamily="18" charset="0"/>
                <a:cs typeface="Arial" pitchFamily="34" charset="0"/>
              </a:rPr>
              <a:t>€</a:t>
            </a:r>
            <a:r>
              <a:rPr lang="ro-RO" sz="1100" dirty="0">
                <a:solidFill>
                  <a:srgbClr val="2846A8"/>
                </a:solidFill>
                <a:latin typeface="Cambria" panose="02040503050406030204" pitchFamily="18" charset="0"/>
                <a:cs typeface="Arial" pitchFamily="34" charset="0"/>
              </a:rPr>
              <a:t>60 M project </a:t>
            </a:r>
            <a:r>
              <a:rPr lang="en-US" sz="1100" dirty="0">
                <a:solidFill>
                  <a:srgbClr val="2846A8"/>
                </a:solidFill>
                <a:latin typeface="Cambria" panose="02040503050406030204" pitchFamily="18" charset="0"/>
                <a:cs typeface="Arial" pitchFamily="34" charset="0"/>
              </a:rPr>
              <a:t>for the manufacture of a new model</a:t>
            </a:r>
          </a:p>
          <a:p>
            <a:pPr marL="173038" indent="-173038">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Ford </a:t>
            </a:r>
            <a:r>
              <a:rPr lang="ro-RO" sz="1100" dirty="0">
                <a:solidFill>
                  <a:srgbClr val="2846A8"/>
                </a:solidFill>
                <a:latin typeface="Cambria" panose="02040503050406030204" pitchFamily="18" charset="0"/>
                <a:cs typeface="Arial" pitchFamily="34" charset="0"/>
              </a:rPr>
              <a:t>Otosan </a:t>
            </a:r>
            <a:r>
              <a:rPr lang="en-US" sz="1100" dirty="0">
                <a:solidFill>
                  <a:srgbClr val="2846A8"/>
                </a:solidFill>
                <a:latin typeface="Cambria" panose="02040503050406030204" pitchFamily="18" charset="0"/>
                <a:cs typeface="Arial" pitchFamily="34" charset="0"/>
              </a:rPr>
              <a:t>€</a:t>
            </a:r>
            <a:r>
              <a:rPr lang="ro-RO" sz="1100" dirty="0">
                <a:solidFill>
                  <a:srgbClr val="2846A8"/>
                </a:solidFill>
                <a:latin typeface="Cambria" panose="02040503050406030204" pitchFamily="18" charset="0"/>
                <a:cs typeface="Arial" pitchFamily="34" charset="0"/>
              </a:rPr>
              <a:t>490</a:t>
            </a:r>
            <a:r>
              <a:rPr lang="en-US" sz="1100" dirty="0">
                <a:solidFill>
                  <a:srgbClr val="2846A8"/>
                </a:solidFill>
                <a:latin typeface="Cambria" panose="02040503050406030204" pitchFamily="18" charset="0"/>
                <a:cs typeface="Arial" pitchFamily="34" charset="0"/>
              </a:rPr>
              <a:t> M</a:t>
            </a:r>
            <a:r>
              <a:rPr lang="ro-RO" sz="1100" dirty="0">
                <a:solidFill>
                  <a:srgbClr val="2846A8"/>
                </a:solidFill>
                <a:latin typeface="Cambria" panose="02040503050406030204" pitchFamily="18" charset="0"/>
                <a:cs typeface="Arial" pitchFamily="34" charset="0"/>
              </a:rPr>
              <a:t> project</a:t>
            </a:r>
            <a:r>
              <a:rPr lang="en-US" sz="1100" dirty="0">
                <a:solidFill>
                  <a:srgbClr val="2846A8"/>
                </a:solidFill>
                <a:latin typeface="Cambria" panose="02040503050406030204" pitchFamily="18" charset="0"/>
                <a:cs typeface="Arial" pitchFamily="34" charset="0"/>
              </a:rPr>
              <a:t> </a:t>
            </a:r>
            <a:r>
              <a:rPr lang="ro-RO" sz="1100" dirty="0">
                <a:solidFill>
                  <a:srgbClr val="2846A8"/>
                </a:solidFill>
                <a:latin typeface="Cambria" panose="02040503050406030204" pitchFamily="18" charset="0"/>
                <a:cs typeface="Arial" pitchFamily="34" charset="0"/>
              </a:rPr>
              <a:t>to </a:t>
            </a:r>
            <a:r>
              <a:rPr lang="en-US" sz="1100" dirty="0">
                <a:solidFill>
                  <a:srgbClr val="2846A8"/>
                </a:solidFill>
                <a:latin typeface="Cambria" panose="02040503050406030204" pitchFamily="18" charset="0"/>
                <a:cs typeface="Arial" pitchFamily="34" charset="0"/>
              </a:rPr>
              <a:t>produce</a:t>
            </a:r>
            <a:r>
              <a:rPr lang="ro-RO" sz="1100" dirty="0">
                <a:solidFill>
                  <a:srgbClr val="2846A8"/>
                </a:solidFill>
                <a:latin typeface="Cambria" panose="02040503050406030204" pitchFamily="18" charset="0"/>
                <a:cs typeface="Arial" pitchFamily="34" charset="0"/>
              </a:rPr>
              <a:t> electric cars</a:t>
            </a:r>
          </a:p>
          <a:p>
            <a:pPr marL="173038" indent="-173038">
              <a:lnSpc>
                <a:spcPct val="93000"/>
              </a:lnSpc>
              <a:buClr>
                <a:srgbClr val="2846A8"/>
              </a:buClr>
              <a:buFont typeface="Wingdings" panose="05000000000000000000" pitchFamily="2" charset="2"/>
              <a:buChar char="ü"/>
            </a:pPr>
            <a:r>
              <a:rPr lang="ro-RO" sz="1100" dirty="0">
                <a:solidFill>
                  <a:srgbClr val="2846A8"/>
                </a:solidFill>
                <a:latin typeface="Cambria" panose="02040503050406030204" pitchFamily="18" charset="0"/>
                <a:cs typeface="Arial" pitchFamily="34" charset="0"/>
              </a:rPr>
              <a:t>Nokian Tyres </a:t>
            </a:r>
            <a:r>
              <a:rPr lang="en-US" sz="1100" dirty="0">
                <a:solidFill>
                  <a:srgbClr val="2846A8"/>
                </a:solidFill>
                <a:latin typeface="Cambria" panose="02040503050406030204" pitchFamily="18" charset="0"/>
                <a:cs typeface="Arial" pitchFamily="34" charset="0"/>
              </a:rPr>
              <a:t>€</a:t>
            </a:r>
            <a:r>
              <a:rPr lang="en-US" sz="1100">
                <a:solidFill>
                  <a:srgbClr val="2846A8"/>
                </a:solidFill>
                <a:latin typeface="Cambria" panose="02040503050406030204" pitchFamily="18" charset="0"/>
                <a:cs typeface="Arial" pitchFamily="34" charset="0"/>
              </a:rPr>
              <a:t>650 M</a:t>
            </a:r>
            <a:r>
              <a:rPr lang="ro-RO" sz="1100">
                <a:solidFill>
                  <a:srgbClr val="2846A8"/>
                </a:solidFill>
                <a:latin typeface="Cambria" panose="02040503050406030204" pitchFamily="18" charset="0"/>
                <a:cs typeface="Arial" pitchFamily="34" charset="0"/>
              </a:rPr>
              <a:t> </a:t>
            </a:r>
            <a:r>
              <a:rPr lang="en-US" sz="1100" dirty="0">
                <a:solidFill>
                  <a:srgbClr val="2846A8"/>
                </a:solidFill>
                <a:latin typeface="Cambria" panose="02040503050406030204" pitchFamily="18" charset="0"/>
                <a:cs typeface="Arial" pitchFamily="34" charset="0"/>
              </a:rPr>
              <a:t>new passenger car tire factory</a:t>
            </a:r>
            <a:endParaRPr lang="ro-RO" sz="1100" dirty="0">
              <a:solidFill>
                <a:srgbClr val="2846A8"/>
              </a:solidFill>
              <a:latin typeface="Cambria" panose="02040503050406030204" pitchFamily="18" charset="0"/>
              <a:cs typeface="Arial" pitchFamily="34" charset="0"/>
            </a:endParaRPr>
          </a:p>
          <a:p>
            <a:pPr marL="173038" indent="-173038">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Daimler </a:t>
            </a:r>
            <a:r>
              <a:rPr lang="ro-RO" sz="1100" dirty="0">
                <a:solidFill>
                  <a:srgbClr val="2846A8"/>
                </a:solidFill>
                <a:latin typeface="Cambria" panose="02040503050406030204" pitchFamily="18" charset="0"/>
                <a:cs typeface="Arial" pitchFamily="34" charset="0"/>
              </a:rPr>
              <a:t>(Star Assembly) </a:t>
            </a:r>
            <a:r>
              <a:rPr lang="en-US" sz="1100" dirty="0">
                <a:solidFill>
                  <a:srgbClr val="2846A8"/>
                </a:solidFill>
                <a:latin typeface="Cambria" panose="02040503050406030204" pitchFamily="18" charset="0"/>
                <a:cs typeface="Arial" pitchFamily="34" charset="0"/>
              </a:rPr>
              <a:t>€</a:t>
            </a:r>
            <a:r>
              <a:rPr lang="ro-RO" sz="1100" dirty="0">
                <a:solidFill>
                  <a:srgbClr val="2846A8"/>
                </a:solidFill>
                <a:latin typeface="Cambria" panose="02040503050406030204" pitchFamily="18" charset="0"/>
                <a:cs typeface="Arial" pitchFamily="34" charset="0"/>
              </a:rPr>
              <a:t>135</a:t>
            </a:r>
            <a:r>
              <a:rPr lang="en-US" sz="1100" dirty="0">
                <a:solidFill>
                  <a:srgbClr val="2846A8"/>
                </a:solidFill>
                <a:latin typeface="Cambria" panose="02040503050406030204" pitchFamily="18" charset="0"/>
                <a:cs typeface="Arial" pitchFamily="34" charset="0"/>
              </a:rPr>
              <a:t> M e-vehicle engine factory</a:t>
            </a:r>
            <a:r>
              <a:rPr lang="ro-RO" sz="1100" dirty="0">
                <a:solidFill>
                  <a:srgbClr val="2846A8"/>
                </a:solidFill>
                <a:latin typeface="Cambria" panose="02040503050406030204" pitchFamily="18" charset="0"/>
                <a:cs typeface="Arial" pitchFamily="34" charset="0"/>
              </a:rPr>
              <a:t> (starting 2024)</a:t>
            </a:r>
          </a:p>
          <a:p>
            <a:pPr marL="173038" indent="-173038">
              <a:lnSpc>
                <a:spcPct val="93000"/>
              </a:lnSpc>
              <a:buClr>
                <a:srgbClr val="2846A8"/>
              </a:buClr>
              <a:buFont typeface="Wingdings" panose="05000000000000000000" pitchFamily="2" charset="2"/>
              <a:buChar char="ü"/>
            </a:pPr>
            <a:r>
              <a:rPr lang="en-US" sz="1100" dirty="0">
                <a:solidFill>
                  <a:srgbClr val="2846A8"/>
                </a:solidFill>
                <a:latin typeface="Cambria" panose="02040503050406030204" pitchFamily="18" charset="0"/>
                <a:cs typeface="Arial" pitchFamily="34" charset="0"/>
              </a:rPr>
              <a:t>Continental €</a:t>
            </a:r>
            <a:r>
              <a:rPr lang="ro-RO" sz="1100" dirty="0">
                <a:solidFill>
                  <a:srgbClr val="2846A8"/>
                </a:solidFill>
                <a:latin typeface="Cambria" panose="02040503050406030204" pitchFamily="18" charset="0"/>
                <a:cs typeface="Arial" pitchFamily="34" charset="0"/>
              </a:rPr>
              <a:t>180</a:t>
            </a:r>
            <a:r>
              <a:rPr lang="en-US" sz="1100" dirty="0">
                <a:solidFill>
                  <a:srgbClr val="2846A8"/>
                </a:solidFill>
                <a:latin typeface="Cambria" panose="02040503050406030204" pitchFamily="18" charset="0"/>
                <a:cs typeface="Arial" pitchFamily="34" charset="0"/>
              </a:rPr>
              <a:t> M investment in 20</a:t>
            </a:r>
            <a:r>
              <a:rPr lang="ro-RO" sz="1100" dirty="0">
                <a:solidFill>
                  <a:srgbClr val="2846A8"/>
                </a:solidFill>
                <a:latin typeface="Cambria" panose="02040503050406030204" pitchFamily="18" charset="0"/>
                <a:cs typeface="Arial" pitchFamily="34" charset="0"/>
              </a:rPr>
              <a:t>22 (R&amp;D extension center &amp; megafactory in Timisoara)</a:t>
            </a:r>
            <a:endParaRPr lang="en-US" sz="1100" dirty="0">
              <a:solidFill>
                <a:srgbClr val="2846A8"/>
              </a:solidFill>
              <a:latin typeface="Cambria" panose="02040503050406030204" pitchFamily="18" charset="0"/>
              <a:cs typeface="Arial" pitchFamily="34" charset="0"/>
            </a:endParaRPr>
          </a:p>
        </p:txBody>
      </p:sp>
      <p:pic>
        <p:nvPicPr>
          <p:cNvPr id="480283" name="Picture 27" descr="https://www.autolux.ro/images/feature_variant/1/automobile-dacia-mioveni.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177908" y="1288399"/>
            <a:ext cx="1196925" cy="285354"/>
          </a:xfrm>
          <a:prstGeom prst="rect">
            <a:avLst/>
          </a:prstGeom>
          <a:noFill/>
          <a:extLst>
            <a:ext uri="{909E8E84-426E-40DD-AFC4-6F175D3DCCD1}">
              <a14:hiddenFill xmlns:a14="http://schemas.microsoft.com/office/drawing/2010/main">
                <a:solidFill>
                  <a:srgbClr val="FFFFFF"/>
                </a:solidFill>
              </a14:hiddenFill>
            </a:ext>
          </a:extLst>
        </p:spPr>
      </p:pic>
      <p:pic>
        <p:nvPicPr>
          <p:cNvPr id="480285" name="Picture 29" descr="http://pngimg.com/upload/car_logo_PNG1666.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443907" y="1324746"/>
            <a:ext cx="595562" cy="205904"/>
          </a:xfrm>
          <a:prstGeom prst="rect">
            <a:avLst/>
          </a:prstGeom>
          <a:noFill/>
          <a:extLst>
            <a:ext uri="{909E8E84-426E-40DD-AFC4-6F175D3DCCD1}">
              <a14:hiddenFill xmlns:a14="http://schemas.microsoft.com/office/drawing/2010/main">
                <a:solidFill>
                  <a:srgbClr val="FFFFFF"/>
                </a:solidFill>
              </a14:hiddenFill>
            </a:ext>
          </a:extLst>
        </p:spPr>
      </p:pic>
      <p:pic>
        <p:nvPicPr>
          <p:cNvPr id="480287" name="Picture 31" descr="https://upload.wikimedia.org/wikipedia/commons/thumb/7/72/Schaeffler_logo.svg/2000px-Schaeffler_logo.svg.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229790" y="1963866"/>
            <a:ext cx="731520" cy="72858"/>
          </a:xfrm>
          <a:prstGeom prst="rect">
            <a:avLst/>
          </a:prstGeom>
          <a:noFill/>
          <a:extLst>
            <a:ext uri="{909E8E84-426E-40DD-AFC4-6F175D3DCCD1}">
              <a14:hiddenFill xmlns:a14="http://schemas.microsoft.com/office/drawing/2010/main">
                <a:solidFill>
                  <a:srgbClr val="FFFFFF"/>
                </a:solidFill>
              </a14:hiddenFill>
            </a:ext>
          </a:extLst>
        </p:spPr>
      </p:pic>
      <p:pic>
        <p:nvPicPr>
          <p:cNvPr id="480289" name="Picture 33" descr="https://upload.wikimedia.org/wikipedia/en/thumb/b/bf/Bosch-brand.svg/1280px-Bosch-brand.sv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167052" y="2431632"/>
            <a:ext cx="731520" cy="156078"/>
          </a:xfrm>
          <a:prstGeom prst="rect">
            <a:avLst/>
          </a:prstGeom>
          <a:noFill/>
          <a:extLst>
            <a:ext uri="{909E8E84-426E-40DD-AFC4-6F175D3DCCD1}">
              <a14:hiddenFill xmlns:a14="http://schemas.microsoft.com/office/drawing/2010/main">
                <a:solidFill>
                  <a:srgbClr val="FFFFFF"/>
                </a:solidFill>
              </a14:hiddenFill>
            </a:ext>
          </a:extLst>
        </p:spPr>
      </p:pic>
      <p:pic>
        <p:nvPicPr>
          <p:cNvPr id="480295" name="Picture 39" descr="https://logodownload.org/wp-content/uploads/2014/10/pirelli-logo-1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321230" y="1705232"/>
            <a:ext cx="548640" cy="104535"/>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Connector 70"/>
          <p:cNvCxnSpPr/>
          <p:nvPr/>
        </p:nvCxnSpPr>
        <p:spPr>
          <a:xfrm>
            <a:off x="1588906" y="1480354"/>
            <a:ext cx="0" cy="848759"/>
          </a:xfrm>
          <a:prstGeom prst="line">
            <a:avLst/>
          </a:prstGeom>
          <a:ln w="9525">
            <a:solidFill>
              <a:srgbClr val="2846A8"/>
            </a:solidFill>
            <a:prstDash val="solid"/>
          </a:ln>
          <a:effectLst>
            <a:innerShdw blurRad="114300" dist="50800" dir="18900000">
              <a:prstClr val="black">
                <a:alpha val="50000"/>
              </a:prstClr>
            </a:innerShdw>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145172" y="1483452"/>
            <a:ext cx="0" cy="848759"/>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156313" y="1475013"/>
            <a:ext cx="0" cy="848759"/>
          </a:xfrm>
          <a:prstGeom prst="line">
            <a:avLst/>
          </a:prstGeom>
          <a:ln w="9525">
            <a:solidFill>
              <a:srgbClr val="2846A8"/>
            </a:solidFill>
            <a:prstDash val="solid"/>
          </a:ln>
          <a:effectLst/>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61662" y="4282567"/>
            <a:ext cx="1477217" cy="803019"/>
            <a:chOff x="241192" y="4012496"/>
            <a:chExt cx="1724157" cy="735153"/>
          </a:xfrm>
        </p:grpSpPr>
        <p:pic>
          <p:nvPicPr>
            <p:cNvPr id="61" name="Picture 12" descr="https://d30y9cdsu7xlg0.cloudfront.net/png/38871-20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41192" y="4012496"/>
              <a:ext cx="822959" cy="7351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68069" y="4272099"/>
              <a:ext cx="1097280" cy="404077"/>
            </a:xfrm>
            <a:prstGeom prst="rect">
              <a:avLst/>
            </a:prstGeom>
          </p:spPr>
        </p:pic>
      </p:grpSp>
      <p:pic>
        <p:nvPicPr>
          <p:cNvPr id="58" name="Picture 5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243439" y="3888118"/>
            <a:ext cx="640080" cy="78229"/>
          </a:xfrm>
          <a:prstGeom prst="rect">
            <a:avLst/>
          </a:prstGeom>
        </p:spPr>
      </p:pic>
      <p:pic>
        <p:nvPicPr>
          <p:cNvPr id="94" name="Picture 9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662204" y="3145890"/>
            <a:ext cx="365760" cy="155655"/>
          </a:xfrm>
          <a:prstGeom prst="rect">
            <a:avLst/>
          </a:prstGeom>
        </p:spPr>
      </p:pic>
      <p:pic>
        <p:nvPicPr>
          <p:cNvPr id="93" name="Picture 10" descr="https://upload.wikimedia.org/wikipedia/en/thumb/b/b5/Bitdefender.svg/1280px-Bitdefender.svg.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845946" y="3134973"/>
            <a:ext cx="548640" cy="26434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272206" y="2877124"/>
            <a:ext cx="731520" cy="141062"/>
          </a:xfrm>
          <a:prstGeom prst="rect">
            <a:avLst/>
          </a:prstGeom>
        </p:spPr>
      </p:pic>
      <p:pic>
        <p:nvPicPr>
          <p:cNvPr id="4" name="Picture 3"/>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251280" y="2891599"/>
            <a:ext cx="457200" cy="228954"/>
          </a:xfrm>
          <a:prstGeom prst="rect">
            <a:avLst/>
          </a:prstGeom>
        </p:spPr>
      </p:pic>
      <p:pic>
        <p:nvPicPr>
          <p:cNvPr id="7" name="Picture 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486803" y="3377646"/>
            <a:ext cx="350803" cy="365907"/>
          </a:xfrm>
          <a:prstGeom prst="rect">
            <a:avLst/>
          </a:prstGeom>
        </p:spPr>
      </p:pic>
      <p:pic>
        <p:nvPicPr>
          <p:cNvPr id="63" name="Picture 62"/>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3232929" y="3408947"/>
            <a:ext cx="457200" cy="158183"/>
          </a:xfrm>
          <a:prstGeom prst="rect">
            <a:avLst/>
          </a:prstGeom>
        </p:spPr>
      </p:pic>
      <p:pic>
        <p:nvPicPr>
          <p:cNvPr id="69" name="Picture 68"/>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3188283" y="3040187"/>
            <a:ext cx="609963" cy="424150"/>
          </a:xfrm>
          <a:prstGeom prst="rect">
            <a:avLst/>
          </a:prstGeom>
        </p:spPr>
      </p:pic>
      <p:pic>
        <p:nvPicPr>
          <p:cNvPr id="70" name="Picture 69"/>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737828" y="3557738"/>
            <a:ext cx="548640" cy="381508"/>
          </a:xfrm>
          <a:prstGeom prst="rect">
            <a:avLst/>
          </a:prstGeom>
        </p:spPr>
      </p:pic>
      <p:pic>
        <p:nvPicPr>
          <p:cNvPr id="74" name="Picture 73"/>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4386820" y="3739087"/>
            <a:ext cx="640080" cy="445093"/>
          </a:xfrm>
          <a:prstGeom prst="rect">
            <a:avLst/>
          </a:prstGeom>
        </p:spPr>
      </p:pic>
      <p:pic>
        <p:nvPicPr>
          <p:cNvPr id="80" name="Picture 7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203863" y="1945827"/>
            <a:ext cx="838010" cy="608992"/>
          </a:xfrm>
          <a:prstGeom prst="rect">
            <a:avLst/>
          </a:prstGeom>
        </p:spPr>
      </p:pic>
      <p:pic>
        <p:nvPicPr>
          <p:cNvPr id="81" name="Picture 80"/>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7811075" y="64099"/>
            <a:ext cx="1188720" cy="266260"/>
          </a:xfrm>
          <a:prstGeom prst="rect">
            <a:avLst/>
          </a:prstGeom>
        </p:spPr>
      </p:pic>
      <p:pic>
        <p:nvPicPr>
          <p:cNvPr id="60" name="Picture 59" descr="Nokian Tyres Logo, HD Png, Information"/>
          <p:cNvPicPr/>
          <p:nvPr/>
        </p:nvPicPr>
        <p:blipFill rotWithShape="1">
          <a:blip r:embed="rId32">
            <a:extLst>
              <a:ext uri="{28A0092B-C50C-407E-A947-70E740481C1C}">
                <a14:useLocalDpi xmlns:a14="http://schemas.microsoft.com/office/drawing/2010/main" val="0"/>
              </a:ext>
            </a:extLst>
          </a:blip>
          <a:srcRect l="7378" t="12170" r="6667" b="12076"/>
          <a:stretch/>
        </p:blipFill>
        <p:spPr bwMode="auto">
          <a:xfrm>
            <a:off x="4294790" y="1742609"/>
            <a:ext cx="651510" cy="284480"/>
          </a:xfrm>
          <a:prstGeom prst="rect">
            <a:avLst/>
          </a:prstGeom>
          <a:noFill/>
          <a:ln>
            <a:noFill/>
          </a:ln>
          <a:extLst>
            <a:ext uri="{53640926-AAD7-44D8-BBD7-CCE9431645EC}">
              <a14:shadowObscured xmlns:a14="http://schemas.microsoft.com/office/drawing/2010/main"/>
            </a:ext>
          </a:extLst>
        </p:spPr>
      </p:pic>
      <p:pic>
        <p:nvPicPr>
          <p:cNvPr id="83" name="Picture 82" descr="Locuri de munca la S.C. Star Transmission S.R.L. - BestJobs"/>
          <p:cNvPicPr/>
          <p:nvPr/>
        </p:nvPicPr>
        <p:blipFill rotWithShape="1">
          <a:blip r:embed="rId33">
            <a:extLst>
              <a:ext uri="{28A0092B-C50C-407E-A947-70E740481C1C}">
                <a14:useLocalDpi xmlns:a14="http://schemas.microsoft.com/office/drawing/2010/main" val="0"/>
              </a:ext>
            </a:extLst>
          </a:blip>
          <a:srcRect l="8223" t="11808" r="7117" b="12775"/>
          <a:stretch/>
        </p:blipFill>
        <p:spPr bwMode="auto">
          <a:xfrm>
            <a:off x="4168080" y="2140464"/>
            <a:ext cx="914400" cy="45466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22417411"/>
      </p:ext>
    </p:extLst>
  </p:cSld>
  <p:clrMapOvr>
    <a:masterClrMapping/>
  </p:clrMapOvr>
  <p:transition>
    <p:fade thruBlk="1"/>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FDEFB0-DCE7-C35D-4F04-1419ED4B9BC8}"/>
              </a:ext>
            </a:extLst>
          </p:cNvPr>
          <p:cNvSpPr txBox="1"/>
          <p:nvPr/>
        </p:nvSpPr>
        <p:spPr>
          <a:xfrm>
            <a:off x="1810910" y="285808"/>
            <a:ext cx="4894026" cy="414344"/>
          </a:xfrm>
          <a:prstGeom prst="rect">
            <a:avLst/>
          </a:prstGeom>
          <a:noFill/>
        </p:spPr>
        <p:txBody>
          <a:bodyPr wrap="square">
            <a:spAutoFit/>
          </a:bodyPr>
          <a:lstStyle/>
          <a:p>
            <a:pPr marL="0" marR="0" lvl="0" indent="0" algn="ctr" defTabSz="685800" rtl="0" eaLnBrk="1" fontAlgn="base" latinLnBrk="0" hangingPunct="1">
              <a:lnSpc>
                <a:spcPct val="93000"/>
              </a:lnSpc>
              <a:spcBef>
                <a:spcPct val="0"/>
              </a:spcBef>
              <a:spcAft>
                <a:spcPct val="0"/>
              </a:spcAft>
              <a:buClrTx/>
              <a:buSzTx/>
              <a:buFont typeface="Arial"/>
              <a:buNone/>
              <a:tabLst/>
              <a:defRPr/>
            </a:pPr>
            <a:r>
              <a:rPr kumimoji="0" lang="en-GB" sz="2250" b="1" i="0" u="none" strike="noStrike" kern="1200" cap="none" spc="0" normalizeH="0" baseline="0" noProof="0" dirty="0">
                <a:ln>
                  <a:noFill/>
                </a:ln>
                <a:solidFill>
                  <a:srgbClr val="3E4655"/>
                </a:solidFill>
                <a:effectLst/>
                <a:uLnTx/>
                <a:uFillTx/>
                <a:latin typeface="Arial Narrow"/>
                <a:ea typeface="+mn-ea"/>
                <a:cs typeface="Arial" pitchFamily="34" charset="0"/>
                <a:sym typeface="Arial"/>
              </a:rPr>
              <a:t>Romania-Poland trade exchanges</a:t>
            </a:r>
          </a:p>
        </p:txBody>
      </p:sp>
      <p:sp>
        <p:nvSpPr>
          <p:cNvPr id="5" name="TextBox 4">
            <a:extLst>
              <a:ext uri="{FF2B5EF4-FFF2-40B4-BE49-F238E27FC236}">
                <a16:creationId xmlns:a16="http://schemas.microsoft.com/office/drawing/2014/main" id="{05CC726A-4386-7441-4023-6B509F3B7F7B}"/>
              </a:ext>
            </a:extLst>
          </p:cNvPr>
          <p:cNvSpPr txBox="1"/>
          <p:nvPr/>
        </p:nvSpPr>
        <p:spPr>
          <a:xfrm>
            <a:off x="425394" y="1559614"/>
            <a:ext cx="8293211" cy="2410660"/>
          </a:xfrm>
          <a:prstGeom prst="rect">
            <a:avLst/>
          </a:prstGeom>
          <a:noFill/>
        </p:spPr>
        <p:txBody>
          <a:bodyPr wrap="square">
            <a:spAutoFit/>
          </a:bodyPr>
          <a:lstStyle/>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US" sz="135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2023 was a new record year for trade between Romania and Poland. </a:t>
            </a:r>
            <a:r>
              <a:rPr kumimoji="0" lang="en-US"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So, at the end of 2023, bilateral trade registered an increase of +1.01%, registering </a:t>
            </a:r>
            <a:r>
              <a:rPr kumimoji="0" lang="en-US" sz="1350" b="0" i="1" u="sng" strike="noStrike" kern="1200" cap="none" spc="0" normalizeH="0" baseline="0" noProof="0" dirty="0">
                <a:ln>
                  <a:noFill/>
                </a:ln>
                <a:solidFill>
                  <a:srgbClr val="000000"/>
                </a:solidFill>
                <a:effectLst/>
                <a:uLnTx/>
                <a:uFillTx/>
                <a:latin typeface="Arial Narrow"/>
                <a:ea typeface="+mn-ea"/>
                <a:cs typeface="Arial" pitchFamily="34" charset="0"/>
                <a:sym typeface="Arial"/>
              </a:rPr>
              <a:t>11.05 billion EUR</a:t>
            </a:r>
            <a:r>
              <a:rPr kumimoji="0" lang="en-US"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compared to the same period in 2022. Romanian exports decreased by         -2.09% (to 3.43 billion EUR) and Polish exports to Romania increased by +2.46% (to 7.62 billion EUR).</a:t>
            </a: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US" sz="1350" b="0" i="1" u="sng" strike="noStrike" kern="1200" cap="none" spc="0" normalizeH="0" baseline="0" noProof="0" dirty="0">
                <a:ln>
                  <a:noFill/>
                </a:ln>
                <a:solidFill>
                  <a:srgbClr val="000000"/>
                </a:solidFill>
                <a:effectLst/>
                <a:uLnTx/>
                <a:uFillTx/>
                <a:latin typeface="Arial Narrow"/>
                <a:ea typeface="+mn-ea"/>
                <a:cs typeface="Arial" pitchFamily="34" charset="0"/>
                <a:sym typeface="Arial"/>
              </a:rPr>
              <a:t>On the end of </a:t>
            </a:r>
            <a:r>
              <a:rPr lang="en-US" sz="1350" i="1" u="sng" kern="1200" dirty="0">
                <a:latin typeface="Arial Narrow"/>
                <a:ea typeface="+mn-ea"/>
                <a:cs typeface="Arial" pitchFamily="34" charset="0"/>
              </a:rPr>
              <a:t>December</a:t>
            </a:r>
            <a:r>
              <a:rPr kumimoji="0" lang="en-US" sz="1350" b="0" i="1" u="sng" strike="noStrike" kern="1200" cap="none" spc="0" normalizeH="0" baseline="0" noProof="0" dirty="0">
                <a:ln>
                  <a:noFill/>
                </a:ln>
                <a:solidFill>
                  <a:srgbClr val="000000"/>
                </a:solidFill>
                <a:effectLst/>
                <a:uLnTx/>
                <a:uFillTx/>
                <a:latin typeface="Arial Narrow"/>
                <a:ea typeface="+mn-ea"/>
                <a:cs typeface="Arial" pitchFamily="34" charset="0"/>
                <a:sym typeface="Arial"/>
              </a:rPr>
              <a:t>, 2024</a:t>
            </a:r>
            <a:r>
              <a:rPr kumimoji="0" lang="en-US"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bilateral trade registered an increase of +6.12%, registering 11.72 billion EUR, compared to the same period in 2023. Romanian exports increased by +8.51% (to 3.72 billion EUR) and Polish exports to Romania increased by +5.05% (to 8.00 billion EUR).</a:t>
            </a:r>
            <a:endParaRPr kumimoji="0" lang="en-GB"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endParaRP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US" sz="135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We are satisfied that a significant part of our business is based on high quality, manufactured and high value-added products</a:t>
            </a:r>
            <a:r>
              <a:rPr kumimoji="0" lang="en-US"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cars, electrical equipment, vehicles, transport equipment, clothing and furniture). However, Romania imports large quantities of agri-food products from Poland and Romanian exports represent only half of the Polish exports.</a:t>
            </a:r>
            <a:endParaRPr kumimoji="0" lang="en-GB"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endParaRPr>
          </a:p>
          <a:p>
            <a:pPr marL="0" marR="0" lvl="0" indent="0" algn="just" defTabSz="685800" rtl="0" eaLnBrk="1" fontAlgn="base" latinLnBrk="0" hangingPunct="1">
              <a:lnSpc>
                <a:spcPct val="93000"/>
              </a:lnSpc>
              <a:spcBef>
                <a:spcPct val="0"/>
              </a:spcBef>
              <a:spcAft>
                <a:spcPct val="0"/>
              </a:spcAft>
              <a:buClrTx/>
              <a:buSzTx/>
              <a:buFont typeface="Arial"/>
              <a:buNone/>
              <a:tabLst/>
              <a:defRPr/>
            </a:pPr>
            <a:endParaRPr kumimoji="0" lang="en-GB" sz="1350" b="1" i="1" u="none" strike="noStrike" kern="1200" cap="none" spc="0" normalizeH="0" baseline="0" noProof="0" dirty="0">
              <a:ln>
                <a:noFill/>
              </a:ln>
              <a:solidFill>
                <a:srgbClr val="000000"/>
              </a:solidFill>
              <a:effectLst/>
              <a:uLnTx/>
              <a:uFillTx/>
              <a:latin typeface="Arial Narrow"/>
              <a:ea typeface="+mn-ea"/>
              <a:cs typeface="Arial" pitchFamily="34" charset="0"/>
              <a:sym typeface="Arial"/>
            </a:endParaRP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GB" sz="1350" b="0" i="1" u="none" strike="noStrike" kern="1200" cap="none" spc="0" normalizeH="0" baseline="0" noProof="0" dirty="0">
                <a:ln>
                  <a:noFill/>
                </a:ln>
                <a:solidFill>
                  <a:srgbClr val="000000"/>
                </a:solidFill>
                <a:effectLst/>
                <a:uLnTx/>
                <a:uFillTx/>
                <a:latin typeface="Arial Narrow"/>
                <a:ea typeface="+mn-ea"/>
                <a:cs typeface="Arial" pitchFamily="34" charset="0"/>
                <a:sym typeface="Arial"/>
              </a:rPr>
              <a:t>(</a:t>
            </a:r>
            <a:r>
              <a:rPr kumimoji="0" lang="en-GB" sz="1350" b="0" i="1" u="sng" strike="noStrike" kern="1200" cap="none" spc="0" normalizeH="0" baseline="0" noProof="0" dirty="0">
                <a:ln>
                  <a:noFill/>
                </a:ln>
                <a:solidFill>
                  <a:srgbClr val="000000"/>
                </a:solidFill>
                <a:effectLst/>
                <a:uLnTx/>
                <a:uFillTx/>
                <a:latin typeface="Arial Narrow"/>
                <a:ea typeface="+mn-ea"/>
                <a:cs typeface="Arial" pitchFamily="34" charset="0"/>
                <a:sym typeface="Arial"/>
              </a:rPr>
              <a:t>Poland continues to have a surplus trade balance with most EU Member States, including Germany - its main trading partner, which accounts for 29% of its exports</a:t>
            </a:r>
            <a:r>
              <a:rPr kumimoji="0" lang="en-GB" sz="1350" b="0" i="1" u="none" strike="noStrike" kern="1200" cap="none" spc="0" normalizeH="0" baseline="0" noProof="0" dirty="0">
                <a:ln>
                  <a:noFill/>
                </a:ln>
                <a:solidFill>
                  <a:srgbClr val="000000"/>
                </a:solidFill>
                <a:effectLst/>
                <a:uLnTx/>
                <a:uFillTx/>
                <a:latin typeface="Arial Narrow"/>
                <a:ea typeface="+mn-ea"/>
                <a:cs typeface="Arial" pitchFamily="34" charset="0"/>
                <a:sym typeface="Arial"/>
              </a:rPr>
              <a:t>).</a:t>
            </a:r>
            <a:endParaRPr kumimoji="0" lang="en-GB" sz="1350" b="0" i="0" u="none" strike="noStrike" kern="1200" cap="none" spc="0" normalizeH="0" baseline="0" noProof="0" dirty="0">
              <a:ln>
                <a:noFill/>
              </a:ln>
              <a:solidFill>
                <a:srgbClr val="000000"/>
              </a:solidFill>
              <a:effectLst/>
              <a:uLnTx/>
              <a:uFillTx/>
              <a:latin typeface="Arial Narrow"/>
              <a:ea typeface="+mn-ea"/>
              <a:cs typeface="Arial" pitchFamily="34" charset="0"/>
              <a:sym typeface="Arial"/>
            </a:endParaRPr>
          </a:p>
        </p:txBody>
      </p:sp>
    </p:spTree>
    <p:extLst>
      <p:ext uri="{BB962C8B-B14F-4D97-AF65-F5344CB8AC3E}">
        <p14:creationId xmlns:p14="http://schemas.microsoft.com/office/powerpoint/2010/main" val="3370569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3B8BDD-1C93-5E45-B4EC-DFF66D856D74}"/>
              </a:ext>
            </a:extLst>
          </p:cNvPr>
          <p:cNvSpPr txBox="1"/>
          <p:nvPr/>
        </p:nvSpPr>
        <p:spPr>
          <a:xfrm>
            <a:off x="444640" y="384350"/>
            <a:ext cx="8116556" cy="322011"/>
          </a:xfrm>
          <a:prstGeom prst="rect">
            <a:avLst/>
          </a:prstGeom>
          <a:noFill/>
          <a:ln w="9525">
            <a:noFill/>
          </a:ln>
        </p:spPr>
        <p:txBody>
          <a:bodyPr wrap="square" lIns="0" tIns="0" rIns="0" bIns="0" rtlCol="0">
            <a:spAutoFit/>
          </a:bodyPr>
          <a:lstStyle/>
          <a:p>
            <a:pPr marL="0" marR="0" lvl="0" indent="0" algn="ctr" defTabSz="685800" rtl="0" eaLnBrk="1" fontAlgn="base" latinLnBrk="0" hangingPunct="1">
              <a:lnSpc>
                <a:spcPct val="93000"/>
              </a:lnSpc>
              <a:spcBef>
                <a:spcPct val="0"/>
              </a:spcBef>
              <a:spcAft>
                <a:spcPct val="0"/>
              </a:spcAft>
              <a:buClrTx/>
              <a:buSzTx/>
              <a:buFont typeface="Arial"/>
              <a:buNone/>
              <a:tabLst/>
              <a:defRPr/>
            </a:pPr>
            <a:r>
              <a:rPr kumimoji="0" lang="en-GB" sz="2250" b="1" i="0" u="none" strike="noStrike" kern="1200" cap="none" spc="0" normalizeH="0" baseline="0" noProof="0" dirty="0">
                <a:ln>
                  <a:noFill/>
                </a:ln>
                <a:solidFill>
                  <a:srgbClr val="3E4655"/>
                </a:solidFill>
                <a:effectLst/>
                <a:uLnTx/>
                <a:uFillTx/>
                <a:latin typeface="Arial Narrow"/>
                <a:ea typeface="+mn-ea"/>
                <a:cs typeface="Arial" pitchFamily="34" charset="0"/>
                <a:sym typeface="Arial"/>
              </a:rPr>
              <a:t>Polish investments in Romania</a:t>
            </a:r>
          </a:p>
        </p:txBody>
      </p:sp>
      <p:sp>
        <p:nvSpPr>
          <p:cNvPr id="4" name="TextBox 3">
            <a:extLst>
              <a:ext uri="{FF2B5EF4-FFF2-40B4-BE49-F238E27FC236}">
                <a16:creationId xmlns:a16="http://schemas.microsoft.com/office/drawing/2014/main" id="{40A274D2-3960-6B63-D9BF-7E73B45CA703}"/>
              </a:ext>
            </a:extLst>
          </p:cNvPr>
          <p:cNvSpPr txBox="1"/>
          <p:nvPr/>
        </p:nvSpPr>
        <p:spPr>
          <a:xfrm>
            <a:off x="444640" y="1173423"/>
            <a:ext cx="8317697" cy="3699218"/>
          </a:xfrm>
          <a:prstGeom prst="rect">
            <a:avLst/>
          </a:prstGeom>
          <a:noFill/>
        </p:spPr>
        <p:txBody>
          <a:bodyPr wrap="square">
            <a:spAutoFit/>
          </a:bodyPr>
          <a:lstStyle/>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Between December 1990 and December 31, 2024, </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1,757 companies with Polish capital </a:t>
            </a: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were registered in Romania, with a directly invested capital of 425</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million EUR</a:t>
            </a: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Poland </a:t>
            </a:r>
            <a:r>
              <a:rPr kumimoji="0" lang="en-GB" sz="1800" b="0" i="1" u="none" strike="noStrike" kern="1200" cap="none" spc="0" normalizeH="0" baseline="0" noProof="0" dirty="0">
                <a:ln>
                  <a:noFill/>
                </a:ln>
                <a:solidFill>
                  <a:srgbClr val="000000"/>
                </a:solidFill>
                <a:effectLst/>
                <a:uLnTx/>
                <a:uFillTx/>
                <a:latin typeface="Arial Narrow"/>
                <a:ea typeface="+mn-ea"/>
                <a:cs typeface="Arial" pitchFamily="34" charset="0"/>
                <a:sym typeface="Arial"/>
              </a:rPr>
              <a:t>ranks 18</a:t>
            </a:r>
            <a:r>
              <a:rPr kumimoji="0" lang="en-GB" sz="1800" b="0" i="1" u="none" strike="noStrike" kern="1200" cap="none" spc="0" normalizeH="0" baseline="30000" noProof="0" dirty="0">
                <a:ln>
                  <a:noFill/>
                </a:ln>
                <a:solidFill>
                  <a:srgbClr val="000000"/>
                </a:solidFill>
                <a:effectLst/>
                <a:uLnTx/>
                <a:uFillTx/>
                <a:latin typeface="Arial Narrow"/>
                <a:ea typeface="+mn-ea"/>
                <a:cs typeface="Arial" pitchFamily="34" charset="0"/>
                <a:sym typeface="Arial"/>
              </a:rPr>
              <a:t>th</a:t>
            </a:r>
            <a:r>
              <a:rPr kumimoji="0" lang="en-GB" sz="1800" b="0" i="1" u="none" strike="noStrike" kern="1200" cap="none" spc="0" normalizeH="0" baseline="0" noProof="0" dirty="0">
                <a:ln>
                  <a:noFill/>
                </a:ln>
                <a:solidFill>
                  <a:srgbClr val="000000"/>
                </a:solidFill>
                <a:effectLst/>
                <a:uLnTx/>
                <a:uFillTx/>
                <a:latin typeface="Arial Narrow"/>
                <a:ea typeface="+mn-ea"/>
                <a:cs typeface="Arial" pitchFamily="34" charset="0"/>
                <a:sym typeface="Arial"/>
              </a:rPr>
              <a:t> </a:t>
            </a: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among foreign investors in our country </a:t>
            </a:r>
            <a:r>
              <a:rPr kumimoji="0" lang="en-US"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compared to 24th at the beginning of 2013)</a:t>
            </a: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with </a:t>
            </a:r>
            <a:r>
              <a:rPr kumimoji="0" lang="en-GB" sz="1800" b="0" i="1" u="none" strike="noStrike" kern="1200" cap="none" spc="0" normalizeH="0" baseline="0" noProof="0" dirty="0">
                <a:ln>
                  <a:noFill/>
                </a:ln>
                <a:solidFill>
                  <a:srgbClr val="000000"/>
                </a:solidFill>
                <a:effectLst/>
                <a:uLnTx/>
                <a:uFillTx/>
                <a:latin typeface="Arial Narrow"/>
                <a:ea typeface="+mn-ea"/>
                <a:cs typeface="Arial" pitchFamily="34" charset="0"/>
                <a:sym typeface="Arial"/>
              </a:rPr>
              <a:t>0.85%</a:t>
            </a: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of total foreign investment.</a:t>
            </a: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endPar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endParaRP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Polish-owned companies are currently involved in the chemical industry, food industry, construction materials, light metal packaging production, transport, tourism, commercial activities, IT etc.</a:t>
            </a: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endPar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endParaRPr>
          </a:p>
          <a:p>
            <a:pPr marL="214313" marR="0" lvl="0" indent="-214313" algn="just" defTabSz="685800" rtl="0" eaLnBrk="1" fontAlgn="base" latinLnBrk="0" hangingPunct="1">
              <a:lnSpc>
                <a:spcPct val="93000"/>
              </a:lnSpc>
              <a:spcBef>
                <a:spcPct val="0"/>
              </a:spcBef>
              <a:spcAft>
                <a:spcPct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The most important investment are done by: </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MASPEX - TYMBARK; CAN PACK; CIECH; CERSANIT Poland; BARLINEK; Enterprise Investors Poland; Selena Group; POLIMEX MOSTOSTAL; ASSECO Group; ATLAS Group; PKN ORLEN; LPP (with the brands Reserve, </a:t>
            </a:r>
            <a:r>
              <a:rPr kumimoji="0" lang="en-GB"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Cropp</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House, </a:t>
            </a:r>
            <a:r>
              <a:rPr kumimoji="0" lang="en-GB"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Mohito</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a:t>
            </a:r>
            <a:r>
              <a:rPr kumimoji="0" lang="en-GB"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Sinsay</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a:t>
            </a:r>
            <a:r>
              <a:rPr kumimoji="0" lang="en-US"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MODIVO S.A.; ALIOR Bank; </a:t>
            </a:r>
            <a:r>
              <a:rPr kumimoji="0" lang="en-US"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Blachotrapez</a:t>
            </a:r>
            <a:r>
              <a:rPr kumimoji="0" lang="en-US"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PKO BP; BLIK; </a:t>
            </a:r>
            <a:r>
              <a:rPr kumimoji="0" lang="en-GB"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Zabka</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Derek Group;  </a:t>
            </a:r>
            <a:r>
              <a:rPr kumimoji="0" lang="en-GB"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Polenergia</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Wittchen; </a:t>
            </a:r>
            <a:r>
              <a:rPr kumimoji="0" lang="en-GB" sz="1800" b="1" i="0" u="none" strike="noStrike" kern="1200" cap="none" spc="0" normalizeH="0" baseline="0" noProof="0" dirty="0" err="1">
                <a:ln>
                  <a:noFill/>
                </a:ln>
                <a:solidFill>
                  <a:srgbClr val="000000"/>
                </a:solidFill>
                <a:effectLst/>
                <a:uLnTx/>
                <a:uFillTx/>
                <a:latin typeface="Arial Narrow"/>
                <a:ea typeface="+mn-ea"/>
                <a:cs typeface="Arial" pitchFamily="34" charset="0"/>
                <a:sym typeface="Arial"/>
              </a:rPr>
              <a:t>Kontomatik</a:t>
            </a:r>
            <a:r>
              <a:rPr kumimoji="0" lang="en-GB" sz="1800" b="1" i="0" u="none" strike="noStrike" kern="1200" cap="none" spc="0" normalizeH="0" baseline="0" noProof="0" dirty="0">
                <a:ln>
                  <a:noFill/>
                </a:ln>
                <a:solidFill>
                  <a:srgbClr val="000000"/>
                </a:solidFill>
                <a:effectLst/>
                <a:uLnTx/>
                <a:uFillTx/>
                <a:latin typeface="Arial Narrow"/>
                <a:ea typeface="+mn-ea"/>
                <a:cs typeface="Arial" pitchFamily="34" charset="0"/>
                <a:sym typeface="Arial"/>
              </a:rPr>
              <a:t> etc.</a:t>
            </a:r>
          </a:p>
        </p:txBody>
      </p:sp>
    </p:spTree>
    <p:extLst>
      <p:ext uri="{BB962C8B-B14F-4D97-AF65-F5344CB8AC3E}">
        <p14:creationId xmlns:p14="http://schemas.microsoft.com/office/powerpoint/2010/main" val="39187397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17" name="Google Shape;387;p31"/>
          <p:cNvSpPr txBox="1">
            <a:spLocks/>
          </p:cNvSpPr>
          <p:nvPr/>
        </p:nvSpPr>
        <p:spPr>
          <a:xfrm>
            <a:off x="2388358" y="416900"/>
            <a:ext cx="5759355"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err="1">
                <a:solidFill>
                  <a:srgbClr val="2846A8"/>
                </a:solidFill>
                <a:latin typeface="Cambria" panose="02040503050406030204" pitchFamily="18" charset="0"/>
                <a:ea typeface="Cambria" panose="02040503050406030204" pitchFamily="18" charset="0"/>
              </a:rPr>
              <a:t>InvestRomania</a:t>
            </a:r>
            <a:r>
              <a:rPr lang="en-US" sz="2400" b="1" dirty="0">
                <a:solidFill>
                  <a:srgbClr val="2846A8"/>
                </a:solidFill>
                <a:latin typeface="Cambria" panose="02040503050406030204" pitchFamily="18" charset="0"/>
                <a:ea typeface="Cambria" panose="02040503050406030204" pitchFamily="18" charset="0"/>
              </a:rPr>
              <a:t> in a nutshell</a:t>
            </a:r>
          </a:p>
        </p:txBody>
      </p:sp>
      <p:sp>
        <p:nvSpPr>
          <p:cNvPr id="18" name="TextBox 17"/>
          <p:cNvSpPr txBox="1"/>
          <p:nvPr/>
        </p:nvSpPr>
        <p:spPr>
          <a:xfrm>
            <a:off x="2081284" y="1482663"/>
            <a:ext cx="5902655" cy="2492990"/>
          </a:xfrm>
          <a:prstGeom prst="rect">
            <a:avLst/>
          </a:prstGeom>
          <a:noFill/>
          <a:ln w="9525">
            <a:noFill/>
          </a:ln>
        </p:spPr>
        <p:txBody>
          <a:bodyPr wrap="square" lIns="0" tIns="0" rIns="0" bIns="0" rtlCol="0">
            <a:spAutoFit/>
          </a:bodyPr>
          <a:lstStyle/>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one-stop-shop” for foreign investors, assisting and advising international companies for project implementation in the country</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Promoting and facilitating foreign investment in Romania</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Main interface between foreign companies and central / local authorities</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Assisting worldwide entrepreneurs in project implementation</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Tailored and individually custom-made solutions for</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developing new or current units </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Consultancy and guidance during all stages of the decisional process </a:t>
            </a:r>
          </a:p>
          <a:p>
            <a:pPr>
              <a:lnSpc>
                <a:spcPct val="150000"/>
              </a:lnSpc>
              <a:buClr>
                <a:srgbClr val="2846A8"/>
              </a:buClr>
              <a:buSzPct val="70000"/>
            </a:pPr>
            <a:r>
              <a:rPr lang="en-US" sz="1200" dirty="0">
                <a:solidFill>
                  <a:srgbClr val="2846A8"/>
                </a:solidFill>
                <a:latin typeface="Cambria" panose="02040503050406030204" pitchFamily="18" charset="0"/>
                <a:cs typeface="Arial" pitchFamily="34" charset="0"/>
              </a:rPr>
              <a:t>(state aid &amp; fiscal incentives)</a:t>
            </a: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7143" y="1594045"/>
            <a:ext cx="182880" cy="172720"/>
          </a:xfrm>
          <a:prstGeom prst="rect">
            <a:avLst/>
          </a:prstGeom>
        </p:spPr>
      </p:pic>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1781" y="2116382"/>
            <a:ext cx="182880" cy="172719"/>
          </a:xfrm>
          <a:prstGeom prst="rect">
            <a:avLst/>
          </a:prstGeom>
        </p:spPr>
      </p:pic>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7143" y="2401835"/>
            <a:ext cx="182880" cy="182880"/>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7143" y="2697449"/>
            <a:ext cx="182880" cy="172720"/>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7143" y="2955743"/>
            <a:ext cx="182880" cy="172720"/>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16880" y="3492667"/>
            <a:ext cx="182880" cy="182880"/>
          </a:xfrm>
          <a:prstGeom prst="rect">
            <a:avLst/>
          </a:prstGeom>
        </p:spPr>
      </p:pic>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93183" y="1200608"/>
            <a:ext cx="8818808" cy="553998"/>
          </a:xfrm>
          <a:prstGeom prst="rect">
            <a:avLst/>
          </a:prstGeom>
          <a:noFill/>
          <a:ln w="9525">
            <a:noFill/>
          </a:ln>
        </p:spPr>
        <p:txBody>
          <a:bodyPr wrap="square" lIns="0" tIns="0" rIns="0" bIns="0" rtlCol="0">
            <a:spAutoFit/>
          </a:bodyPr>
          <a:lstStyle/>
          <a:p>
            <a:pPr algn="just">
              <a:defRPr/>
            </a:pPr>
            <a:r>
              <a:rPr lang="en-US" sz="1200" dirty="0" err="1">
                <a:solidFill>
                  <a:srgbClr val="2846A8"/>
                </a:solidFill>
                <a:latin typeface="Cambria" panose="02040503050406030204" pitchFamily="18" charset="0"/>
              </a:rPr>
              <a:t>InvestRomania</a:t>
            </a:r>
            <a:r>
              <a:rPr lang="en-US" sz="1200" dirty="0">
                <a:solidFill>
                  <a:srgbClr val="2846A8"/>
                </a:solidFill>
                <a:latin typeface="Cambria" panose="02040503050406030204" pitchFamily="18" charset="0"/>
              </a:rPr>
              <a:t> hosts the Romanian National Contact Point for Responsible Business Conduct (NCP) responsible with encouraging the observance of the OECD Guidelines for Multinational Enterprises and related information dissemination within the business communities and others interested parties.</a:t>
            </a:r>
          </a:p>
        </p:txBody>
      </p:sp>
      <p:sp>
        <p:nvSpPr>
          <p:cNvPr id="14" name="Title 7"/>
          <p:cNvSpPr txBox="1">
            <a:spLocks/>
          </p:cNvSpPr>
          <p:nvPr/>
        </p:nvSpPr>
        <p:spPr>
          <a:xfrm>
            <a:off x="0" y="221983"/>
            <a:ext cx="9143999" cy="527447"/>
          </a:xfrm>
          <a:prstGeom prst="rect">
            <a:avLst/>
          </a:prstGeom>
          <a:noFill/>
        </p:spPr>
        <p:txBody>
          <a:bodyPr vert="horz" lIns="0" tIns="0" rIns="0" bIns="0" rtlCol="0" anchor="ctr" anchorCtr="0">
            <a:noAutofit/>
          </a:bodyPr>
          <a:lstStyle>
            <a:lvl1pPr algn="l" defTabSz="914400" rtl="0" eaLnBrk="1" latinLnBrk="0" hangingPunct="1">
              <a:lnSpc>
                <a:spcPct val="93000"/>
              </a:lnSpc>
              <a:spcBef>
                <a:spcPct val="0"/>
              </a:spcBef>
              <a:buNone/>
              <a:defRPr sz="2700" b="0" kern="1200">
                <a:solidFill>
                  <a:schemeClr val="bg1"/>
                </a:solidFill>
                <a:latin typeface="+mj-lt"/>
                <a:ea typeface="+mj-ea"/>
                <a:cs typeface="+mj-cs"/>
              </a:defRPr>
            </a:lvl1pPr>
          </a:lstStyle>
          <a:p>
            <a:pPr algn="ctr"/>
            <a:r>
              <a:rPr lang="ro-RO" sz="2400" b="1" dirty="0">
                <a:solidFill>
                  <a:srgbClr val="2846A8"/>
                </a:solidFill>
                <a:latin typeface="Cambria" panose="02040503050406030204" pitchFamily="18" charset="0"/>
              </a:rPr>
              <a:t>National Contact Point</a:t>
            </a:r>
            <a:endParaRPr lang="en-US" sz="2400" b="1" dirty="0">
              <a:solidFill>
                <a:srgbClr val="2846A8"/>
              </a:solidFill>
              <a:latin typeface="Cambria" panose="02040503050406030204" pitchFamily="18" charset="0"/>
            </a:endParaRPr>
          </a:p>
        </p:txBody>
      </p:sp>
      <p:sp>
        <p:nvSpPr>
          <p:cNvPr id="13" name="TextBox 12"/>
          <p:cNvSpPr txBox="1"/>
          <p:nvPr/>
        </p:nvSpPr>
        <p:spPr>
          <a:xfrm>
            <a:off x="193183" y="1746266"/>
            <a:ext cx="8818808" cy="369332"/>
          </a:xfrm>
          <a:prstGeom prst="rect">
            <a:avLst/>
          </a:prstGeom>
          <a:noFill/>
          <a:ln w="9525">
            <a:noFill/>
          </a:ln>
        </p:spPr>
        <p:txBody>
          <a:bodyPr wrap="square" lIns="0" tIns="0" rIns="0" bIns="0" rtlCol="0">
            <a:spAutoFit/>
          </a:bodyPr>
          <a:lstStyle/>
          <a:p>
            <a:pPr algn="just">
              <a:defRPr/>
            </a:pPr>
            <a:r>
              <a:rPr lang="en-US" sz="1200" dirty="0">
                <a:solidFill>
                  <a:srgbClr val="2846A8"/>
                </a:solidFill>
                <a:latin typeface="Cambria" panose="02040503050406030204" pitchFamily="18" charset="0"/>
              </a:rPr>
              <a:t>National Contact Point for Responsible Business Conduct for the OECD Guidelines for Multinational Enterprises</a:t>
            </a:r>
          </a:p>
          <a:p>
            <a:r>
              <a:rPr lang="en-GB" sz="1200" u="sng" dirty="0">
                <a:latin typeface="Cambria" panose="02040503050406030204" pitchFamily="18" charset="0"/>
                <a:ea typeface="Cambria" panose="02040503050406030204" pitchFamily="18" charset="0"/>
                <a:hlinkClick r:id="rId3"/>
              </a:rPr>
              <a:t>https://mneguidelines.oecd.org/ncps/</a:t>
            </a:r>
            <a:r>
              <a:rPr lang="en-GB" sz="1200" dirty="0">
                <a:latin typeface="Cambria" panose="02040503050406030204" pitchFamily="18" charset="0"/>
                <a:ea typeface="Cambria" panose="02040503050406030204" pitchFamily="18" charset="0"/>
              </a:rPr>
              <a:t> </a:t>
            </a:r>
            <a:endParaRPr lang="en-US" sz="1200" dirty="0">
              <a:latin typeface="Cambria" panose="02040503050406030204" pitchFamily="18" charset="0"/>
              <a:ea typeface="Cambria" panose="02040503050406030204" pitchFamily="18" charset="0"/>
            </a:endParaRPr>
          </a:p>
        </p:txBody>
      </p:sp>
      <p:sp>
        <p:nvSpPr>
          <p:cNvPr id="15" name="TextBox 14"/>
          <p:cNvSpPr txBox="1"/>
          <p:nvPr/>
        </p:nvSpPr>
        <p:spPr>
          <a:xfrm>
            <a:off x="193183" y="2201165"/>
            <a:ext cx="8818808" cy="1661993"/>
          </a:xfrm>
          <a:prstGeom prst="rect">
            <a:avLst/>
          </a:prstGeom>
          <a:noFill/>
          <a:ln w="9525">
            <a:noFill/>
          </a:ln>
        </p:spPr>
        <p:txBody>
          <a:bodyPr wrap="square" lIns="0" tIns="0" rIns="0" bIns="0" rtlCol="0">
            <a:spAutoFit/>
          </a:bodyPr>
          <a:lstStyle/>
          <a:p>
            <a:pPr algn="just">
              <a:buClr>
                <a:srgbClr val="2846A8"/>
              </a:buClr>
              <a:defRPr/>
            </a:pPr>
            <a:r>
              <a:rPr lang="en-US" sz="1200" dirty="0">
                <a:solidFill>
                  <a:srgbClr val="2846A8"/>
                </a:solidFill>
                <a:latin typeface="Cambria" panose="02040503050406030204" pitchFamily="18" charset="0"/>
              </a:rPr>
              <a:t>The National Contact Point for Responsible Business Conduct (NCP) for the implementation of the recommendations made by the Organization for Economic Cooperation and Development (OECD) in the Guidelines for Multinational Enterprises works under the framework of the Government Decision no. 420/2005 as amended by the Government Decision no. 1430/2024.</a:t>
            </a:r>
          </a:p>
          <a:p>
            <a:pPr algn="just">
              <a:buClr>
                <a:srgbClr val="2846A8"/>
              </a:buClr>
              <a:defRPr/>
            </a:pPr>
            <a:r>
              <a:rPr lang="en-US" sz="1200" dirty="0">
                <a:solidFill>
                  <a:srgbClr val="2846A8"/>
                </a:solidFill>
                <a:latin typeface="Cambria" panose="02040503050406030204" pitchFamily="18" charset="0"/>
              </a:rPr>
              <a:t>The mandate of the National Contact Point for Responsible Business Conduct, presented in the Guidelines for Multinational Enterprises of the Organization for Economic Cooperation and Development (OECD) is two fold:</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Promote and increase awareness on the OECD Guidelines for Multinational Enterprises and handle enquiries by organizing and participating in events related to RBC to raise awar</a:t>
            </a:r>
            <a:r>
              <a:rPr lang="ro-RO" sz="1200" dirty="0">
                <a:solidFill>
                  <a:srgbClr val="2846A8"/>
                </a:solidFill>
                <a:latin typeface="Cambria" panose="02040503050406030204" pitchFamily="18" charset="0"/>
              </a:rPr>
              <a:t>en</a:t>
            </a:r>
            <a:r>
              <a:rPr lang="en-US" sz="1200" dirty="0">
                <a:solidFill>
                  <a:srgbClr val="2846A8"/>
                </a:solidFill>
                <a:latin typeface="Cambria" panose="02040503050406030204" pitchFamily="18" charset="0"/>
              </a:rPr>
              <a:t>ess of the Guidelines and to address questions about the Guidelines</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Provide a grievance mechanism to resolve cases</a:t>
            </a:r>
            <a:r>
              <a:rPr lang="ro-RO" sz="1200" dirty="0">
                <a:solidFill>
                  <a:srgbClr val="2846A8"/>
                </a:solidFill>
                <a:latin typeface="Cambria" panose="02040503050406030204" pitchFamily="18" charset="0"/>
              </a:rPr>
              <a:t> </a:t>
            </a:r>
            <a:r>
              <a:rPr lang="en-US" sz="1200" dirty="0">
                <a:solidFill>
                  <a:srgbClr val="2846A8"/>
                </a:solidFill>
                <a:latin typeface="Cambria" panose="02040503050406030204" pitchFamily="18" charset="0"/>
              </a:rPr>
              <a:t>(known as “specific instances”) relating to non observance of the recommendations of the Guidelines</a:t>
            </a:r>
          </a:p>
        </p:txBody>
      </p:sp>
      <p:pic>
        <p:nvPicPr>
          <p:cNvPr id="16" name="Picture 15" descr="OECD-NCPs-star-746x75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3351" y="1656611"/>
            <a:ext cx="548640" cy="548640"/>
          </a:xfrm>
          <a:prstGeom prst="rect">
            <a:avLst/>
          </a:prstGeom>
          <a:noFill/>
          <a:ln>
            <a:noFill/>
          </a:ln>
          <a:effectLst/>
        </p:spPr>
      </p:pic>
      <p:sp>
        <p:nvSpPr>
          <p:cNvPr id="17" name="TextBox 16"/>
          <p:cNvSpPr txBox="1"/>
          <p:nvPr/>
        </p:nvSpPr>
        <p:spPr>
          <a:xfrm>
            <a:off x="193183" y="3875880"/>
            <a:ext cx="8818808" cy="553998"/>
          </a:xfrm>
          <a:prstGeom prst="rect">
            <a:avLst/>
          </a:prstGeom>
          <a:noFill/>
          <a:ln w="9525">
            <a:noFill/>
          </a:ln>
        </p:spPr>
        <p:txBody>
          <a:bodyPr wrap="square" lIns="0" tIns="0" rIns="0" bIns="0" rtlCol="0">
            <a:spAutoFit/>
          </a:bodyPr>
          <a:lstStyle/>
          <a:p>
            <a:pPr algn="just">
              <a:defRPr/>
            </a:pPr>
            <a:r>
              <a:rPr lang="en-US" sz="1200" dirty="0">
                <a:solidFill>
                  <a:srgbClr val="2846A8"/>
                </a:solidFill>
                <a:latin typeface="Cambria" panose="02040503050406030204" pitchFamily="18" charset="0"/>
              </a:rPr>
              <a:t>The National Contact Point for Responsible Business Conduct provides a discussion forum and supports the business community, the employer’s organizations and other interested parties in reviewing the subject matter in an effective and timely manner and in accordance with the legislation in force.</a:t>
            </a:r>
          </a:p>
        </p:txBody>
      </p:sp>
      <p:sp>
        <p:nvSpPr>
          <p:cNvPr id="18" name="TextBox 17"/>
          <p:cNvSpPr txBox="1"/>
          <p:nvPr/>
        </p:nvSpPr>
        <p:spPr>
          <a:xfrm>
            <a:off x="193182" y="4399177"/>
            <a:ext cx="4082255" cy="553998"/>
          </a:xfrm>
          <a:prstGeom prst="rect">
            <a:avLst/>
          </a:prstGeom>
          <a:noFill/>
          <a:ln w="9525">
            <a:noFill/>
          </a:ln>
        </p:spPr>
        <p:txBody>
          <a:bodyPr wrap="square" lIns="0" tIns="0" rIns="0" bIns="0" rtlCol="0">
            <a:spAutoFit/>
          </a:bodyPr>
          <a:lstStyle/>
          <a:p>
            <a:pPr algn="just">
              <a:defRPr/>
            </a:pPr>
            <a:r>
              <a:rPr lang="fr-FR" sz="1200" dirty="0">
                <a:solidFill>
                  <a:srgbClr val="2846A8"/>
                </a:solidFill>
                <a:latin typeface="Cambria" panose="02040503050406030204" pitchFamily="18" charset="0"/>
              </a:rPr>
              <a:t>Contact</a:t>
            </a:r>
          </a:p>
          <a:p>
            <a:pPr algn="just">
              <a:defRPr/>
            </a:pPr>
            <a:r>
              <a:rPr lang="fr-FR" sz="1200" dirty="0">
                <a:solidFill>
                  <a:srgbClr val="2846A8"/>
                </a:solidFill>
                <a:latin typeface="Cambria" panose="02040503050406030204" pitchFamily="18" charset="0"/>
              </a:rPr>
              <a:t>National Contact Point </a:t>
            </a:r>
            <a:r>
              <a:rPr lang="en-US" sz="1200" dirty="0">
                <a:solidFill>
                  <a:srgbClr val="2846A8"/>
                </a:solidFill>
                <a:latin typeface="Cambria" panose="02040503050406030204" pitchFamily="18" charset="0"/>
              </a:rPr>
              <a:t>for Responsible Business Conduct </a:t>
            </a:r>
            <a:endParaRPr lang="fr-FR" sz="1200" dirty="0">
              <a:solidFill>
                <a:srgbClr val="2846A8"/>
              </a:solidFill>
              <a:latin typeface="Cambria" panose="02040503050406030204" pitchFamily="18" charset="0"/>
            </a:endParaRPr>
          </a:p>
          <a:p>
            <a:pPr algn="just">
              <a:defRPr/>
            </a:pPr>
            <a:r>
              <a:rPr lang="fr-FR" sz="1200" dirty="0">
                <a:solidFill>
                  <a:srgbClr val="2846A8"/>
                </a:solidFill>
                <a:latin typeface="Cambria" panose="02040503050406030204" pitchFamily="18" charset="0"/>
              </a:rPr>
              <a:t>E-mail: pnc@investromania.gov.ro</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extLst>
      <p:ext uri="{BB962C8B-B14F-4D97-AF65-F5344CB8AC3E}">
        <p14:creationId xmlns:p14="http://schemas.microsoft.com/office/powerpoint/2010/main" val="2993309586"/>
      </p:ext>
    </p:extLst>
  </p:cSld>
  <p:clrMapOvr>
    <a:masterClrMapping/>
  </p:clrMapOvr>
  <p:transition>
    <p:fade thruBlk="1"/>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7"/>
          <p:cNvSpPr txBox="1">
            <a:spLocks/>
          </p:cNvSpPr>
          <p:nvPr/>
        </p:nvSpPr>
        <p:spPr>
          <a:xfrm>
            <a:off x="0" y="345553"/>
            <a:ext cx="9143999" cy="527447"/>
          </a:xfrm>
          <a:prstGeom prst="rect">
            <a:avLst/>
          </a:prstGeom>
          <a:noFill/>
        </p:spPr>
        <p:txBody>
          <a:bodyPr vert="horz" lIns="0" tIns="0" rIns="0" bIns="0" rtlCol="0" anchor="ctr" anchorCtr="0">
            <a:noAutofit/>
          </a:bodyPr>
          <a:lstStyle>
            <a:lvl1pPr algn="l" defTabSz="914400" rtl="0" eaLnBrk="1" latinLnBrk="0" hangingPunct="1">
              <a:lnSpc>
                <a:spcPct val="93000"/>
              </a:lnSpc>
              <a:spcBef>
                <a:spcPct val="0"/>
              </a:spcBef>
              <a:buNone/>
              <a:defRPr sz="2700" b="0" kern="1200">
                <a:solidFill>
                  <a:schemeClr val="bg1"/>
                </a:solidFill>
                <a:latin typeface="+mj-lt"/>
                <a:ea typeface="+mj-ea"/>
                <a:cs typeface="+mj-cs"/>
              </a:defRPr>
            </a:lvl1pPr>
          </a:lstStyle>
          <a:p>
            <a:pPr algn="ctr"/>
            <a:r>
              <a:rPr lang="en-US" sz="2400" b="1" dirty="0">
                <a:solidFill>
                  <a:srgbClr val="2846A8"/>
                </a:solidFill>
                <a:latin typeface="Cambria" panose="02040503050406030204" pitchFamily="18" charset="0"/>
              </a:rPr>
              <a:t>The OECD Guidelines for Multinational Enterprises</a:t>
            </a:r>
          </a:p>
          <a:p>
            <a:pPr algn="ctr"/>
            <a:r>
              <a:rPr lang="en-US" sz="2400" b="1" dirty="0">
                <a:solidFill>
                  <a:srgbClr val="2846A8"/>
                </a:solidFill>
                <a:latin typeface="Cambria" panose="02040503050406030204" pitchFamily="18" charset="0"/>
              </a:rPr>
              <a:t>on Responsible Business Conduct </a:t>
            </a:r>
          </a:p>
        </p:txBody>
      </p:sp>
      <p:sp>
        <p:nvSpPr>
          <p:cNvPr id="13" name="TextBox 12"/>
          <p:cNvSpPr txBox="1"/>
          <p:nvPr/>
        </p:nvSpPr>
        <p:spPr>
          <a:xfrm>
            <a:off x="314326" y="1301945"/>
            <a:ext cx="8572097" cy="553998"/>
          </a:xfrm>
          <a:prstGeom prst="rect">
            <a:avLst/>
          </a:prstGeom>
          <a:noFill/>
          <a:ln w="9525">
            <a:noFill/>
          </a:ln>
        </p:spPr>
        <p:txBody>
          <a:bodyPr wrap="square" lIns="0" tIns="0" rIns="0" bIns="0" rtlCol="0">
            <a:spAutoFit/>
          </a:bodyPr>
          <a:lstStyle/>
          <a:p>
            <a:pPr algn="just">
              <a:defRPr/>
            </a:pPr>
            <a:r>
              <a:rPr lang="en-US" sz="1200" dirty="0">
                <a:solidFill>
                  <a:srgbClr val="2846A8"/>
                </a:solidFill>
                <a:latin typeface="Cambria" panose="02040503050406030204" pitchFamily="18" charset="0"/>
              </a:rPr>
              <a:t>The OECD Guidelines for Multinational Enterprises on Responsible Business Conduct contains a series of recommendations for national governments of multinational enterprises, voluntary principles and standards for responsible business conduct in a global level, in accordance with the existing legislation.</a:t>
            </a:r>
          </a:p>
        </p:txBody>
      </p:sp>
      <p:sp>
        <p:nvSpPr>
          <p:cNvPr id="15" name="TextBox 14"/>
          <p:cNvSpPr txBox="1"/>
          <p:nvPr/>
        </p:nvSpPr>
        <p:spPr>
          <a:xfrm>
            <a:off x="314326" y="2010823"/>
            <a:ext cx="8572097" cy="2215991"/>
          </a:xfrm>
          <a:prstGeom prst="rect">
            <a:avLst/>
          </a:prstGeom>
          <a:noFill/>
          <a:ln w="9525">
            <a:noFill/>
          </a:ln>
        </p:spPr>
        <p:txBody>
          <a:bodyPr wrap="square" lIns="0" tIns="0" rIns="0" bIns="0" rtlCol="0">
            <a:spAutoFit/>
          </a:bodyPr>
          <a:lstStyle/>
          <a:p>
            <a:pPr algn="just">
              <a:buClr>
                <a:srgbClr val="2846A8"/>
              </a:buClr>
              <a:defRPr/>
            </a:pPr>
            <a:r>
              <a:rPr lang="en-US" sz="1200" dirty="0">
                <a:solidFill>
                  <a:srgbClr val="2846A8"/>
                </a:solidFill>
                <a:latin typeface="Cambria" panose="02040503050406030204" pitchFamily="18" charset="0"/>
              </a:rPr>
              <a:t>The Guidelines aim to ensure that the operations of these enterprises are in harmony with government policies, to strengthen the basis of mutual confidence between enterprises and the societies in which they operate, to help improve the foreign investment climate and to enhance the contribution to sustainable development made by multinational enterprises.</a:t>
            </a:r>
            <a:endParaRPr lang="ro-RO" sz="1200" dirty="0">
              <a:solidFill>
                <a:srgbClr val="2846A8"/>
              </a:solidFill>
              <a:latin typeface="Cambria" panose="02040503050406030204" pitchFamily="18" charset="0"/>
            </a:endParaRPr>
          </a:p>
          <a:p>
            <a:pPr algn="just">
              <a:buClr>
                <a:srgbClr val="2846A8"/>
              </a:buClr>
              <a:defRPr/>
            </a:pPr>
            <a:r>
              <a:rPr lang="en-US" sz="1200" dirty="0">
                <a:solidFill>
                  <a:srgbClr val="2846A8"/>
                </a:solidFill>
                <a:latin typeface="Cambria" panose="02040503050406030204" pitchFamily="18" charset="0"/>
              </a:rPr>
              <a:t>The OECD Guidelines for Multinational Enterprises on Responsible Business Conduct cover fields such as:</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Employment and Industrial Relations</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Environment</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Human Rights</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Combating Bribery, Bribe Solicitation and Extortion</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Consumers Interests</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Science and technology</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Competition</a:t>
            </a:r>
          </a:p>
          <a:p>
            <a:pPr marL="214313" indent="-214313" algn="just">
              <a:buClr>
                <a:srgbClr val="2846A8"/>
              </a:buClr>
              <a:buFont typeface="Wingdings" panose="05000000000000000000" pitchFamily="2" charset="2"/>
              <a:buChar char="ü"/>
              <a:defRPr/>
            </a:pPr>
            <a:r>
              <a:rPr lang="en-US" sz="1200" dirty="0">
                <a:solidFill>
                  <a:srgbClr val="2846A8"/>
                </a:solidFill>
                <a:latin typeface="Cambria" panose="02040503050406030204" pitchFamily="18" charset="0"/>
              </a:rPr>
              <a:t>Taxation</a:t>
            </a:r>
            <a:endParaRPr lang="ro-RO" sz="1200" dirty="0">
              <a:solidFill>
                <a:srgbClr val="2846A8"/>
              </a:solidFill>
              <a:latin typeface="Cambria" panose="02040503050406030204" pitchFamily="18" charset="0"/>
            </a:endParaRPr>
          </a:p>
        </p:txBody>
      </p:sp>
      <p:sp>
        <p:nvSpPr>
          <p:cNvPr id="8" name="TextBox 7"/>
          <p:cNvSpPr txBox="1"/>
          <p:nvPr/>
        </p:nvSpPr>
        <p:spPr>
          <a:xfrm>
            <a:off x="271663" y="4375172"/>
            <a:ext cx="8229785" cy="553998"/>
          </a:xfrm>
          <a:prstGeom prst="rect">
            <a:avLst/>
          </a:prstGeom>
          <a:noFill/>
          <a:ln w="9525">
            <a:noFill/>
          </a:ln>
        </p:spPr>
        <p:txBody>
          <a:bodyPr wrap="square" lIns="0" tIns="0" rIns="0" bIns="0" rtlCol="0">
            <a:spAutoFit/>
          </a:bodyPr>
          <a:lstStyle/>
          <a:p>
            <a:pPr>
              <a:defRPr/>
            </a:pPr>
            <a:r>
              <a:rPr lang="en-US" sz="1200" dirty="0">
                <a:solidFill>
                  <a:srgbClr val="2846A8"/>
                </a:solidFill>
                <a:latin typeface="Cambria" panose="02040503050406030204" pitchFamily="18" charset="0"/>
              </a:rPr>
              <a:t>“OECD GUIDELINES FOR MULTINATIONAL ENTERPRISES</a:t>
            </a:r>
            <a:r>
              <a:rPr lang="ro-RO" sz="1200" dirty="0">
                <a:solidFill>
                  <a:srgbClr val="2846A8"/>
                </a:solidFill>
                <a:latin typeface="Cambria" panose="02040503050406030204" pitchFamily="18" charset="0"/>
              </a:rPr>
              <a:t> </a:t>
            </a:r>
            <a:r>
              <a:rPr lang="en-US" sz="1200" dirty="0">
                <a:solidFill>
                  <a:srgbClr val="2846A8"/>
                </a:solidFill>
                <a:latin typeface="Cambria" panose="02040503050406030204" pitchFamily="18" charset="0"/>
              </a:rPr>
              <a:t>ON RESPONSIBLE BUSINESS CONDUCT” </a:t>
            </a:r>
            <a:r>
              <a:rPr lang="ro-RO" sz="1200" dirty="0">
                <a:solidFill>
                  <a:srgbClr val="2846A8"/>
                </a:solidFill>
                <a:latin typeface="Cambria" panose="02040503050406030204" pitchFamily="18" charset="0"/>
              </a:rPr>
              <a:t>can be downloaded at</a:t>
            </a:r>
            <a:r>
              <a:rPr lang="en-US" sz="1200" dirty="0">
                <a:solidFill>
                  <a:srgbClr val="2846A8"/>
                </a:solidFill>
                <a:latin typeface="Cambria" panose="02040503050406030204" pitchFamily="18" charset="0"/>
              </a:rPr>
              <a:t>:</a:t>
            </a:r>
            <a:r>
              <a:rPr lang="ro-RO" sz="1200" dirty="0">
                <a:solidFill>
                  <a:srgbClr val="2846A8"/>
                </a:solidFill>
                <a:latin typeface="Cambria" panose="02040503050406030204" pitchFamily="18" charset="0"/>
              </a:rPr>
              <a:t> </a:t>
            </a:r>
            <a:r>
              <a:rPr lang="en-US" sz="1200" dirty="0">
                <a:solidFill>
                  <a:srgbClr val="2846A8"/>
                </a:solidFill>
                <a:latin typeface="Cambria" panose="02040503050406030204" pitchFamily="18" charset="0"/>
              </a:rPr>
              <a:t>https://read.oecd-ilibrary.org/finance-and-investment/oecd-guidelines-for-multinational-enterprises-on-responsible-business-conduct_81f92357-en#page1</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Tree>
    <p:extLst>
      <p:ext uri="{BB962C8B-B14F-4D97-AF65-F5344CB8AC3E}">
        <p14:creationId xmlns:p14="http://schemas.microsoft.com/office/powerpoint/2010/main" val="551142842"/>
      </p:ext>
    </p:extLst>
  </p:cSld>
  <p:clrMapOvr>
    <a:masterClrMapping/>
  </p:clrMapOvr>
  <p:transition>
    <p:fade thruBlk="1"/>
  </p:transition>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6000" r="-26000"/>
          </a:stretch>
        </a:blipFill>
        <a:effectLst/>
      </p:bgPr>
    </p:bg>
    <p:spTree>
      <p:nvGrpSpPr>
        <p:cNvPr id="1" name="Shape 206"/>
        <p:cNvGrpSpPr/>
        <p:nvPr/>
      </p:nvGrpSpPr>
      <p:grpSpPr>
        <a:xfrm>
          <a:off x="0" y="0"/>
          <a:ext cx="0" cy="0"/>
          <a:chOff x="0" y="0"/>
          <a:chExt cx="0" cy="0"/>
        </a:xfrm>
      </p:grpSpPr>
      <p:sp>
        <p:nvSpPr>
          <p:cNvPr id="5" name="Text Box 4"/>
          <p:cNvSpPr txBox="1">
            <a:spLocks noChangeArrowheads="1"/>
          </p:cNvSpPr>
          <p:nvPr/>
        </p:nvSpPr>
        <p:spPr bwMode="auto">
          <a:xfrm>
            <a:off x="166977" y="2010046"/>
            <a:ext cx="3964675" cy="237907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GOVERNMENT OF ROMANIA</a:t>
            </a: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ro-RO"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Romanian </a:t>
            </a: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Agency for Investment</a:t>
            </a:r>
            <a:endParaRPr kumimoji="0" lang="ro-RO"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and Foreign Trade</a:t>
            </a: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9-11 </a:t>
            </a:r>
            <a:r>
              <a:rPr kumimoji="0" lang="en-US" altLang="en-US" sz="1600" b="0" i="0" u="none" strike="noStrike" kern="0" cap="none" spc="0" normalizeH="0" baseline="0" noProof="0" dirty="0" err="1">
                <a:ln>
                  <a:noFill/>
                </a:ln>
                <a:solidFill>
                  <a:srgbClr val="FFFFFF"/>
                </a:solidFill>
                <a:effectLst/>
                <a:uLnTx/>
                <a:uFillTx/>
                <a:latin typeface="Cambria" panose="02040503050406030204" pitchFamily="18" charset="0"/>
                <a:cs typeface="Arial"/>
                <a:sym typeface="Arial"/>
              </a:rPr>
              <a:t>Promoroaca</a:t>
            </a: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 Street,</a:t>
            </a:r>
            <a:r>
              <a:rPr kumimoji="0" lang="ro-RO"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 </a:t>
            </a: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District 1 Bucharest, Romania</a:t>
            </a: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rPr>
              <a:t>E-mail:</a:t>
            </a:r>
            <a:r>
              <a:rPr kumimoji="0" lang="en-US" altLang="en-US" sz="1600" b="0" i="0" u="none" strike="noStrike" kern="0" cap="none" spc="0" normalizeH="0" baseline="0" noProof="0" dirty="0">
                <a:ln>
                  <a:noFill/>
                </a:ln>
                <a:solidFill>
                  <a:srgbClr val="6D6E71"/>
                </a:solidFill>
                <a:effectLst/>
                <a:uLnTx/>
                <a:uFillTx/>
                <a:latin typeface="Cambria" panose="02040503050406030204" pitchFamily="18" charset="0"/>
                <a:cs typeface="Arial"/>
                <a:sym typeface="Arial"/>
              </a:rPr>
              <a:t> </a:t>
            </a:r>
            <a:endPar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hlinkClick r:id="rId4"/>
              </a:rPr>
              <a:t>investromania.gov.ro</a:t>
            </a:r>
            <a:endPar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r>
              <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hlinkClick r:id="rId5"/>
              </a:rPr>
              <a:t>office@investromania.gov.ro</a:t>
            </a:r>
            <a:endParaRPr kumimoji="0" lang="en-US" altLang="en-US" sz="1600" b="0" i="0" u="none" strike="noStrike" kern="0" cap="none" spc="0" normalizeH="0" baseline="0" noProof="0" dirty="0">
              <a:ln>
                <a:noFill/>
              </a:ln>
              <a:solidFill>
                <a:srgbClr val="FFFFFF"/>
              </a:solidFill>
              <a:effectLst/>
              <a:uLnTx/>
              <a:uFillTx/>
              <a:latin typeface="Cambria" panose="02040503050406030204" pitchFamily="18" charset="0"/>
              <a:cs typeface="Arial"/>
              <a:sym typeface="Arial"/>
            </a:endParaRPr>
          </a:p>
          <a:p>
            <a:pPr marL="0" marR="0" lvl="0" indent="0" algn="ctr" defTabSz="914400" rtl="0" eaLnBrk="0" fontAlgn="auto" latinLnBrk="0" hangingPunct="0">
              <a:lnSpc>
                <a:spcPct val="100000"/>
              </a:lnSpc>
              <a:spcBef>
                <a:spcPts val="0"/>
              </a:spcBef>
              <a:spcAft>
                <a:spcPts val="0"/>
              </a:spcAft>
              <a:buClr>
                <a:srgbClr val="000000"/>
              </a:buClr>
              <a:buSzTx/>
              <a:buFont typeface="Arial"/>
              <a:buNone/>
              <a:tabLst/>
              <a:defRPr/>
            </a:pPr>
            <a:endParaRPr kumimoji="0" lang="en-US" altLang="en-US" sz="1800" b="0" i="0" u="none" strike="noStrike" kern="0" cap="none" spc="0" normalizeH="0" baseline="0" noProof="0" dirty="0">
              <a:ln>
                <a:noFill/>
              </a:ln>
              <a:solidFill>
                <a:srgbClr val="6D6E71"/>
              </a:solidFill>
              <a:effectLst/>
              <a:uLnTx/>
              <a:uFillTx/>
              <a:latin typeface="Cambria" panose="02040503050406030204" pitchFamily="18" charset="0"/>
              <a:cs typeface="Arial"/>
              <a:sym typeface="Arial"/>
            </a:endParaRPr>
          </a:p>
        </p:txBody>
      </p:sp>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72074" y="4506445"/>
            <a:ext cx="1554480" cy="348188"/>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32465" y="201754"/>
            <a:ext cx="1433698" cy="1433698"/>
          </a:xfrm>
          <a:prstGeom prst="rect">
            <a:avLst/>
          </a:prstGeom>
        </p:spPr>
      </p:pic>
      <p:sp>
        <p:nvSpPr>
          <p:cNvPr id="3" name="TextBox 2">
            <a:extLst>
              <a:ext uri="{FF2B5EF4-FFF2-40B4-BE49-F238E27FC236}">
                <a16:creationId xmlns:a16="http://schemas.microsoft.com/office/drawing/2014/main" id="{9A2951CF-C606-B19D-6221-C31F8487E67F}"/>
              </a:ext>
            </a:extLst>
          </p:cNvPr>
          <p:cNvSpPr txBox="1"/>
          <p:nvPr/>
        </p:nvSpPr>
        <p:spPr>
          <a:xfrm>
            <a:off x="4449039" y="334425"/>
            <a:ext cx="4731026" cy="1015663"/>
          </a:xfrm>
          <a:prstGeom prst="rect">
            <a:avLst/>
          </a:prstGeom>
          <a:noFill/>
        </p:spPr>
        <p:txBody>
          <a:bodyPr wrap="square">
            <a:spAutoFit/>
          </a:bodyPr>
          <a:lstStyle/>
          <a:p>
            <a:pPr marL="0" marR="0" lvl="0" indent="0" algn="ctr" defTabSz="685800" rtl="0" eaLnBrk="0" fontAlgn="base" latinLnBrk="0" hangingPunct="0">
              <a:lnSpc>
                <a:spcPct val="100000"/>
              </a:lnSpc>
              <a:spcBef>
                <a:spcPct val="0"/>
              </a:spcBef>
              <a:spcAft>
                <a:spcPct val="0"/>
              </a:spcAft>
              <a:buClrTx/>
              <a:buSzTx/>
              <a:buFont typeface="Arial"/>
              <a:buNone/>
              <a:tabLst/>
              <a:defRPr/>
            </a:pPr>
            <a:r>
              <a:rPr kumimoji="0" lang="ro-RO"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Ș</a:t>
            </a:r>
            <a:r>
              <a:rPr kumimoji="0" lang="en-GB" altLang="en-US" sz="1200" b="0" i="0" u="none" strike="noStrike" kern="1200" cap="none" spc="0" normalizeH="0" baseline="0" noProof="0" dirty="0" err="1">
                <a:ln>
                  <a:noFill/>
                </a:ln>
                <a:solidFill>
                  <a:srgbClr val="000000"/>
                </a:solidFill>
                <a:effectLst/>
                <a:uLnTx/>
                <a:uFillTx/>
                <a:latin typeface="Cambria" panose="02040503050406030204" pitchFamily="18" charset="0"/>
                <a:ea typeface="+mn-ea"/>
                <a:cs typeface="Arial"/>
                <a:sym typeface="Arial"/>
              </a:rPr>
              <a:t>tefan</a:t>
            </a:r>
            <a:r>
              <a:rPr kumimoji="0" lang="en-GB"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 POROJAN, Minister counsellor</a:t>
            </a:r>
          </a:p>
          <a:p>
            <a:pPr marL="0" marR="0" lvl="0" indent="0" algn="ctr" defTabSz="685800" rtl="0" eaLnBrk="0" fontAlgn="base" latinLnBrk="0" hangingPunct="0">
              <a:lnSpc>
                <a:spcPct val="100000"/>
              </a:lnSpc>
              <a:spcBef>
                <a:spcPct val="0"/>
              </a:spcBef>
              <a:spcAft>
                <a:spcPct val="0"/>
              </a:spcAft>
              <a:buClrTx/>
              <a:buSzTx/>
              <a:buFont typeface="Arial"/>
              <a:buNone/>
              <a:tabLst/>
              <a:defRPr/>
            </a:pPr>
            <a:r>
              <a:rPr kumimoji="0" lang="en-GB"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Economic and Commercial Promotion Office</a:t>
            </a:r>
          </a:p>
          <a:p>
            <a:pPr marL="0" marR="0" lvl="0" indent="0" algn="ctr" defTabSz="685800" rtl="0" eaLnBrk="0" fontAlgn="base" latinLnBrk="0" hangingPunct="0">
              <a:lnSpc>
                <a:spcPct val="100000"/>
              </a:lnSpc>
              <a:spcBef>
                <a:spcPct val="0"/>
              </a:spcBef>
              <a:spcAft>
                <a:spcPct val="0"/>
              </a:spcAft>
              <a:buClrTx/>
              <a:buSzTx/>
              <a:buFont typeface="Arial"/>
              <a:buNone/>
              <a:tabLst/>
              <a:defRPr/>
            </a:pPr>
            <a:r>
              <a:rPr kumimoji="0" lang="en-GB"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Embassy of Romania in the Republic of Poland</a:t>
            </a:r>
          </a:p>
          <a:p>
            <a:pPr marL="0" marR="0" lvl="0" indent="0" algn="ctr" defTabSz="685800" rtl="0" eaLnBrk="0" fontAlgn="base" latinLnBrk="0" hangingPunct="0">
              <a:lnSpc>
                <a:spcPct val="100000"/>
              </a:lnSpc>
              <a:spcBef>
                <a:spcPct val="0"/>
              </a:spcBef>
              <a:spcAft>
                <a:spcPct val="0"/>
              </a:spcAft>
              <a:buClrTx/>
              <a:buSzTx/>
              <a:buFont typeface="Arial"/>
              <a:buNone/>
              <a:tabLst/>
              <a:defRPr/>
            </a:pPr>
            <a:r>
              <a:rPr kumimoji="0" lang="ro-RO"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Tel</a:t>
            </a:r>
            <a:r>
              <a:rPr kumimoji="0" lang="en-GB"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 </a:t>
            </a:r>
            <a:r>
              <a:rPr kumimoji="0" lang="en-US"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48 22 621 5983 ext. 250</a:t>
            </a:r>
            <a:r>
              <a:rPr kumimoji="0" lang="en-GB" altLang="en-US" sz="1200" b="0" i="0" u="none" strike="noStrike" kern="1200" cap="none" spc="0" normalizeH="0" baseline="0" noProof="0" dirty="0">
                <a:ln>
                  <a:noFill/>
                </a:ln>
                <a:solidFill>
                  <a:srgbClr val="000000"/>
                </a:solidFill>
                <a:effectLst/>
                <a:uLnTx/>
                <a:uFillTx/>
                <a:latin typeface="Cambria" panose="02040503050406030204" pitchFamily="18" charset="0"/>
                <a:ea typeface="+mn-ea"/>
                <a:cs typeface="Arial"/>
                <a:sym typeface="Arial"/>
              </a:rPr>
              <a:t>; Mobile: +48 538 397 384</a:t>
            </a:r>
          </a:p>
          <a:p>
            <a:pPr marL="0" marR="0" lvl="0" indent="0" algn="ctr" defTabSz="685800" rtl="0" eaLnBrk="0" fontAlgn="base" latinLnBrk="0" hangingPunct="0">
              <a:lnSpc>
                <a:spcPct val="100000"/>
              </a:lnSpc>
              <a:spcBef>
                <a:spcPct val="0"/>
              </a:spcBef>
              <a:spcAft>
                <a:spcPct val="0"/>
              </a:spcAft>
              <a:buClrTx/>
              <a:buSzTx/>
              <a:buFont typeface="Arial"/>
              <a:buNone/>
              <a:tabLst/>
              <a:defRPr/>
            </a:pPr>
            <a:r>
              <a:rPr kumimoji="0" lang="en-GB" altLang="en-US" sz="1200" b="0" i="0" u="none" strike="noStrike" kern="1200" cap="none" spc="0" normalizeH="0" baseline="0" noProof="0" dirty="0">
                <a:ln>
                  <a:noFill/>
                </a:ln>
                <a:solidFill>
                  <a:srgbClr val="6D6E71"/>
                </a:solidFill>
                <a:effectLst/>
                <a:uLnTx/>
                <a:uFillTx/>
                <a:latin typeface="Cambria" panose="02040503050406030204" pitchFamily="18" charset="0"/>
                <a:ea typeface="+mn-ea"/>
                <a:cs typeface="Arial"/>
                <a:sym typeface="Arial"/>
              </a:rPr>
              <a:t>E-mail: </a:t>
            </a:r>
            <a:r>
              <a:rPr kumimoji="0" lang="ro-RO" altLang="en-US" sz="1200" b="0" i="0" u="none" strike="noStrike" kern="1200" cap="none" spc="0" normalizeH="0" baseline="0" noProof="0" dirty="0">
                <a:ln>
                  <a:noFill/>
                </a:ln>
                <a:solidFill>
                  <a:srgbClr val="6D6E71"/>
                </a:solidFill>
                <a:effectLst/>
                <a:uLnTx/>
                <a:uFillTx/>
                <a:latin typeface="Cambria" panose="02040503050406030204" pitchFamily="18" charset="0"/>
                <a:ea typeface="+mn-ea"/>
                <a:cs typeface="Arial"/>
                <a:sym typeface="Arial"/>
                <a:hlinkClick r:id="rId8"/>
              </a:rPr>
              <a:t>varsovia.economic@mae.ro</a:t>
            </a:r>
            <a:r>
              <a:rPr kumimoji="0" lang="en-GB" altLang="en-US" sz="1200" b="0" i="0" u="none" strike="noStrike" kern="1200" cap="none" spc="0" normalizeH="0" baseline="0" noProof="0" dirty="0">
                <a:ln>
                  <a:noFill/>
                </a:ln>
                <a:solidFill>
                  <a:srgbClr val="6D6E71"/>
                </a:solidFill>
                <a:effectLst/>
                <a:uLnTx/>
                <a:uFillTx/>
                <a:latin typeface="Cambria" panose="02040503050406030204" pitchFamily="18" charset="0"/>
                <a:ea typeface="+mn-ea"/>
                <a:cs typeface="Arial"/>
                <a:sym typeface="Arial"/>
              </a:rPr>
              <a:t> ; Website: </a:t>
            </a:r>
            <a:r>
              <a:rPr kumimoji="0" lang="en-GB" altLang="en-US" sz="1200" b="0" i="0" u="none" strike="noStrike" kern="1200" cap="none" spc="0" normalizeH="0" baseline="0" noProof="0" dirty="0">
                <a:ln>
                  <a:noFill/>
                </a:ln>
                <a:solidFill>
                  <a:srgbClr val="6D6E71"/>
                </a:solidFill>
                <a:effectLst/>
                <a:uLnTx/>
                <a:uFillTx/>
                <a:latin typeface="Cambria" panose="02040503050406030204" pitchFamily="18" charset="0"/>
                <a:ea typeface="+mn-ea"/>
                <a:cs typeface="Arial"/>
                <a:sym typeface="Arial"/>
                <a:hlinkClick r:id="rId9"/>
              </a:rPr>
              <a:t>http://varsovia.mae.ro</a:t>
            </a:r>
            <a:r>
              <a:rPr kumimoji="0" lang="en-GB" altLang="en-US" sz="1200" b="0" i="0" u="none" strike="noStrike" kern="1200" cap="none" spc="0" normalizeH="0" baseline="0" noProof="0" dirty="0">
                <a:ln>
                  <a:noFill/>
                </a:ln>
                <a:solidFill>
                  <a:srgbClr val="6D6E71"/>
                </a:solidFill>
                <a:effectLst/>
                <a:uLnTx/>
                <a:uFillTx/>
                <a:latin typeface="Cambria" panose="02040503050406030204" pitchFamily="18" charset="0"/>
                <a:ea typeface="+mn-ea"/>
                <a:cs typeface="Arial"/>
                <a:sym typeface="Arial"/>
              </a:rPr>
              <a:t> </a:t>
            </a:r>
            <a:endParaRPr kumimoji="0" lang="en-US" altLang="en-US" sz="1200" b="0" i="0" u="none" strike="noStrike" kern="1200" cap="none" spc="0" normalizeH="0" baseline="0" noProof="0" dirty="0">
              <a:ln>
                <a:noFill/>
              </a:ln>
              <a:solidFill>
                <a:srgbClr val="6D6E71"/>
              </a:solidFill>
              <a:effectLst/>
              <a:uLnTx/>
              <a:uFillTx/>
              <a:latin typeface="Cambria" panose="02040503050406030204" pitchFamily="18" charset="0"/>
              <a:ea typeface="+mn-ea"/>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val="1361542566"/>
              </p:ext>
            </p:extLst>
          </p:nvPr>
        </p:nvGraphicFramePr>
        <p:xfrm>
          <a:off x="376077" y="914418"/>
          <a:ext cx="8391848" cy="3150579"/>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Macroeconomic forecasts</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2" name="TextBox 11"/>
          <p:cNvSpPr txBox="1"/>
          <p:nvPr/>
        </p:nvSpPr>
        <p:spPr>
          <a:xfrm>
            <a:off x="2801155" y="947366"/>
            <a:ext cx="3541690" cy="202941"/>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GDP growth (%)</a:t>
            </a:r>
          </a:p>
        </p:txBody>
      </p:sp>
      <p:sp>
        <p:nvSpPr>
          <p:cNvPr id="13" name="Rectangle 12"/>
          <p:cNvSpPr/>
          <p:nvPr/>
        </p:nvSpPr>
        <p:spPr>
          <a:xfrm>
            <a:off x="14127" y="3821474"/>
            <a:ext cx="3560590" cy="39703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a:t>
            </a:r>
            <a:r>
              <a:rPr lang="en-US" sz="900" dirty="0">
                <a:solidFill>
                  <a:srgbClr val="2846A8"/>
                </a:solidFill>
                <a:latin typeface="Cambria" panose="02040503050406030204" pitchFamily="18" charset="0"/>
              </a:rPr>
              <a:t>National Institute of Statistics)</a:t>
            </a:r>
            <a:endParaRPr lang="ro-RO" sz="900" b="0" dirty="0">
              <a:solidFill>
                <a:srgbClr val="2846A8"/>
              </a:solidFill>
              <a:latin typeface="Cambria" panose="02040503050406030204" pitchFamily="18" charset="0"/>
            </a:endParaRPr>
          </a:p>
          <a:p>
            <a:pPr>
              <a:lnSpc>
                <a:spcPct val="110000"/>
              </a:lnSpc>
              <a:buClr>
                <a:srgbClr val="99CC00"/>
              </a:buClr>
            </a:pPr>
            <a:r>
              <a:rPr lang="ro-RO" sz="900" dirty="0">
                <a:solidFill>
                  <a:srgbClr val="2846A8"/>
                </a:solidFill>
                <a:latin typeface="Cambria" panose="02040503050406030204" pitchFamily="18" charset="0"/>
              </a:rPr>
              <a:t>*</a:t>
            </a:r>
            <a:r>
              <a:rPr lang="en-US" sz="900" dirty="0">
                <a:solidFill>
                  <a:srgbClr val="2846A8"/>
                </a:solidFill>
                <a:latin typeface="Cambria" panose="02040503050406030204" pitchFamily="18" charset="0"/>
              </a:rPr>
              <a:t>National Strategy and Forecast Commission,</a:t>
            </a:r>
            <a:r>
              <a:rPr lang="ro-RO" sz="900" dirty="0">
                <a:solidFill>
                  <a:srgbClr val="2846A8"/>
                </a:solidFill>
                <a:latin typeface="Cambria" panose="02040503050406030204" pitchFamily="18" charset="0"/>
              </a:rPr>
              <a:t>  Autumn Forecast 2024</a:t>
            </a:r>
            <a:endParaRPr lang="en-US" sz="900" b="0" dirty="0">
              <a:solidFill>
                <a:srgbClr val="2846A8"/>
              </a:solidFill>
              <a:latin typeface="Cambria" panose="02040503050406030204" pitchFamily="18" charset="0"/>
            </a:endParaRPr>
          </a:p>
        </p:txBody>
      </p:sp>
    </p:spTree>
    <p:extLst>
      <p:ext uri="{BB962C8B-B14F-4D97-AF65-F5344CB8AC3E}">
        <p14:creationId xmlns:p14="http://schemas.microsoft.com/office/powerpoint/2010/main" val="615055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8"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Inflation &amp; Unemployment</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2" name="TextBox 11"/>
          <p:cNvSpPr txBox="1"/>
          <p:nvPr/>
        </p:nvSpPr>
        <p:spPr>
          <a:xfrm>
            <a:off x="2945534" y="876851"/>
            <a:ext cx="3541690" cy="202941"/>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Inflation rate (%)</a:t>
            </a:r>
          </a:p>
        </p:txBody>
      </p:sp>
      <p:graphicFrame>
        <p:nvGraphicFramePr>
          <p:cNvPr id="11" name="Chart 10"/>
          <p:cNvGraphicFramePr>
            <a:graphicFrameLocks/>
          </p:cNvGraphicFramePr>
          <p:nvPr>
            <p:extLst>
              <p:ext uri="{D42A27DB-BD31-4B8C-83A1-F6EECF244321}">
                <p14:modId xmlns:p14="http://schemas.microsoft.com/office/powerpoint/2010/main" val="110336207"/>
              </p:ext>
            </p:extLst>
          </p:nvPr>
        </p:nvGraphicFramePr>
        <p:xfrm>
          <a:off x="246944" y="1096911"/>
          <a:ext cx="8505000" cy="1824622"/>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2801155" y="3036918"/>
            <a:ext cx="3541690" cy="202941"/>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Unemployment rate (%)</a:t>
            </a:r>
          </a:p>
        </p:txBody>
      </p:sp>
      <p:graphicFrame>
        <p:nvGraphicFramePr>
          <p:cNvPr id="14" name="Chart 13"/>
          <p:cNvGraphicFramePr>
            <a:graphicFrameLocks/>
          </p:cNvGraphicFramePr>
          <p:nvPr>
            <p:extLst>
              <p:ext uri="{D42A27DB-BD31-4B8C-83A1-F6EECF244321}">
                <p14:modId xmlns:p14="http://schemas.microsoft.com/office/powerpoint/2010/main" val="2205533767"/>
              </p:ext>
            </p:extLst>
          </p:nvPr>
        </p:nvGraphicFramePr>
        <p:xfrm>
          <a:off x="319500" y="3131854"/>
          <a:ext cx="8505000" cy="1604950"/>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p:cNvSpPr/>
          <p:nvPr/>
        </p:nvSpPr>
        <p:spPr>
          <a:xfrm>
            <a:off x="0" y="4736804"/>
            <a:ext cx="3560590" cy="39703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a:t>
            </a:r>
            <a:r>
              <a:rPr lang="en-US" sz="900" dirty="0">
                <a:solidFill>
                  <a:srgbClr val="2846A8"/>
                </a:solidFill>
                <a:latin typeface="Cambria" panose="02040503050406030204" pitchFamily="18" charset="0"/>
              </a:rPr>
              <a:t>National Institute of Statistics)</a:t>
            </a:r>
            <a:endParaRPr lang="ro-RO" sz="900" b="0" dirty="0">
              <a:solidFill>
                <a:srgbClr val="2846A8"/>
              </a:solidFill>
              <a:latin typeface="Cambria" panose="02040503050406030204" pitchFamily="18" charset="0"/>
            </a:endParaRPr>
          </a:p>
          <a:p>
            <a:pPr>
              <a:lnSpc>
                <a:spcPct val="110000"/>
              </a:lnSpc>
              <a:buClr>
                <a:srgbClr val="99CC00"/>
              </a:buClr>
            </a:pPr>
            <a:r>
              <a:rPr lang="ro-RO" sz="900" dirty="0">
                <a:solidFill>
                  <a:srgbClr val="2846A8"/>
                </a:solidFill>
                <a:latin typeface="Cambria" panose="02040503050406030204" pitchFamily="18" charset="0"/>
              </a:rPr>
              <a:t>*</a:t>
            </a:r>
            <a:r>
              <a:rPr lang="en-US" sz="900" dirty="0">
                <a:solidFill>
                  <a:srgbClr val="2846A8"/>
                </a:solidFill>
                <a:latin typeface="Cambria" panose="02040503050406030204" pitchFamily="18" charset="0"/>
              </a:rPr>
              <a:t>National Strategy and Forecast Commission,</a:t>
            </a:r>
            <a:r>
              <a:rPr lang="ro-RO" sz="900" dirty="0">
                <a:solidFill>
                  <a:srgbClr val="2846A8"/>
                </a:solidFill>
                <a:latin typeface="Cambria" panose="02040503050406030204" pitchFamily="18" charset="0"/>
              </a:rPr>
              <a:t> Autumn Forecast 2024</a:t>
            </a:r>
            <a:endParaRPr lang="en-US" sz="900" b="0" dirty="0">
              <a:solidFill>
                <a:srgbClr val="2846A8"/>
              </a:solidFill>
              <a:latin typeface="Cambria" panose="02040503050406030204" pitchFamily="18" charset="0"/>
            </a:endParaRPr>
          </a:p>
        </p:txBody>
      </p:sp>
    </p:spTree>
    <p:extLst>
      <p:ext uri="{BB962C8B-B14F-4D97-AF65-F5344CB8AC3E}">
        <p14:creationId xmlns:p14="http://schemas.microsoft.com/office/powerpoint/2010/main" val="1771571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8"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Minimum wage in EU</a:t>
            </a:r>
          </a:p>
        </p:txBody>
      </p:sp>
      <p:sp>
        <p:nvSpPr>
          <p:cNvPr id="10" name="TextBox 9"/>
          <p:cNvSpPr txBox="1"/>
          <p:nvPr/>
        </p:nvSpPr>
        <p:spPr>
          <a:xfrm>
            <a:off x="456194" y="3543301"/>
            <a:ext cx="5433860" cy="304699"/>
          </a:xfrm>
          <a:prstGeom prst="rect">
            <a:avLst/>
          </a:prstGeom>
          <a:noFill/>
          <a:ln w="9525">
            <a:noFill/>
          </a:ln>
        </p:spPr>
        <p:txBody>
          <a:bodyPr wrap="square" lIns="0" tIns="0" rIns="0" bIns="0" rtlCol="0">
            <a:spAutoFit/>
          </a:bodyPr>
          <a:lstStyle/>
          <a:p>
            <a:pPr>
              <a:lnSpc>
                <a:spcPct val="110000"/>
              </a:lnSpc>
              <a:buClr>
                <a:srgbClr val="99CC00"/>
              </a:buClr>
            </a:pPr>
            <a:r>
              <a:rPr lang="en-US" sz="900" dirty="0">
                <a:solidFill>
                  <a:srgbClr val="2846A8"/>
                </a:solidFill>
                <a:latin typeface="Cambria" panose="02040503050406030204" pitchFamily="18" charset="0"/>
              </a:rPr>
              <a:t>(Note: </a:t>
            </a:r>
            <a:r>
              <a:rPr lang="en-US" sz="900" dirty="0">
                <a:solidFill>
                  <a:srgbClr val="2846A8"/>
                </a:solidFill>
                <a:latin typeface="Cambria" panose="02040503050406030204" pitchFamily="18" charset="0"/>
                <a:ea typeface="Arial"/>
                <a:cs typeface="Arial"/>
              </a:rPr>
              <a:t>These provisions do not apply in the construction sector, agricultural and the food industry in Romania</a:t>
            </a:r>
            <a:r>
              <a:rPr lang="en-US" sz="900" dirty="0">
                <a:solidFill>
                  <a:srgbClr val="2846A8"/>
                </a:solidFill>
                <a:latin typeface="Cambria" panose="02040503050406030204" pitchFamily="18" charset="0"/>
              </a:rPr>
              <a:t>. </a:t>
            </a:r>
            <a:r>
              <a:rPr lang="ro-RO" sz="900" dirty="0">
                <a:solidFill>
                  <a:srgbClr val="2846A8"/>
                </a:solidFill>
                <a:latin typeface="Cambria" panose="02040503050406030204" pitchFamily="18" charset="0"/>
              </a:rPr>
              <a:t>All values are rounded. </a:t>
            </a:r>
            <a:r>
              <a:rPr lang="en-US" sz="900" dirty="0">
                <a:solidFill>
                  <a:srgbClr val="2846A8"/>
                </a:solidFill>
                <a:latin typeface="Cambria" panose="02040503050406030204" pitchFamily="18" charset="0"/>
              </a:rPr>
              <a:t>Denmark, Italy, </a:t>
            </a:r>
            <a:r>
              <a:rPr lang="ro-RO" sz="900" dirty="0">
                <a:solidFill>
                  <a:srgbClr val="2846A8"/>
                </a:solidFill>
                <a:latin typeface="Cambria" panose="02040503050406030204" pitchFamily="18" charset="0"/>
              </a:rPr>
              <a:t>Cyprus, </a:t>
            </a:r>
            <a:r>
              <a:rPr lang="en-US" sz="900" dirty="0">
                <a:solidFill>
                  <a:srgbClr val="2846A8"/>
                </a:solidFill>
                <a:latin typeface="Cambria" panose="02040503050406030204" pitchFamily="18" charset="0"/>
              </a:rPr>
              <a:t>Austria, Finland and Sweden - no national minimum wage.</a:t>
            </a:r>
            <a:r>
              <a:rPr lang="en-US" sz="900" dirty="0">
                <a:solidFill>
                  <a:srgbClr val="2846A8"/>
                </a:solidFill>
                <a:latin typeface="Cambria" panose="02040503050406030204" pitchFamily="18" charset="0"/>
                <a:ea typeface="Arial"/>
                <a:cs typeface="Arial"/>
              </a:rPr>
              <a:t>)</a:t>
            </a:r>
            <a:endParaRPr lang="en-US" altLang="en-US" sz="900" b="0" dirty="0">
              <a:solidFill>
                <a:srgbClr val="2846A8"/>
              </a:solidFill>
              <a:latin typeface="Cambria" panose="02040503050406030204" pitchFamily="18"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2" name="TextBox 11"/>
          <p:cNvSpPr txBox="1"/>
          <p:nvPr/>
        </p:nvSpPr>
        <p:spPr>
          <a:xfrm>
            <a:off x="2801155" y="1239414"/>
            <a:ext cx="3541690" cy="390492"/>
          </a:xfrm>
          <a:prstGeom prst="rect">
            <a:avLst/>
          </a:prstGeom>
          <a:noFill/>
          <a:ln w="9525">
            <a:noFill/>
          </a:ln>
        </p:spPr>
        <p:txBody>
          <a:bodyPr wrap="square" lIns="0" tIns="0" rIns="0" bIns="0" rtlCol="0">
            <a:spAutoFit/>
          </a:bodyPr>
          <a:lstStyle/>
          <a:p>
            <a:pPr algn="ctr">
              <a:lnSpc>
                <a:spcPct val="110000"/>
              </a:lnSpc>
              <a:buClr>
                <a:srgbClr val="99CC00"/>
              </a:buClr>
            </a:pPr>
            <a:r>
              <a:rPr lang="en-US" sz="1200" b="1" dirty="0">
                <a:solidFill>
                  <a:srgbClr val="2846A8"/>
                </a:solidFill>
                <a:latin typeface="Cambria" panose="02040503050406030204" pitchFamily="18" charset="0"/>
              </a:rPr>
              <a:t>Gross Minimum Wage in EU (€/month)</a:t>
            </a:r>
          </a:p>
          <a:p>
            <a:pPr algn="ctr">
              <a:lnSpc>
                <a:spcPct val="110000"/>
              </a:lnSpc>
              <a:buClr>
                <a:srgbClr val="99CC00"/>
              </a:buClr>
            </a:pPr>
            <a:r>
              <a:rPr lang="en-US" sz="1200" b="1" dirty="0">
                <a:solidFill>
                  <a:srgbClr val="2846A8"/>
                </a:solidFill>
                <a:latin typeface="Cambria" panose="02040503050406030204" pitchFamily="18" charset="0"/>
              </a:rPr>
              <a:t>July 2024</a:t>
            </a:r>
          </a:p>
        </p:txBody>
      </p:sp>
      <p:sp>
        <p:nvSpPr>
          <p:cNvPr id="15" name="Rectangle 14"/>
          <p:cNvSpPr/>
          <p:nvPr/>
        </p:nvSpPr>
        <p:spPr>
          <a:xfrm>
            <a:off x="349102" y="3823494"/>
            <a:ext cx="2045090" cy="232821"/>
          </a:xfrm>
          <a:prstGeom prst="rect">
            <a:avLst/>
          </a:prstGeom>
        </p:spPr>
        <p:txBody>
          <a:bodyPr wrap="square">
            <a:spAutoFit/>
          </a:bodyPr>
          <a:lstStyle/>
          <a:p>
            <a:pPr>
              <a:lnSpc>
                <a:spcPct val="110000"/>
              </a:lnSpc>
              <a:buClr>
                <a:srgbClr val="99CC00"/>
              </a:buClr>
            </a:pPr>
            <a:r>
              <a:rPr lang="en-US" sz="900" b="0" dirty="0">
                <a:solidFill>
                  <a:srgbClr val="2846A8"/>
                </a:solidFill>
                <a:latin typeface="Cambria" panose="02040503050406030204" pitchFamily="18" charset="0"/>
              </a:rPr>
              <a:t>(Source: </a:t>
            </a:r>
            <a:r>
              <a:rPr lang="en-US" sz="900" dirty="0">
                <a:solidFill>
                  <a:srgbClr val="2846A8"/>
                </a:solidFill>
                <a:latin typeface="Cambria" panose="02040503050406030204" pitchFamily="18" charset="0"/>
              </a:rPr>
              <a:t>Eurostat, July 2024)</a:t>
            </a:r>
            <a:endParaRPr lang="en-US" sz="900" b="0" dirty="0">
              <a:solidFill>
                <a:srgbClr val="2846A8"/>
              </a:solidFill>
              <a:latin typeface="Cambria" panose="02040503050406030204" pitchFamily="18" charset="0"/>
            </a:endParaRPr>
          </a:p>
        </p:txBody>
      </p:sp>
      <p:graphicFrame>
        <p:nvGraphicFramePr>
          <p:cNvPr id="2" name="Chart 1"/>
          <p:cNvGraphicFramePr/>
          <p:nvPr>
            <p:extLst>
              <p:ext uri="{D42A27DB-BD31-4B8C-83A1-F6EECF244321}">
                <p14:modId xmlns:p14="http://schemas.microsoft.com/office/powerpoint/2010/main" val="325181214"/>
              </p:ext>
            </p:extLst>
          </p:nvPr>
        </p:nvGraphicFramePr>
        <p:xfrm>
          <a:off x="349102" y="666254"/>
          <a:ext cx="8445796" cy="30242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28329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8"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FDI Flows &amp; Stock</a:t>
            </a:r>
          </a:p>
        </p:txBody>
      </p:sp>
      <p:sp>
        <p:nvSpPr>
          <p:cNvPr id="9" name="Rectangle 8"/>
          <p:cNvSpPr/>
          <p:nvPr/>
        </p:nvSpPr>
        <p:spPr>
          <a:xfrm>
            <a:off x="0" y="4097569"/>
            <a:ext cx="2760692" cy="244682"/>
          </a:xfrm>
          <a:prstGeom prst="rect">
            <a:avLst/>
          </a:prstGeom>
        </p:spPr>
        <p:txBody>
          <a:bodyPr wrap="none">
            <a:spAutoFit/>
          </a:bodyPr>
          <a:lstStyle/>
          <a:p>
            <a:pPr>
              <a:lnSpc>
                <a:spcPct val="110000"/>
              </a:lnSpc>
              <a:buClr>
                <a:srgbClr val="99CC00"/>
              </a:buClr>
            </a:pPr>
            <a:r>
              <a:rPr lang="en-US" sz="900" dirty="0">
                <a:solidFill>
                  <a:srgbClr val="2846A8"/>
                </a:solidFill>
                <a:latin typeface="Cambria" panose="02040503050406030204" pitchFamily="18" charset="0"/>
              </a:rPr>
              <a:t>(Source:  UNCTAD - World Investment Report 2024)</a:t>
            </a:r>
            <a:endParaRPr lang="en-US" sz="900" b="0" dirty="0">
              <a:solidFill>
                <a:srgbClr val="2846A8"/>
              </a:solidFill>
              <a:latin typeface="Cambria" panose="02040503050406030204" pitchFamily="18"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2" name="TextBox 11"/>
          <p:cNvSpPr txBox="1"/>
          <p:nvPr/>
        </p:nvSpPr>
        <p:spPr>
          <a:xfrm>
            <a:off x="2801155" y="947366"/>
            <a:ext cx="3541690" cy="202941"/>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a:t>
            </a:r>
            <a:r>
              <a:rPr lang="en-US" sz="1300" b="1" dirty="0" err="1">
                <a:solidFill>
                  <a:srgbClr val="2846A8"/>
                </a:solidFill>
                <a:latin typeface="Cambria" panose="02040503050406030204" pitchFamily="18" charset="0"/>
              </a:rPr>
              <a:t>Bn</a:t>
            </a:r>
            <a:r>
              <a:rPr lang="en-US" sz="1300" b="1" dirty="0">
                <a:solidFill>
                  <a:srgbClr val="2846A8"/>
                </a:solidFill>
                <a:latin typeface="Cambria" panose="02040503050406030204" pitchFamily="18" charset="0"/>
              </a:rPr>
              <a:t> €)</a:t>
            </a:r>
          </a:p>
        </p:txBody>
      </p:sp>
      <p:graphicFrame>
        <p:nvGraphicFramePr>
          <p:cNvPr id="11" name="Chart 10"/>
          <p:cNvGraphicFramePr>
            <a:graphicFrameLocks/>
          </p:cNvGraphicFramePr>
          <p:nvPr>
            <p:extLst>
              <p:ext uri="{D42A27DB-BD31-4B8C-83A1-F6EECF244321}">
                <p14:modId xmlns:p14="http://schemas.microsoft.com/office/powerpoint/2010/main" val="1357540170"/>
              </p:ext>
            </p:extLst>
          </p:nvPr>
        </p:nvGraphicFramePr>
        <p:xfrm>
          <a:off x="236220" y="862209"/>
          <a:ext cx="8671560" cy="2871591"/>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p:cNvSpPr/>
          <p:nvPr/>
        </p:nvSpPr>
        <p:spPr>
          <a:xfrm>
            <a:off x="0" y="3648461"/>
            <a:ext cx="9144000" cy="461665"/>
          </a:xfrm>
          <a:prstGeom prst="rect">
            <a:avLst/>
          </a:prstGeom>
        </p:spPr>
        <p:txBody>
          <a:bodyPr wrap="square">
            <a:spAutoFit/>
          </a:bodyPr>
          <a:lstStyle/>
          <a:p>
            <a:r>
              <a:rPr lang="en-US" sz="1200" dirty="0">
                <a:solidFill>
                  <a:srgbClr val="2846A8"/>
                </a:solidFill>
                <a:latin typeface="Cambria" panose="02040503050406030204" pitchFamily="18" charset="0"/>
              </a:rPr>
              <a:t>In 2023, Romania ranked 12th by inflow FDI and 16th by FDI stock, among EU counties.</a:t>
            </a:r>
          </a:p>
          <a:p>
            <a:r>
              <a:rPr lang="en-US" sz="1200" dirty="0">
                <a:solidFill>
                  <a:srgbClr val="2846A8"/>
                </a:solidFill>
                <a:latin typeface="Cambria" panose="02040503050406030204" pitchFamily="18" charset="0"/>
              </a:rPr>
              <a:t>By the number of on the pipe greenfield FDI projects, Romania ranked 20th in EU, with 23 projects. </a:t>
            </a:r>
          </a:p>
        </p:txBody>
      </p:sp>
      <p:sp>
        <p:nvSpPr>
          <p:cNvPr id="14" name="Rectangle 13"/>
          <p:cNvSpPr/>
          <p:nvPr/>
        </p:nvSpPr>
        <p:spPr>
          <a:xfrm>
            <a:off x="6991828" y="3403779"/>
            <a:ext cx="1946367" cy="232821"/>
          </a:xfrm>
          <a:prstGeom prst="rect">
            <a:avLst/>
          </a:prstGeom>
        </p:spPr>
        <p:txBody>
          <a:bodyPr wrap="none">
            <a:spAutoFit/>
          </a:bodyPr>
          <a:lstStyle/>
          <a:p>
            <a:pPr algn="r">
              <a:lnSpc>
                <a:spcPct val="110000"/>
              </a:lnSpc>
              <a:buClr>
                <a:srgbClr val="99CC00"/>
              </a:buClr>
            </a:pPr>
            <a:r>
              <a:rPr lang="en-US" sz="900" b="0" dirty="0">
                <a:solidFill>
                  <a:srgbClr val="2846A8"/>
                </a:solidFill>
                <a:latin typeface="Cambria" panose="02040503050406030204" pitchFamily="18" charset="0"/>
              </a:rPr>
              <a:t>(Source: National </a:t>
            </a:r>
            <a:r>
              <a:rPr lang="ro-RO" sz="900" b="0" dirty="0">
                <a:solidFill>
                  <a:srgbClr val="2846A8"/>
                </a:solidFill>
                <a:latin typeface="Cambria" panose="02040503050406030204" pitchFamily="18" charset="0"/>
              </a:rPr>
              <a:t>Bank of Romania</a:t>
            </a:r>
            <a:r>
              <a:rPr lang="en-US" sz="900" b="0" dirty="0">
                <a:solidFill>
                  <a:srgbClr val="2846A8"/>
                </a:solidFill>
                <a:latin typeface="Cambria" panose="02040503050406030204" pitchFamily="18" charset="0"/>
              </a:rPr>
              <a:t>)</a:t>
            </a:r>
          </a:p>
        </p:txBody>
      </p:sp>
    </p:spTree>
    <p:extLst>
      <p:ext uri="{BB962C8B-B14F-4D97-AF65-F5344CB8AC3E}">
        <p14:creationId xmlns:p14="http://schemas.microsoft.com/office/powerpoint/2010/main" val="3395633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8" name="Google Shape;387;p31"/>
          <p:cNvSpPr txBox="1">
            <a:spLocks/>
          </p:cNvSpPr>
          <p:nvPr/>
        </p:nvSpPr>
        <p:spPr>
          <a:xfrm>
            <a:off x="1341744" y="102454"/>
            <a:ext cx="7703207" cy="774538"/>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FDI Stock by Sector</a:t>
            </a:r>
          </a:p>
          <a:p>
            <a:pPr algn="ctr"/>
            <a:r>
              <a:rPr lang="en-US" sz="1200" b="1" dirty="0">
                <a:solidFill>
                  <a:srgbClr val="2846A8"/>
                </a:solidFill>
                <a:latin typeface="Cambria" panose="02040503050406030204" pitchFamily="18" charset="0"/>
                <a:ea typeface="Cambria" panose="02040503050406030204" pitchFamily="18" charset="0"/>
              </a:rPr>
              <a:t>€118,231 million</a:t>
            </a:r>
          </a:p>
          <a:p>
            <a:pPr algn="ctr"/>
            <a:r>
              <a:rPr lang="en-US" sz="1200" b="1" dirty="0">
                <a:solidFill>
                  <a:srgbClr val="2846A8"/>
                </a:solidFill>
                <a:latin typeface="Cambria" panose="02040503050406030204" pitchFamily="18" charset="0"/>
                <a:ea typeface="Cambria" panose="02040503050406030204" pitchFamily="18" charset="0"/>
              </a:rPr>
              <a:t>at December 31</a:t>
            </a:r>
            <a:r>
              <a:rPr lang="en-US" sz="1200" b="1" baseline="30000" dirty="0">
                <a:solidFill>
                  <a:srgbClr val="2846A8"/>
                </a:solidFill>
                <a:latin typeface="Cambria" panose="02040503050406030204" pitchFamily="18" charset="0"/>
                <a:ea typeface="Cambria" panose="02040503050406030204" pitchFamily="18" charset="0"/>
              </a:rPr>
              <a:t>st</a:t>
            </a:r>
            <a:r>
              <a:rPr lang="en-US" sz="1200" b="1" dirty="0">
                <a:solidFill>
                  <a:srgbClr val="2846A8"/>
                </a:solidFill>
                <a:latin typeface="Cambria" panose="02040503050406030204" pitchFamily="18" charset="0"/>
                <a:ea typeface="Cambria" panose="02040503050406030204" pitchFamily="18" charset="0"/>
              </a:rPr>
              <a:t>, 2023</a:t>
            </a:r>
          </a:p>
        </p:txBody>
      </p:sp>
      <p:grpSp>
        <p:nvGrpSpPr>
          <p:cNvPr id="228" name="Group 227"/>
          <p:cNvGrpSpPr/>
          <p:nvPr/>
        </p:nvGrpSpPr>
        <p:grpSpPr>
          <a:xfrm>
            <a:off x="1341744" y="951026"/>
            <a:ext cx="6038851" cy="3254482"/>
            <a:chOff x="2162174" y="1083150"/>
            <a:chExt cx="6981826" cy="3254482"/>
          </a:xfrm>
        </p:grpSpPr>
        <p:sp>
          <p:nvSpPr>
            <p:cNvPr id="22" name="Google Shape;575;p46"/>
            <p:cNvSpPr/>
            <p:nvPr/>
          </p:nvSpPr>
          <p:spPr>
            <a:xfrm>
              <a:off x="3207831" y="3296723"/>
              <a:ext cx="2345243" cy="554244"/>
            </a:xfrm>
            <a:custGeom>
              <a:avLst/>
              <a:gdLst/>
              <a:ahLst/>
              <a:cxnLst/>
              <a:rect l="l" t="t" r="r" b="b"/>
              <a:pathLst>
                <a:path w="640" h="194" extrusionOk="0">
                  <a:moveTo>
                    <a:pt x="0" y="0"/>
                  </a:moveTo>
                  <a:cubicBezTo>
                    <a:pt x="63" y="130"/>
                    <a:pt x="63" y="130"/>
                    <a:pt x="63" y="130"/>
                  </a:cubicBezTo>
                  <a:cubicBezTo>
                    <a:pt x="64" y="130"/>
                    <a:pt x="64" y="130"/>
                    <a:pt x="64" y="130"/>
                  </a:cubicBezTo>
                  <a:cubicBezTo>
                    <a:pt x="64" y="130"/>
                    <a:pt x="64" y="130"/>
                    <a:pt x="64" y="131"/>
                  </a:cubicBezTo>
                  <a:cubicBezTo>
                    <a:pt x="70" y="143"/>
                    <a:pt x="70" y="143"/>
                    <a:pt x="70" y="143"/>
                  </a:cubicBezTo>
                  <a:cubicBezTo>
                    <a:pt x="93" y="170"/>
                    <a:pt x="188" y="194"/>
                    <a:pt x="320" y="194"/>
                  </a:cubicBezTo>
                  <a:cubicBezTo>
                    <a:pt x="452" y="194"/>
                    <a:pt x="547" y="170"/>
                    <a:pt x="571" y="143"/>
                  </a:cubicBezTo>
                  <a:cubicBezTo>
                    <a:pt x="577" y="131"/>
                    <a:pt x="577" y="131"/>
                    <a:pt x="577" y="131"/>
                  </a:cubicBezTo>
                  <a:cubicBezTo>
                    <a:pt x="577" y="130"/>
                    <a:pt x="577" y="130"/>
                    <a:pt x="577" y="130"/>
                  </a:cubicBezTo>
                  <a:cubicBezTo>
                    <a:pt x="577" y="130"/>
                    <a:pt x="577" y="130"/>
                    <a:pt x="577" y="130"/>
                  </a:cubicBezTo>
                  <a:cubicBezTo>
                    <a:pt x="640" y="0"/>
                    <a:pt x="640" y="0"/>
                    <a:pt x="640" y="0"/>
                  </a:cubicBezTo>
                  <a:cubicBezTo>
                    <a:pt x="587" y="29"/>
                    <a:pt x="452" y="46"/>
                    <a:pt x="320" y="46"/>
                  </a:cubicBezTo>
                  <a:cubicBezTo>
                    <a:pt x="189" y="46"/>
                    <a:pt x="53" y="29"/>
                    <a:pt x="0" y="0"/>
                  </a:cubicBezTo>
                  <a:close/>
                </a:path>
              </a:pathLst>
            </a:custGeom>
            <a:solidFill>
              <a:schemeClr val="accent5"/>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dirty="0">
                <a:solidFill>
                  <a:schemeClr val="lt1"/>
                </a:solidFill>
                <a:latin typeface="IBM Plex Sans"/>
                <a:ea typeface="IBM Plex Sans"/>
                <a:cs typeface="IBM Plex Sans"/>
                <a:sym typeface="IBM Plex Sans"/>
              </a:endParaRPr>
            </a:p>
          </p:txBody>
        </p:sp>
        <p:sp>
          <p:nvSpPr>
            <p:cNvPr id="23" name="Google Shape;576;p46"/>
            <p:cNvSpPr/>
            <p:nvPr/>
          </p:nvSpPr>
          <p:spPr>
            <a:xfrm>
              <a:off x="3495675" y="3785227"/>
              <a:ext cx="1771649" cy="541773"/>
            </a:xfrm>
            <a:custGeom>
              <a:avLst/>
              <a:gdLst/>
              <a:ahLst/>
              <a:cxnLst/>
              <a:rect l="l" t="t" r="r" b="b"/>
              <a:pathLst>
                <a:path w="483" h="190" extrusionOk="0">
                  <a:moveTo>
                    <a:pt x="0" y="0"/>
                  </a:moveTo>
                  <a:cubicBezTo>
                    <a:pt x="61" y="125"/>
                    <a:pt x="61" y="125"/>
                    <a:pt x="61" y="125"/>
                  </a:cubicBezTo>
                  <a:cubicBezTo>
                    <a:pt x="62" y="126"/>
                    <a:pt x="62" y="127"/>
                    <a:pt x="63" y="128"/>
                  </a:cubicBezTo>
                  <a:cubicBezTo>
                    <a:pt x="70" y="144"/>
                    <a:pt x="70" y="144"/>
                    <a:pt x="70" y="144"/>
                  </a:cubicBezTo>
                  <a:cubicBezTo>
                    <a:pt x="93" y="170"/>
                    <a:pt x="162" y="190"/>
                    <a:pt x="241" y="190"/>
                  </a:cubicBezTo>
                  <a:cubicBezTo>
                    <a:pt x="320" y="190"/>
                    <a:pt x="389" y="170"/>
                    <a:pt x="412" y="144"/>
                  </a:cubicBezTo>
                  <a:cubicBezTo>
                    <a:pt x="420" y="128"/>
                    <a:pt x="420" y="128"/>
                    <a:pt x="420" y="128"/>
                  </a:cubicBezTo>
                  <a:cubicBezTo>
                    <a:pt x="421" y="127"/>
                    <a:pt x="421" y="126"/>
                    <a:pt x="421" y="125"/>
                  </a:cubicBezTo>
                  <a:cubicBezTo>
                    <a:pt x="483" y="0"/>
                    <a:pt x="483" y="0"/>
                    <a:pt x="483" y="0"/>
                  </a:cubicBezTo>
                  <a:cubicBezTo>
                    <a:pt x="437" y="26"/>
                    <a:pt x="338" y="41"/>
                    <a:pt x="241" y="41"/>
                  </a:cubicBezTo>
                  <a:cubicBezTo>
                    <a:pt x="144" y="41"/>
                    <a:pt x="45" y="26"/>
                    <a:pt x="0" y="0"/>
                  </a:cubicBezTo>
                  <a:close/>
                </a:path>
              </a:pathLst>
            </a:custGeom>
            <a:solidFill>
              <a:schemeClr val="accent6"/>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dirty="0">
                <a:solidFill>
                  <a:schemeClr val="lt1"/>
                </a:solidFill>
                <a:latin typeface="IBM Plex Sans"/>
                <a:ea typeface="IBM Plex Sans"/>
                <a:cs typeface="IBM Plex Sans"/>
                <a:sym typeface="IBM Plex Sans"/>
              </a:endParaRPr>
            </a:p>
          </p:txBody>
        </p:sp>
        <p:sp>
          <p:nvSpPr>
            <p:cNvPr id="24" name="Google Shape;577;p46"/>
            <p:cNvSpPr/>
            <p:nvPr/>
          </p:nvSpPr>
          <p:spPr>
            <a:xfrm>
              <a:off x="2162174" y="1376708"/>
              <a:ext cx="4448175" cy="576910"/>
            </a:xfrm>
            <a:custGeom>
              <a:avLst/>
              <a:gdLst/>
              <a:ahLst/>
              <a:cxnLst/>
              <a:rect l="l" t="t" r="r" b="b"/>
              <a:pathLst>
                <a:path w="1261" h="202" extrusionOk="0">
                  <a:moveTo>
                    <a:pt x="630" y="53"/>
                  </a:moveTo>
                  <a:cubicBezTo>
                    <a:pt x="363" y="53"/>
                    <a:pt x="82" y="34"/>
                    <a:pt x="0" y="0"/>
                  </a:cubicBezTo>
                  <a:cubicBezTo>
                    <a:pt x="71" y="146"/>
                    <a:pt x="71" y="146"/>
                    <a:pt x="71" y="146"/>
                  </a:cubicBezTo>
                  <a:cubicBezTo>
                    <a:pt x="88" y="157"/>
                    <a:pt x="134" y="170"/>
                    <a:pt x="227" y="181"/>
                  </a:cubicBezTo>
                  <a:cubicBezTo>
                    <a:pt x="334" y="194"/>
                    <a:pt x="478" y="202"/>
                    <a:pt x="630" y="202"/>
                  </a:cubicBezTo>
                  <a:cubicBezTo>
                    <a:pt x="630" y="202"/>
                    <a:pt x="630" y="202"/>
                    <a:pt x="630" y="202"/>
                  </a:cubicBezTo>
                  <a:cubicBezTo>
                    <a:pt x="929" y="202"/>
                    <a:pt x="1147" y="174"/>
                    <a:pt x="1189" y="146"/>
                  </a:cubicBezTo>
                  <a:cubicBezTo>
                    <a:pt x="1261" y="0"/>
                    <a:pt x="1261" y="0"/>
                    <a:pt x="1261" y="0"/>
                  </a:cubicBezTo>
                  <a:cubicBezTo>
                    <a:pt x="1179" y="34"/>
                    <a:pt x="897" y="53"/>
                    <a:pt x="630" y="53"/>
                  </a:cubicBezTo>
                  <a:close/>
                </a:path>
              </a:pathLst>
            </a:custGeom>
            <a:solidFill>
              <a:srgbClr val="DBC696"/>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gn="ctr">
                <a:buClr>
                  <a:schemeClr val="dk1"/>
                </a:buClr>
                <a:buSzPts val="1400"/>
              </a:pPr>
              <a:endParaRPr lang="en-US" sz="1200" dirty="0">
                <a:solidFill>
                  <a:schemeClr val="tx1"/>
                </a:solidFill>
                <a:latin typeface="Cambria" panose="02040503050406030204" pitchFamily="18" charset="0"/>
                <a:ea typeface="Calibri" panose="020F0502020204030204" pitchFamily="34" charset="0"/>
                <a:cs typeface="Calibri" panose="020F0502020204030204" pitchFamily="34" charset="0"/>
              </a:endParaRPr>
            </a:p>
          </p:txBody>
        </p:sp>
        <p:sp>
          <p:nvSpPr>
            <p:cNvPr id="25" name="Google Shape;578;p46"/>
            <p:cNvSpPr/>
            <p:nvPr/>
          </p:nvSpPr>
          <p:spPr>
            <a:xfrm>
              <a:off x="2686048" y="2335583"/>
              <a:ext cx="3383280" cy="564445"/>
            </a:xfrm>
            <a:custGeom>
              <a:avLst/>
              <a:gdLst/>
              <a:ahLst/>
              <a:cxnLst/>
              <a:rect l="l" t="t" r="r" b="b"/>
              <a:pathLst>
                <a:path w="951" h="198" extrusionOk="0">
                  <a:moveTo>
                    <a:pt x="0" y="0"/>
                  </a:moveTo>
                  <a:cubicBezTo>
                    <a:pt x="70" y="144"/>
                    <a:pt x="70" y="144"/>
                    <a:pt x="70" y="144"/>
                  </a:cubicBezTo>
                  <a:cubicBezTo>
                    <a:pt x="101" y="171"/>
                    <a:pt x="259" y="198"/>
                    <a:pt x="475" y="198"/>
                  </a:cubicBezTo>
                  <a:cubicBezTo>
                    <a:pt x="692" y="198"/>
                    <a:pt x="849" y="171"/>
                    <a:pt x="881" y="144"/>
                  </a:cubicBezTo>
                  <a:cubicBezTo>
                    <a:pt x="951" y="0"/>
                    <a:pt x="951" y="0"/>
                    <a:pt x="951" y="0"/>
                  </a:cubicBezTo>
                  <a:cubicBezTo>
                    <a:pt x="881" y="32"/>
                    <a:pt x="673" y="50"/>
                    <a:pt x="475" y="50"/>
                  </a:cubicBezTo>
                  <a:cubicBezTo>
                    <a:pt x="277" y="50"/>
                    <a:pt x="69" y="32"/>
                    <a:pt x="0" y="0"/>
                  </a:cubicBezTo>
                  <a:close/>
                </a:path>
              </a:pathLst>
            </a:custGeom>
            <a:solidFill>
              <a:srgbClr val="F78300"/>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dirty="0">
                <a:solidFill>
                  <a:schemeClr val="lt1"/>
                </a:solidFill>
                <a:latin typeface="IBM Plex Sans"/>
                <a:ea typeface="IBM Plex Sans"/>
                <a:cs typeface="IBM Plex Sans"/>
                <a:sym typeface="IBM Plex Sans"/>
              </a:endParaRPr>
            </a:p>
          </p:txBody>
        </p:sp>
        <p:sp>
          <p:nvSpPr>
            <p:cNvPr id="26" name="Google Shape;579;p46"/>
            <p:cNvSpPr/>
            <p:nvPr/>
          </p:nvSpPr>
          <p:spPr>
            <a:xfrm>
              <a:off x="2428876" y="1856143"/>
              <a:ext cx="3895724" cy="571244"/>
            </a:xfrm>
            <a:custGeom>
              <a:avLst/>
              <a:gdLst/>
              <a:ahLst/>
              <a:cxnLst/>
              <a:rect l="l" t="t" r="r" b="b"/>
              <a:pathLst>
                <a:path w="1105" h="200" extrusionOk="0">
                  <a:moveTo>
                    <a:pt x="552" y="51"/>
                  </a:moveTo>
                  <a:cubicBezTo>
                    <a:pt x="399" y="51"/>
                    <a:pt x="255" y="44"/>
                    <a:pt x="147" y="31"/>
                  </a:cubicBezTo>
                  <a:cubicBezTo>
                    <a:pt x="76" y="22"/>
                    <a:pt x="26" y="12"/>
                    <a:pt x="0" y="0"/>
                  </a:cubicBezTo>
                  <a:cubicBezTo>
                    <a:pt x="70" y="145"/>
                    <a:pt x="70" y="145"/>
                    <a:pt x="70" y="145"/>
                  </a:cubicBezTo>
                  <a:cubicBezTo>
                    <a:pt x="108" y="173"/>
                    <a:pt x="296" y="200"/>
                    <a:pt x="552" y="200"/>
                  </a:cubicBezTo>
                  <a:cubicBezTo>
                    <a:pt x="809" y="200"/>
                    <a:pt x="996" y="173"/>
                    <a:pt x="1034" y="145"/>
                  </a:cubicBezTo>
                  <a:cubicBezTo>
                    <a:pt x="1105" y="0"/>
                    <a:pt x="1105" y="0"/>
                    <a:pt x="1105" y="0"/>
                  </a:cubicBezTo>
                  <a:cubicBezTo>
                    <a:pt x="1030" y="33"/>
                    <a:pt x="785" y="51"/>
                    <a:pt x="552" y="51"/>
                  </a:cubicBezTo>
                  <a:close/>
                </a:path>
              </a:pathLst>
            </a:custGeom>
            <a:solidFill>
              <a:srgbClr val="C4A154"/>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dirty="0">
                <a:solidFill>
                  <a:schemeClr val="lt1"/>
                </a:solidFill>
                <a:latin typeface="IBM Plex Sans"/>
                <a:ea typeface="IBM Plex Sans"/>
                <a:cs typeface="IBM Plex Sans"/>
                <a:sym typeface="IBM Plex Sans"/>
              </a:endParaRPr>
            </a:p>
          </p:txBody>
        </p:sp>
        <p:sp>
          <p:nvSpPr>
            <p:cNvPr id="27" name="Google Shape;580;p46"/>
            <p:cNvSpPr/>
            <p:nvPr/>
          </p:nvSpPr>
          <p:spPr>
            <a:xfrm>
              <a:off x="2985370" y="2815018"/>
              <a:ext cx="2834405" cy="562175"/>
            </a:xfrm>
            <a:custGeom>
              <a:avLst/>
              <a:gdLst/>
              <a:ahLst/>
              <a:cxnLst/>
              <a:rect l="l" t="t" r="r" b="b"/>
              <a:pathLst>
                <a:path w="796" h="197" extrusionOk="0">
                  <a:moveTo>
                    <a:pt x="0" y="0"/>
                  </a:moveTo>
                  <a:cubicBezTo>
                    <a:pt x="65" y="132"/>
                    <a:pt x="65" y="132"/>
                    <a:pt x="65" y="132"/>
                  </a:cubicBezTo>
                  <a:cubicBezTo>
                    <a:pt x="65" y="132"/>
                    <a:pt x="65" y="132"/>
                    <a:pt x="65" y="132"/>
                  </a:cubicBezTo>
                  <a:cubicBezTo>
                    <a:pt x="65" y="133"/>
                    <a:pt x="65" y="133"/>
                    <a:pt x="65" y="133"/>
                  </a:cubicBezTo>
                  <a:cubicBezTo>
                    <a:pt x="70" y="142"/>
                    <a:pt x="70" y="142"/>
                    <a:pt x="70" y="142"/>
                  </a:cubicBezTo>
                  <a:cubicBezTo>
                    <a:pt x="95" y="170"/>
                    <a:pt x="221" y="197"/>
                    <a:pt x="398" y="197"/>
                  </a:cubicBezTo>
                  <a:cubicBezTo>
                    <a:pt x="576" y="197"/>
                    <a:pt x="702" y="170"/>
                    <a:pt x="727" y="142"/>
                  </a:cubicBezTo>
                  <a:cubicBezTo>
                    <a:pt x="732" y="133"/>
                    <a:pt x="732" y="133"/>
                    <a:pt x="732" y="133"/>
                  </a:cubicBezTo>
                  <a:cubicBezTo>
                    <a:pt x="732" y="132"/>
                    <a:pt x="732" y="132"/>
                    <a:pt x="732" y="132"/>
                  </a:cubicBezTo>
                  <a:cubicBezTo>
                    <a:pt x="732" y="132"/>
                    <a:pt x="732" y="132"/>
                    <a:pt x="732" y="132"/>
                  </a:cubicBezTo>
                  <a:cubicBezTo>
                    <a:pt x="796" y="0"/>
                    <a:pt x="796" y="0"/>
                    <a:pt x="796" y="0"/>
                  </a:cubicBezTo>
                  <a:cubicBezTo>
                    <a:pt x="735" y="31"/>
                    <a:pt x="562" y="48"/>
                    <a:pt x="398" y="48"/>
                  </a:cubicBezTo>
                  <a:cubicBezTo>
                    <a:pt x="234" y="48"/>
                    <a:pt x="62" y="31"/>
                    <a:pt x="0" y="0"/>
                  </a:cubicBezTo>
                  <a:close/>
                </a:path>
              </a:pathLst>
            </a:custGeom>
            <a:solidFill>
              <a:schemeClr val="accent4"/>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dirty="0">
                <a:solidFill>
                  <a:schemeClr val="lt1"/>
                </a:solidFill>
                <a:latin typeface="IBM Plex Sans"/>
                <a:ea typeface="IBM Plex Sans"/>
                <a:cs typeface="IBM Plex Sans"/>
                <a:sym typeface="IBM Plex Sans"/>
              </a:endParaRPr>
            </a:p>
          </p:txBody>
        </p:sp>
        <p:sp>
          <p:nvSpPr>
            <p:cNvPr id="28" name="Google Shape;581;p46"/>
            <p:cNvSpPr/>
            <p:nvPr/>
          </p:nvSpPr>
          <p:spPr>
            <a:xfrm>
              <a:off x="2162174" y="1083150"/>
              <a:ext cx="4448175" cy="396815"/>
            </a:xfrm>
            <a:prstGeom prst="ellipse">
              <a:avLst/>
            </a:prstGeom>
            <a:solidFill>
              <a:schemeClr val="lt2"/>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a:solidFill>
                  <a:schemeClr val="lt1"/>
                </a:solidFill>
                <a:latin typeface="IBM Plex Sans"/>
                <a:ea typeface="IBM Plex Sans"/>
                <a:cs typeface="IBM Plex Sans"/>
                <a:sym typeface="IBM Plex Sans"/>
              </a:endParaRPr>
            </a:p>
          </p:txBody>
        </p:sp>
        <p:cxnSp>
          <p:nvCxnSpPr>
            <p:cNvPr id="10" name="Google Shape;582;p46"/>
            <p:cNvCxnSpPr/>
            <p:nvPr/>
          </p:nvCxnSpPr>
          <p:spPr>
            <a:xfrm>
              <a:off x="6547689" y="1620203"/>
              <a:ext cx="365760" cy="0"/>
            </a:xfrm>
            <a:prstGeom prst="straightConnector1">
              <a:avLst/>
            </a:prstGeom>
            <a:noFill/>
            <a:ln w="9525" cap="flat" cmpd="sng">
              <a:solidFill>
                <a:srgbClr val="DBC696"/>
              </a:solidFill>
              <a:prstDash val="solid"/>
              <a:round/>
              <a:headEnd type="oval" w="med" len="med"/>
              <a:tailEnd type="oval" w="med" len="med"/>
            </a:ln>
          </p:spPr>
        </p:cxnSp>
        <p:sp>
          <p:nvSpPr>
            <p:cNvPr id="11" name="Google Shape;583;p46"/>
            <p:cNvSpPr txBox="1"/>
            <p:nvPr/>
          </p:nvSpPr>
          <p:spPr>
            <a:xfrm>
              <a:off x="6922504" y="1445202"/>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2846A8"/>
                  </a:solidFill>
                  <a:latin typeface="Cambria" panose="02040503050406030204" pitchFamily="18" charset="0"/>
                  <a:ea typeface="Cambria" panose="02040503050406030204" pitchFamily="18" charset="0"/>
                </a:rPr>
                <a:t>         34,675 / 29.3</a:t>
              </a:r>
            </a:p>
          </p:txBody>
        </p:sp>
        <p:sp>
          <p:nvSpPr>
            <p:cNvPr id="227" name="TextBox 226"/>
            <p:cNvSpPr txBox="1"/>
            <p:nvPr/>
          </p:nvSpPr>
          <p:spPr>
            <a:xfrm>
              <a:off x="2162174" y="1592980"/>
              <a:ext cx="4448175" cy="276999"/>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Manufacturing</a:t>
              </a:r>
            </a:p>
          </p:txBody>
        </p:sp>
        <p:sp>
          <p:nvSpPr>
            <p:cNvPr id="60" name="TextBox 59"/>
            <p:cNvSpPr txBox="1"/>
            <p:nvPr/>
          </p:nvSpPr>
          <p:spPr>
            <a:xfrm>
              <a:off x="2456152" y="1971960"/>
              <a:ext cx="3895724" cy="461665"/>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Construction and </a:t>
              </a:r>
            </a:p>
            <a:p>
              <a:pPr algn="ctr"/>
              <a:r>
                <a:rPr lang="en-US" sz="1200" b="1" dirty="0">
                  <a:solidFill>
                    <a:schemeClr val="bg1"/>
                  </a:solidFill>
                  <a:latin typeface="Cambria" panose="02040503050406030204" pitchFamily="18" charset="0"/>
                  <a:ea typeface="Cambria" panose="02040503050406030204" pitchFamily="18" charset="0"/>
                </a:rPr>
                <a:t>real estate transactions</a:t>
              </a:r>
            </a:p>
          </p:txBody>
        </p:sp>
        <p:sp>
          <p:nvSpPr>
            <p:cNvPr id="61" name="TextBox 60"/>
            <p:cNvSpPr txBox="1"/>
            <p:nvPr/>
          </p:nvSpPr>
          <p:spPr>
            <a:xfrm>
              <a:off x="2710931" y="2541181"/>
              <a:ext cx="3383281" cy="276999"/>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Trade</a:t>
              </a:r>
            </a:p>
          </p:txBody>
        </p:sp>
        <p:sp>
          <p:nvSpPr>
            <p:cNvPr id="62" name="Google Shape;583;p46"/>
            <p:cNvSpPr txBox="1"/>
            <p:nvPr/>
          </p:nvSpPr>
          <p:spPr>
            <a:xfrm>
              <a:off x="6996052" y="1152917"/>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1300" b="1" dirty="0">
                  <a:solidFill>
                    <a:srgbClr val="2846A8"/>
                  </a:solidFill>
                  <a:latin typeface="Cambria" panose="02040503050406030204" pitchFamily="18" charset="0"/>
                  <a:ea typeface="Cambria" panose="02040503050406030204" pitchFamily="18" charset="0"/>
                </a:rPr>
                <a:t>mill. € / % of total FDI</a:t>
              </a:r>
            </a:p>
          </p:txBody>
        </p:sp>
        <p:sp>
          <p:nvSpPr>
            <p:cNvPr id="63" name="Google Shape;583;p46"/>
            <p:cNvSpPr txBox="1"/>
            <p:nvPr/>
          </p:nvSpPr>
          <p:spPr>
            <a:xfrm>
              <a:off x="6922504" y="1912250"/>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4264D2"/>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20,718 / 17.5</a:t>
              </a:r>
            </a:p>
          </p:txBody>
        </p:sp>
        <p:cxnSp>
          <p:nvCxnSpPr>
            <p:cNvPr id="64" name="Google Shape;582;p46"/>
            <p:cNvCxnSpPr/>
            <p:nvPr/>
          </p:nvCxnSpPr>
          <p:spPr>
            <a:xfrm>
              <a:off x="6273164" y="2085560"/>
              <a:ext cx="640080" cy="0"/>
            </a:xfrm>
            <a:prstGeom prst="straightConnector1">
              <a:avLst/>
            </a:prstGeom>
            <a:noFill/>
            <a:ln w="9525" cap="flat" cmpd="sng">
              <a:solidFill>
                <a:srgbClr val="C4A154"/>
              </a:solidFill>
              <a:prstDash val="solid"/>
              <a:round/>
              <a:headEnd type="oval" w="med" len="med"/>
              <a:tailEnd type="oval" w="med" len="med"/>
            </a:ln>
          </p:spPr>
        </p:cxnSp>
        <p:cxnSp>
          <p:nvCxnSpPr>
            <p:cNvPr id="65" name="Google Shape;582;p46"/>
            <p:cNvCxnSpPr/>
            <p:nvPr/>
          </p:nvCxnSpPr>
          <p:spPr>
            <a:xfrm>
              <a:off x="6014085" y="2552285"/>
              <a:ext cx="914400" cy="0"/>
            </a:xfrm>
            <a:prstGeom prst="straightConnector1">
              <a:avLst/>
            </a:prstGeom>
            <a:noFill/>
            <a:ln w="9525" cap="flat" cmpd="sng">
              <a:solidFill>
                <a:srgbClr val="F78300"/>
              </a:solidFill>
              <a:prstDash val="solid"/>
              <a:round/>
              <a:headEnd type="oval" w="med" len="med"/>
              <a:tailEnd type="oval" w="med" len="med"/>
            </a:ln>
          </p:spPr>
        </p:cxnSp>
        <p:cxnSp>
          <p:nvCxnSpPr>
            <p:cNvPr id="66" name="Google Shape;582;p46"/>
            <p:cNvCxnSpPr/>
            <p:nvPr/>
          </p:nvCxnSpPr>
          <p:spPr>
            <a:xfrm>
              <a:off x="5734049" y="3057110"/>
              <a:ext cx="1188720" cy="0"/>
            </a:xfrm>
            <a:prstGeom prst="straightConnector1">
              <a:avLst/>
            </a:prstGeom>
            <a:noFill/>
            <a:ln w="9525" cap="flat" cmpd="sng">
              <a:solidFill>
                <a:srgbClr val="807DAF"/>
              </a:solidFill>
              <a:prstDash val="solid"/>
              <a:round/>
              <a:headEnd type="oval" w="med" len="med"/>
              <a:tailEnd type="oval" w="med" len="med"/>
            </a:ln>
          </p:spPr>
        </p:cxnSp>
        <p:cxnSp>
          <p:nvCxnSpPr>
            <p:cNvPr id="67" name="Google Shape;582;p46"/>
            <p:cNvCxnSpPr/>
            <p:nvPr/>
          </p:nvCxnSpPr>
          <p:spPr>
            <a:xfrm>
              <a:off x="5465445" y="3542885"/>
              <a:ext cx="1463040" cy="0"/>
            </a:xfrm>
            <a:prstGeom prst="straightConnector1">
              <a:avLst/>
            </a:prstGeom>
            <a:noFill/>
            <a:ln w="9525" cap="flat" cmpd="sng">
              <a:solidFill>
                <a:srgbClr val="93AECF"/>
              </a:solidFill>
              <a:prstDash val="solid"/>
              <a:round/>
              <a:headEnd type="oval" w="med" len="med"/>
              <a:tailEnd type="oval" w="med" len="med"/>
            </a:ln>
          </p:spPr>
        </p:cxnSp>
        <p:cxnSp>
          <p:nvCxnSpPr>
            <p:cNvPr id="68" name="Google Shape;582;p46"/>
            <p:cNvCxnSpPr/>
            <p:nvPr/>
          </p:nvCxnSpPr>
          <p:spPr>
            <a:xfrm>
              <a:off x="5193583" y="4047710"/>
              <a:ext cx="1737360" cy="0"/>
            </a:xfrm>
            <a:prstGeom prst="straightConnector1">
              <a:avLst/>
            </a:prstGeom>
            <a:noFill/>
            <a:ln w="9525" cap="flat" cmpd="sng">
              <a:solidFill>
                <a:srgbClr val="7E0808"/>
              </a:solidFill>
              <a:prstDash val="solid"/>
              <a:round/>
              <a:headEnd type="oval" w="med" len="med"/>
              <a:tailEnd type="oval" w="med" len="med"/>
            </a:ln>
          </p:spPr>
        </p:cxnSp>
        <p:sp>
          <p:nvSpPr>
            <p:cNvPr id="70" name="Google Shape;583;p46"/>
            <p:cNvSpPr txBox="1"/>
            <p:nvPr/>
          </p:nvSpPr>
          <p:spPr>
            <a:xfrm>
              <a:off x="6922504" y="2372195"/>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4264D2"/>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20,224 / 17.1</a:t>
              </a:r>
            </a:p>
          </p:txBody>
        </p:sp>
        <p:sp>
          <p:nvSpPr>
            <p:cNvPr id="71" name="TextBox 70"/>
            <p:cNvSpPr txBox="1"/>
            <p:nvPr/>
          </p:nvSpPr>
          <p:spPr>
            <a:xfrm>
              <a:off x="2438399" y="2922567"/>
              <a:ext cx="3895724" cy="461665"/>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Financial intermediation</a:t>
              </a:r>
            </a:p>
            <a:p>
              <a:pPr algn="ctr"/>
              <a:r>
                <a:rPr lang="en-US" sz="1200" b="1" dirty="0">
                  <a:solidFill>
                    <a:schemeClr val="bg1"/>
                  </a:solidFill>
                  <a:latin typeface="Cambria" panose="02040503050406030204" pitchFamily="18" charset="0"/>
                  <a:ea typeface="Cambria" panose="02040503050406030204" pitchFamily="18" charset="0"/>
                </a:rPr>
                <a:t> and insurance</a:t>
              </a:r>
            </a:p>
          </p:txBody>
        </p:sp>
        <p:sp>
          <p:nvSpPr>
            <p:cNvPr id="72" name="Google Shape;583;p46"/>
            <p:cNvSpPr txBox="1"/>
            <p:nvPr/>
          </p:nvSpPr>
          <p:spPr>
            <a:xfrm>
              <a:off x="6929377" y="2893718"/>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2846A8"/>
                  </a:solidFill>
                  <a:latin typeface="Cambria" panose="02040503050406030204" pitchFamily="18" charset="0"/>
                  <a:ea typeface="Cambria" panose="02040503050406030204" pitchFamily="18" charset="0"/>
                </a:rPr>
                <a:t>        15,862 / 13.4</a:t>
              </a:r>
            </a:p>
          </p:txBody>
        </p:sp>
        <p:sp>
          <p:nvSpPr>
            <p:cNvPr id="73" name="Google Shape;583;p46"/>
            <p:cNvSpPr txBox="1"/>
            <p:nvPr/>
          </p:nvSpPr>
          <p:spPr>
            <a:xfrm>
              <a:off x="6938244" y="3370835"/>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4264D2"/>
                  </a:solidFill>
                  <a:latin typeface="Cambria" panose="02040503050406030204" pitchFamily="18" charset="0"/>
                  <a:ea typeface="Cambria" panose="02040503050406030204" pitchFamily="18" charset="0"/>
                </a:rPr>
                <a:t>         6</a:t>
              </a:r>
              <a:r>
                <a:rPr lang="en-US" sz="1200" dirty="0">
                  <a:solidFill>
                    <a:srgbClr val="2846A8"/>
                  </a:solidFill>
                  <a:latin typeface="Cambria" panose="02040503050406030204" pitchFamily="18" charset="0"/>
                  <a:ea typeface="Cambria" panose="02040503050406030204" pitchFamily="18" charset="0"/>
                </a:rPr>
                <a:t>,289 / 5.3</a:t>
              </a:r>
            </a:p>
          </p:txBody>
        </p:sp>
        <p:sp>
          <p:nvSpPr>
            <p:cNvPr id="74" name="Google Shape;583;p46"/>
            <p:cNvSpPr txBox="1"/>
            <p:nvPr/>
          </p:nvSpPr>
          <p:spPr>
            <a:xfrm>
              <a:off x="6933420" y="3875660"/>
              <a:ext cx="2147948"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4264D2"/>
                  </a:solidFill>
                  <a:latin typeface="Cambria" panose="02040503050406030204" pitchFamily="18" charset="0"/>
                  <a:ea typeface="Cambria" panose="02040503050406030204" pitchFamily="18" charset="0"/>
                </a:rPr>
                <a:t>         5</a:t>
              </a:r>
              <a:r>
                <a:rPr lang="en-US" sz="1200" dirty="0">
                  <a:solidFill>
                    <a:srgbClr val="2846A8"/>
                  </a:solidFill>
                  <a:latin typeface="Cambria" panose="02040503050406030204" pitchFamily="18" charset="0"/>
                  <a:ea typeface="Cambria" panose="02040503050406030204" pitchFamily="18" charset="0"/>
                </a:rPr>
                <a:t>,131 / </a:t>
              </a:r>
              <a:r>
                <a:rPr lang="ro-RO" sz="1200" dirty="0">
                  <a:solidFill>
                    <a:srgbClr val="2846A8"/>
                  </a:solidFill>
                  <a:latin typeface="Cambria" panose="02040503050406030204" pitchFamily="18" charset="0"/>
                  <a:ea typeface="Cambria" panose="02040503050406030204" pitchFamily="18" charset="0"/>
                </a:rPr>
                <a:t>4</a:t>
              </a:r>
              <a:r>
                <a:rPr lang="en-US" sz="1200" dirty="0">
                  <a:solidFill>
                    <a:srgbClr val="2846A8"/>
                  </a:solidFill>
                  <a:latin typeface="Cambria" panose="02040503050406030204" pitchFamily="18" charset="0"/>
                  <a:ea typeface="Cambria" panose="02040503050406030204" pitchFamily="18" charset="0"/>
                </a:rPr>
                <a:t>.3</a:t>
              </a:r>
            </a:p>
          </p:txBody>
        </p:sp>
        <p:sp>
          <p:nvSpPr>
            <p:cNvPr id="76" name="TextBox 75"/>
            <p:cNvSpPr txBox="1"/>
            <p:nvPr/>
          </p:nvSpPr>
          <p:spPr>
            <a:xfrm>
              <a:off x="2457167" y="3389291"/>
              <a:ext cx="3895724" cy="461665"/>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Electricity, gas and</a:t>
              </a:r>
            </a:p>
            <a:p>
              <a:pPr algn="ctr"/>
              <a:r>
                <a:rPr lang="en-US" sz="1200" b="1" dirty="0">
                  <a:solidFill>
                    <a:schemeClr val="bg1"/>
                  </a:solidFill>
                  <a:latin typeface="Cambria" panose="02040503050406030204" pitchFamily="18" charset="0"/>
                  <a:ea typeface="Cambria" panose="02040503050406030204" pitchFamily="18" charset="0"/>
                </a:rPr>
                <a:t> water supply</a:t>
              </a:r>
            </a:p>
          </p:txBody>
        </p:sp>
        <p:sp>
          <p:nvSpPr>
            <p:cNvPr id="78" name="TextBox 77"/>
            <p:cNvSpPr txBox="1"/>
            <p:nvPr/>
          </p:nvSpPr>
          <p:spPr>
            <a:xfrm>
              <a:off x="2438399" y="3875967"/>
              <a:ext cx="3895724" cy="461665"/>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Professional</a:t>
              </a:r>
            </a:p>
            <a:p>
              <a:pPr algn="ctr"/>
              <a:r>
                <a:rPr lang="en-US" sz="1200" b="1" dirty="0">
                  <a:solidFill>
                    <a:schemeClr val="bg1"/>
                  </a:solidFill>
                  <a:latin typeface="Cambria" panose="02040503050406030204" pitchFamily="18" charset="0"/>
                  <a:ea typeface="Cambria" panose="02040503050406030204" pitchFamily="18" charset="0"/>
                </a:rPr>
                <a:t>activities</a:t>
              </a:r>
            </a:p>
          </p:txBody>
        </p:sp>
      </p:grpSp>
      <p:sp>
        <p:nvSpPr>
          <p:cNvPr id="79" name="Google Shape;583;p46"/>
          <p:cNvSpPr txBox="1"/>
          <p:nvPr/>
        </p:nvSpPr>
        <p:spPr>
          <a:xfrm>
            <a:off x="6810508" y="2270057"/>
            <a:ext cx="2248436" cy="1872977"/>
          </a:xfrm>
          <a:prstGeom prst="round2DiagRect">
            <a:avLst/>
          </a:prstGeom>
          <a:solidFill>
            <a:srgbClr val="E9DBBD">
              <a:alpha val="44000"/>
            </a:srgbClr>
          </a:solid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1200" dirty="0">
                <a:solidFill>
                  <a:srgbClr val="2846A8"/>
                </a:solidFill>
                <a:latin typeface="Cambria" panose="02040503050406030204" pitchFamily="18" charset="0"/>
                <a:ea typeface="Cambria" panose="02040503050406030204" pitchFamily="18" charset="0"/>
              </a:rPr>
              <a:t>Manufacturing sector - largest recipients:</a:t>
            </a:r>
          </a:p>
          <a:p>
            <a:pPr algn="just"/>
            <a:endParaRPr lang="en-US" sz="1200" dirty="0">
              <a:solidFill>
                <a:srgbClr val="2846A8"/>
              </a:solidFill>
              <a:latin typeface="Cambria" panose="02040503050406030204" pitchFamily="18" charset="0"/>
              <a:ea typeface="Cambria" panose="02040503050406030204" pitchFamily="18" charset="0"/>
            </a:endParaRPr>
          </a:p>
          <a:p>
            <a:pPr marL="171450" indent="-171450">
              <a:spcAft>
                <a:spcPts val="600"/>
              </a:spcAft>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2</a:t>
            </a:r>
            <a:r>
              <a:rPr lang="ro-RO" sz="1200" dirty="0">
                <a:solidFill>
                  <a:srgbClr val="2846A8"/>
                </a:solidFill>
                <a:latin typeface="Cambria" panose="02040503050406030204" pitchFamily="18" charset="0"/>
                <a:ea typeface="Cambria" panose="02040503050406030204" pitchFamily="18" charset="0"/>
              </a:rPr>
              <a:t>2</a:t>
            </a:r>
            <a:r>
              <a:rPr lang="en-US" sz="1200" dirty="0">
                <a:solidFill>
                  <a:srgbClr val="2846A8"/>
                </a:solidFill>
                <a:latin typeface="Cambria" panose="02040503050406030204" pitchFamily="18" charset="0"/>
                <a:ea typeface="Cambria" panose="02040503050406030204" pitchFamily="18" charset="0"/>
              </a:rPr>
              <a:t>.6% transport equipment </a:t>
            </a:r>
            <a:endParaRPr lang="ro-RO" sz="1200" dirty="0">
              <a:solidFill>
                <a:srgbClr val="2846A8"/>
              </a:solidFill>
              <a:latin typeface="Cambria" panose="02040503050406030204" pitchFamily="18" charset="0"/>
              <a:ea typeface="Cambria" panose="02040503050406030204" pitchFamily="18" charset="0"/>
            </a:endParaRPr>
          </a:p>
          <a:p>
            <a:pPr marL="171450" indent="-171450">
              <a:spcAft>
                <a:spcPts val="600"/>
              </a:spcAft>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2</a:t>
            </a:r>
            <a:r>
              <a:rPr lang="ro-RO" sz="1200" dirty="0">
                <a:solidFill>
                  <a:srgbClr val="2846A8"/>
                </a:solidFill>
                <a:latin typeface="Cambria" panose="02040503050406030204" pitchFamily="18" charset="0"/>
                <a:ea typeface="Cambria" panose="02040503050406030204" pitchFamily="18" charset="0"/>
              </a:rPr>
              <a:t>1</a:t>
            </a:r>
            <a:r>
              <a:rPr lang="en-US"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1</a:t>
            </a:r>
            <a:r>
              <a:rPr lang="en-US" sz="1200" dirty="0">
                <a:solidFill>
                  <a:srgbClr val="2846A8"/>
                </a:solidFill>
                <a:latin typeface="Cambria" panose="02040503050406030204" pitchFamily="18" charset="0"/>
                <a:ea typeface="Cambria" panose="02040503050406030204" pitchFamily="18" charset="0"/>
              </a:rPr>
              <a:t>%</a:t>
            </a:r>
            <a:r>
              <a:rPr lang="ro-RO" sz="1200" dirty="0">
                <a:solidFill>
                  <a:srgbClr val="2846A8"/>
                </a:solidFill>
                <a:latin typeface="Cambria" panose="02040503050406030204" pitchFamily="18" charset="0"/>
                <a:ea typeface="Cambria" panose="02040503050406030204" pitchFamily="18" charset="0"/>
              </a:rPr>
              <a:t> </a:t>
            </a:r>
            <a:r>
              <a:rPr lang="en-US" sz="1200" dirty="0">
                <a:solidFill>
                  <a:srgbClr val="2846A8"/>
                </a:solidFill>
                <a:latin typeface="Cambria" panose="02040503050406030204" pitchFamily="18" charset="0"/>
                <a:ea typeface="Cambria" panose="02040503050406030204" pitchFamily="18" charset="0"/>
              </a:rPr>
              <a:t>oil processing, chemical, rubber &amp; plastic products</a:t>
            </a:r>
          </a:p>
          <a:p>
            <a:pPr marL="171450" indent="-171450">
              <a:spcAft>
                <a:spcPts val="600"/>
              </a:spcAft>
              <a:buClr>
                <a:srgbClr val="2846A8"/>
              </a:buClr>
              <a:buFont typeface="Wingdings" panose="05000000000000000000" pitchFamily="2" charset="2"/>
              <a:buChar char="ü"/>
            </a:pPr>
            <a:r>
              <a:rPr lang="en-US" sz="1200" dirty="0">
                <a:solidFill>
                  <a:srgbClr val="2846A8"/>
                </a:solidFill>
                <a:latin typeface="Cambria" panose="02040503050406030204" pitchFamily="18" charset="0"/>
                <a:ea typeface="Cambria" panose="02040503050406030204" pitchFamily="18" charset="0"/>
              </a:rPr>
              <a:t>1</a:t>
            </a:r>
            <a:r>
              <a:rPr lang="ro-RO" sz="1200" dirty="0">
                <a:solidFill>
                  <a:srgbClr val="2846A8"/>
                </a:solidFill>
                <a:latin typeface="Cambria" panose="02040503050406030204" pitchFamily="18" charset="0"/>
                <a:ea typeface="Cambria" panose="02040503050406030204" pitchFamily="18" charset="0"/>
              </a:rPr>
              <a:t>2</a:t>
            </a:r>
            <a:r>
              <a:rPr lang="en-US" sz="1200" dirty="0">
                <a:solidFill>
                  <a:srgbClr val="2846A8"/>
                </a:solidFill>
                <a:latin typeface="Cambria" panose="02040503050406030204" pitchFamily="18" charset="0"/>
                <a:ea typeface="Cambria" panose="02040503050406030204" pitchFamily="18" charset="0"/>
              </a:rPr>
              <a:t>.9% </a:t>
            </a:r>
            <a:r>
              <a:rPr lang="ro-RO" sz="1200" dirty="0">
                <a:solidFill>
                  <a:srgbClr val="2846A8"/>
                </a:solidFill>
                <a:latin typeface="Cambria" panose="02040503050406030204" pitchFamily="18" charset="0"/>
                <a:ea typeface="Cambria" panose="02040503050406030204" pitchFamily="18" charset="0"/>
              </a:rPr>
              <a:t>food, beverages and tobacco</a:t>
            </a:r>
            <a:endParaRPr lang="en-US" sz="1200" dirty="0">
              <a:solidFill>
                <a:srgbClr val="2846A8"/>
              </a:solidFill>
              <a:latin typeface="Cambria" panose="02040503050406030204" pitchFamily="18" charset="0"/>
              <a:ea typeface="Cambria" panose="02040503050406030204" pitchFamily="18" charset="0"/>
            </a:endParaRPr>
          </a:p>
        </p:txBody>
      </p:sp>
      <p:sp>
        <p:nvSpPr>
          <p:cNvPr id="81" name="Rectangle 80"/>
          <p:cNvSpPr/>
          <p:nvPr/>
        </p:nvSpPr>
        <p:spPr>
          <a:xfrm>
            <a:off x="2689988" y="4877157"/>
            <a:ext cx="6367449" cy="244682"/>
          </a:xfrm>
          <a:prstGeom prst="rect">
            <a:avLst/>
          </a:prstGeom>
        </p:spPr>
        <p:txBody>
          <a:bodyPr wrap="none">
            <a:spAutoFit/>
          </a:bodyPr>
          <a:lstStyle/>
          <a:p>
            <a:pPr algn="r">
              <a:lnSpc>
                <a:spcPct val="110000"/>
              </a:lnSpc>
              <a:buClr>
                <a:srgbClr val="99CC00"/>
              </a:buClr>
            </a:pPr>
            <a:r>
              <a:rPr lang="en-US" sz="900" b="0" dirty="0">
                <a:solidFill>
                  <a:srgbClr val="2846A8"/>
                </a:solidFill>
                <a:latin typeface="Cambria" panose="02040503050406030204" pitchFamily="18" charset="0"/>
              </a:rPr>
              <a:t>(Note: </a:t>
            </a:r>
            <a:r>
              <a:rPr lang="en-US" sz="900" dirty="0">
                <a:solidFill>
                  <a:srgbClr val="2846A8"/>
                </a:solidFill>
                <a:latin typeface="Cambria" panose="02040503050406030204" pitchFamily="18" charset="0"/>
              </a:rPr>
              <a:t>National Bank of Romania, Report: ”Foreign Direct Investment in Romania in 2023”, published on September 30, 2024)</a:t>
            </a:r>
            <a:endParaRPr lang="en-US" sz="900" b="0" dirty="0">
              <a:solidFill>
                <a:srgbClr val="2846A8"/>
              </a:solidFill>
              <a:latin typeface="Cambria" panose="02040503050406030204" pitchFamily="18" charset="0"/>
            </a:endParaRPr>
          </a:p>
        </p:txBody>
      </p:sp>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34" name="Google Shape;576;p46"/>
          <p:cNvSpPr/>
          <p:nvPr/>
        </p:nvSpPr>
        <p:spPr>
          <a:xfrm>
            <a:off x="2733765" y="4138155"/>
            <a:ext cx="1091569" cy="541773"/>
          </a:xfrm>
          <a:custGeom>
            <a:avLst/>
            <a:gdLst/>
            <a:ahLst/>
            <a:cxnLst/>
            <a:rect l="l" t="t" r="r" b="b"/>
            <a:pathLst>
              <a:path w="483" h="190" extrusionOk="0">
                <a:moveTo>
                  <a:pt x="0" y="0"/>
                </a:moveTo>
                <a:cubicBezTo>
                  <a:pt x="61" y="125"/>
                  <a:pt x="61" y="125"/>
                  <a:pt x="61" y="125"/>
                </a:cubicBezTo>
                <a:cubicBezTo>
                  <a:pt x="62" y="126"/>
                  <a:pt x="62" y="127"/>
                  <a:pt x="63" y="128"/>
                </a:cubicBezTo>
                <a:cubicBezTo>
                  <a:pt x="70" y="144"/>
                  <a:pt x="70" y="144"/>
                  <a:pt x="70" y="144"/>
                </a:cubicBezTo>
                <a:cubicBezTo>
                  <a:pt x="93" y="170"/>
                  <a:pt x="162" y="190"/>
                  <a:pt x="241" y="190"/>
                </a:cubicBezTo>
                <a:cubicBezTo>
                  <a:pt x="320" y="190"/>
                  <a:pt x="389" y="170"/>
                  <a:pt x="412" y="144"/>
                </a:cubicBezTo>
                <a:cubicBezTo>
                  <a:pt x="420" y="128"/>
                  <a:pt x="420" y="128"/>
                  <a:pt x="420" y="128"/>
                </a:cubicBezTo>
                <a:cubicBezTo>
                  <a:pt x="421" y="127"/>
                  <a:pt x="421" y="126"/>
                  <a:pt x="421" y="125"/>
                </a:cubicBezTo>
                <a:cubicBezTo>
                  <a:pt x="483" y="0"/>
                  <a:pt x="483" y="0"/>
                  <a:pt x="483" y="0"/>
                </a:cubicBezTo>
                <a:cubicBezTo>
                  <a:pt x="437" y="26"/>
                  <a:pt x="338" y="41"/>
                  <a:pt x="241" y="41"/>
                </a:cubicBezTo>
                <a:cubicBezTo>
                  <a:pt x="144" y="41"/>
                  <a:pt x="45" y="26"/>
                  <a:pt x="0" y="0"/>
                </a:cubicBezTo>
                <a:close/>
              </a:path>
            </a:pathLst>
          </a:custGeom>
          <a:solidFill>
            <a:srgbClr val="860089"/>
          </a:solid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chemeClr val="dk1"/>
              </a:buClr>
              <a:buSzPts val="1400"/>
              <a:buFont typeface="Calibri"/>
              <a:buNone/>
            </a:pPr>
            <a:endParaRPr sz="1200" b="1" i="0" u="none" strike="noStrike" cap="none" dirty="0">
              <a:solidFill>
                <a:schemeClr val="lt1"/>
              </a:solidFill>
              <a:latin typeface="IBM Plex Sans"/>
              <a:ea typeface="IBM Plex Sans"/>
              <a:cs typeface="IBM Plex Sans"/>
              <a:sym typeface="IBM Plex Sans"/>
            </a:endParaRPr>
          </a:p>
        </p:txBody>
      </p:sp>
      <p:sp>
        <p:nvSpPr>
          <p:cNvPr id="33" name="TextBox 32"/>
          <p:cNvSpPr txBox="1"/>
          <p:nvPr/>
        </p:nvSpPr>
        <p:spPr>
          <a:xfrm>
            <a:off x="1596017" y="4302084"/>
            <a:ext cx="3369562" cy="276999"/>
          </a:xfrm>
          <a:prstGeom prst="rect">
            <a:avLst/>
          </a:prstGeom>
          <a:noFill/>
        </p:spPr>
        <p:txBody>
          <a:bodyPr wrap="square" rtlCol="0">
            <a:spAutoFit/>
          </a:bodyPr>
          <a:lstStyle/>
          <a:p>
            <a:pPr algn="ctr"/>
            <a:r>
              <a:rPr lang="en-US" sz="1200" b="1" dirty="0">
                <a:solidFill>
                  <a:schemeClr val="bg1"/>
                </a:solidFill>
                <a:latin typeface="Cambria" panose="02040503050406030204" pitchFamily="18" charset="0"/>
                <a:ea typeface="Cambria" panose="02040503050406030204" pitchFamily="18" charset="0"/>
              </a:rPr>
              <a:t>IT&amp;C</a:t>
            </a:r>
          </a:p>
        </p:txBody>
      </p:sp>
      <p:cxnSp>
        <p:nvCxnSpPr>
          <p:cNvPr id="35" name="Google Shape;582;p46"/>
          <p:cNvCxnSpPr/>
          <p:nvPr/>
        </p:nvCxnSpPr>
        <p:spPr>
          <a:xfrm>
            <a:off x="3825334" y="4409041"/>
            <a:ext cx="1625794" cy="0"/>
          </a:xfrm>
          <a:prstGeom prst="straightConnector1">
            <a:avLst/>
          </a:prstGeom>
          <a:noFill/>
          <a:ln w="0" cap="flat" cmpd="sng">
            <a:solidFill>
              <a:srgbClr val="860089"/>
            </a:solidFill>
            <a:prstDash val="solid"/>
            <a:round/>
            <a:headEnd type="oval" w="med" len="med"/>
            <a:tailEnd type="oval" w="med" len="med"/>
          </a:ln>
        </p:spPr>
      </p:cxnSp>
      <p:sp>
        <p:nvSpPr>
          <p:cNvPr id="37" name="Google Shape;583;p46"/>
          <p:cNvSpPr txBox="1"/>
          <p:nvPr/>
        </p:nvSpPr>
        <p:spPr>
          <a:xfrm>
            <a:off x="5468579" y="4215613"/>
            <a:ext cx="1857843" cy="34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200" dirty="0">
                <a:solidFill>
                  <a:srgbClr val="4264D2"/>
                </a:solidFill>
                <a:latin typeface="Cambria" panose="02040503050406030204" pitchFamily="18" charset="0"/>
                <a:ea typeface="Cambria" panose="02040503050406030204" pitchFamily="18" charset="0"/>
              </a:rPr>
              <a:t>         4</a:t>
            </a:r>
            <a:r>
              <a:rPr lang="en-US" sz="1200" dirty="0">
                <a:solidFill>
                  <a:srgbClr val="2846A8"/>
                </a:solidFill>
                <a:latin typeface="Cambria" panose="02040503050406030204" pitchFamily="18" charset="0"/>
                <a:ea typeface="Cambria" panose="02040503050406030204" pitchFamily="18" charset="0"/>
              </a:rPr>
              <a:t>,940 / </a:t>
            </a:r>
            <a:r>
              <a:rPr lang="ro-RO" sz="1200" dirty="0">
                <a:solidFill>
                  <a:srgbClr val="2846A8"/>
                </a:solidFill>
                <a:latin typeface="Cambria" panose="02040503050406030204" pitchFamily="18" charset="0"/>
                <a:ea typeface="Cambria" panose="02040503050406030204" pitchFamily="18" charset="0"/>
              </a:rPr>
              <a:t>4</a:t>
            </a:r>
            <a:r>
              <a:rPr lang="en-US" sz="1200" dirty="0">
                <a:solidFill>
                  <a:srgbClr val="2846A8"/>
                </a:solidFill>
                <a:latin typeface="Cambria" panose="02040503050406030204" pitchFamily="18" charset="0"/>
                <a:ea typeface="Cambria" panose="02040503050406030204" pitchFamily="18" charset="0"/>
              </a:rPr>
              <a:t>.2</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8" name="Google Shape;387;p31"/>
          <p:cNvSpPr txBox="1">
            <a:spLocks/>
          </p:cNvSpPr>
          <p:nvPr/>
        </p:nvSpPr>
        <p:spPr>
          <a:xfrm>
            <a:off x="0" y="416900"/>
            <a:ext cx="9144000" cy="396300"/>
          </a:xfrm>
          <a:prstGeom prst="rect">
            <a:avLst/>
          </a:prstGeom>
        </p:spPr>
        <p:txBody>
          <a:bodyPr spcFirstLastPara="1" wrap="squar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400" b="1" dirty="0">
                <a:solidFill>
                  <a:srgbClr val="2846A8"/>
                </a:solidFill>
                <a:latin typeface="Cambria" panose="02040503050406030204" pitchFamily="18" charset="0"/>
                <a:ea typeface="Cambria" panose="02040503050406030204" pitchFamily="18" charset="0"/>
              </a:rPr>
              <a:t>Talent Pool</a:t>
            </a:r>
          </a:p>
        </p:txBody>
      </p:sp>
      <p:sp>
        <p:nvSpPr>
          <p:cNvPr id="9" name="Rectangle 8"/>
          <p:cNvSpPr/>
          <p:nvPr/>
        </p:nvSpPr>
        <p:spPr>
          <a:xfrm>
            <a:off x="7011800" y="4881524"/>
            <a:ext cx="2143536" cy="244682"/>
          </a:xfrm>
          <a:prstGeom prst="rect">
            <a:avLst/>
          </a:prstGeom>
        </p:spPr>
        <p:txBody>
          <a:bodyPr wrap="none">
            <a:spAutoFit/>
          </a:bodyPr>
          <a:lstStyle/>
          <a:p>
            <a:pPr>
              <a:lnSpc>
                <a:spcPct val="110000"/>
              </a:lnSpc>
              <a:buClr>
                <a:srgbClr val="99CC00"/>
              </a:buClr>
            </a:pPr>
            <a:r>
              <a:rPr lang="en-US" sz="900" b="0" dirty="0">
                <a:solidFill>
                  <a:srgbClr val="2846A8"/>
                </a:solidFill>
                <a:latin typeface="Cambria" panose="02040503050406030204" pitchFamily="18" charset="0"/>
              </a:rPr>
              <a:t>(Source: National Institute of Statistics)</a:t>
            </a:r>
          </a:p>
        </p:txBody>
      </p:sp>
      <p:pic>
        <p:nvPicPr>
          <p:cNvPr id="3" name="Picture 2"/>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7859200" y="64099"/>
            <a:ext cx="1188720" cy="266260"/>
          </a:xfrm>
          <a:prstGeom prst="rect">
            <a:avLst/>
          </a:prstGeom>
        </p:spPr>
      </p:pic>
      <p:sp>
        <p:nvSpPr>
          <p:cNvPr id="12" name="TextBox 11"/>
          <p:cNvSpPr txBox="1"/>
          <p:nvPr/>
        </p:nvSpPr>
        <p:spPr>
          <a:xfrm>
            <a:off x="61583" y="3744282"/>
            <a:ext cx="2203456" cy="626325"/>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Students in 2022</a:t>
            </a:r>
          </a:p>
          <a:p>
            <a:pPr algn="ctr">
              <a:lnSpc>
                <a:spcPct val="110000"/>
              </a:lnSpc>
              <a:buClr>
                <a:srgbClr val="99CC00"/>
              </a:buClr>
            </a:pPr>
            <a:r>
              <a:rPr lang="en-US" sz="1200" dirty="0">
                <a:solidFill>
                  <a:srgbClr val="2846A8"/>
                </a:solidFill>
                <a:latin typeface="Cambria" panose="02040503050406030204" pitchFamily="18" charset="0"/>
                <a:cs typeface="Arial" pitchFamily="34" charset="0"/>
              </a:rPr>
              <a:t>E</a:t>
            </a:r>
            <a:r>
              <a:rPr lang="ro-RO" sz="1200" dirty="0">
                <a:solidFill>
                  <a:srgbClr val="2846A8"/>
                </a:solidFill>
                <a:latin typeface="Cambria" panose="02040503050406030204" pitchFamily="18" charset="0"/>
                <a:cs typeface="Arial" pitchFamily="34" charset="0"/>
              </a:rPr>
              <a:t>nrolled 5</a:t>
            </a:r>
            <a:r>
              <a:rPr lang="en-US" sz="1200" dirty="0">
                <a:solidFill>
                  <a:srgbClr val="2846A8"/>
                </a:solidFill>
                <a:latin typeface="Cambria" panose="02040503050406030204" pitchFamily="18" charset="0"/>
                <a:cs typeface="Arial" pitchFamily="34" charset="0"/>
              </a:rPr>
              <a:t>38</a:t>
            </a:r>
            <a:r>
              <a:rPr lang="ro-RO" sz="1200" dirty="0">
                <a:solidFill>
                  <a:srgbClr val="2846A8"/>
                </a:solidFill>
                <a:latin typeface="Cambria" panose="02040503050406030204" pitchFamily="18" charset="0"/>
                <a:cs typeface="Arial" pitchFamily="34" charset="0"/>
              </a:rPr>
              <a:t>,</a:t>
            </a:r>
            <a:r>
              <a:rPr lang="en-US" sz="1200" dirty="0">
                <a:solidFill>
                  <a:srgbClr val="2846A8"/>
                </a:solidFill>
                <a:latin typeface="Cambria" panose="02040503050406030204" pitchFamily="18" charset="0"/>
                <a:cs typeface="Arial" pitchFamily="34" charset="0"/>
              </a:rPr>
              <a:t>720 </a:t>
            </a:r>
          </a:p>
          <a:p>
            <a:pPr algn="ctr">
              <a:lnSpc>
                <a:spcPct val="110000"/>
              </a:lnSpc>
              <a:buClr>
                <a:srgbClr val="99CC00"/>
              </a:buClr>
            </a:pPr>
            <a:r>
              <a:rPr lang="en-US" sz="1200" dirty="0">
                <a:solidFill>
                  <a:srgbClr val="2846A8"/>
                </a:solidFill>
                <a:latin typeface="Cambria" panose="02040503050406030204" pitchFamily="18" charset="0"/>
                <a:cs typeface="Arial" pitchFamily="34" charset="0"/>
              </a:rPr>
              <a:t>G</a:t>
            </a:r>
            <a:r>
              <a:rPr lang="ro-RO" sz="1200" dirty="0">
                <a:solidFill>
                  <a:srgbClr val="2846A8"/>
                </a:solidFill>
                <a:latin typeface="Cambria" panose="02040503050406030204" pitchFamily="18" charset="0"/>
                <a:cs typeface="Arial" pitchFamily="34" charset="0"/>
              </a:rPr>
              <a:t>raduates </a:t>
            </a:r>
            <a:r>
              <a:rPr lang="en-US" sz="1200" dirty="0">
                <a:solidFill>
                  <a:srgbClr val="2846A8"/>
                </a:solidFill>
                <a:latin typeface="Cambria" panose="02040503050406030204" pitchFamily="18" charset="0"/>
                <a:cs typeface="Arial" pitchFamily="34" charset="0"/>
              </a:rPr>
              <a:t>12</a:t>
            </a:r>
            <a:r>
              <a:rPr lang="ro-RO" sz="1200" dirty="0">
                <a:solidFill>
                  <a:srgbClr val="2846A8"/>
                </a:solidFill>
                <a:latin typeface="Cambria" panose="02040503050406030204" pitchFamily="18" charset="0"/>
                <a:cs typeface="Arial" pitchFamily="34" charset="0"/>
              </a:rPr>
              <a:t>6</a:t>
            </a:r>
            <a:r>
              <a:rPr lang="en-US" sz="1200" dirty="0">
                <a:solidFill>
                  <a:srgbClr val="2846A8"/>
                </a:solidFill>
                <a:latin typeface="Cambria" panose="02040503050406030204" pitchFamily="18" charset="0"/>
                <a:cs typeface="Arial" pitchFamily="34" charset="0"/>
              </a:rPr>
              <a:t>,5</a:t>
            </a:r>
            <a:r>
              <a:rPr lang="ro-RO" sz="1200" dirty="0">
                <a:solidFill>
                  <a:srgbClr val="2846A8"/>
                </a:solidFill>
                <a:latin typeface="Cambria" panose="02040503050406030204" pitchFamily="18" charset="0"/>
                <a:cs typeface="Arial" pitchFamily="34" charset="0"/>
              </a:rPr>
              <a:t>37</a:t>
            </a:r>
            <a:endParaRPr lang="en-US" sz="1200" dirty="0">
              <a:solidFill>
                <a:srgbClr val="2846A8"/>
              </a:solidFill>
              <a:latin typeface="Cambria" panose="02040503050406030204" pitchFamily="18" charset="0"/>
            </a:endParaRPr>
          </a:p>
        </p:txBody>
      </p:sp>
      <p:grpSp>
        <p:nvGrpSpPr>
          <p:cNvPr id="19" name="Group 18"/>
          <p:cNvGrpSpPr/>
          <p:nvPr/>
        </p:nvGrpSpPr>
        <p:grpSpPr>
          <a:xfrm>
            <a:off x="2298956" y="1179105"/>
            <a:ext cx="4754880" cy="3474720"/>
            <a:chOff x="688873" y="2019945"/>
            <a:chExt cx="4718692" cy="3498205"/>
          </a:xfrm>
        </p:grpSpPr>
        <p:grpSp>
          <p:nvGrpSpPr>
            <p:cNvPr id="20" name="Group 19"/>
            <p:cNvGrpSpPr>
              <a:grpSpLocks noChangeAspect="1"/>
            </p:cNvGrpSpPr>
            <p:nvPr/>
          </p:nvGrpSpPr>
          <p:grpSpPr>
            <a:xfrm>
              <a:off x="688873" y="2019945"/>
              <a:ext cx="4718692" cy="3498205"/>
              <a:chOff x="71897" y="2149728"/>
              <a:chExt cx="4600713" cy="3382806"/>
            </a:xfrm>
          </p:grpSpPr>
          <p:sp>
            <p:nvSpPr>
              <p:cNvPr id="29" name="Freeform 3"/>
              <p:cNvSpPr>
                <a:spLocks/>
              </p:cNvSpPr>
              <p:nvPr/>
            </p:nvSpPr>
            <p:spPr bwMode="auto">
              <a:xfrm rot="348155">
                <a:off x="71897" y="2149728"/>
                <a:ext cx="4600713" cy="3382806"/>
              </a:xfrm>
              <a:custGeom>
                <a:avLst/>
                <a:gdLst/>
                <a:ahLst/>
                <a:cxnLst>
                  <a:cxn ang="0">
                    <a:pos x="24" y="2160"/>
                  </a:cxn>
                  <a:cxn ang="0">
                    <a:pos x="222" y="2346"/>
                  </a:cxn>
                  <a:cxn ang="0">
                    <a:pos x="342" y="2538"/>
                  </a:cxn>
                  <a:cxn ang="0">
                    <a:pos x="540" y="2652"/>
                  </a:cxn>
                  <a:cxn ang="0">
                    <a:pos x="726" y="2808"/>
                  </a:cxn>
                  <a:cxn ang="0">
                    <a:pos x="720" y="2964"/>
                  </a:cxn>
                  <a:cxn ang="0">
                    <a:pos x="918" y="3090"/>
                  </a:cxn>
                  <a:cxn ang="0">
                    <a:pos x="1176" y="3156"/>
                  </a:cxn>
                  <a:cxn ang="0">
                    <a:pos x="1386" y="3042"/>
                  </a:cxn>
                  <a:cxn ang="0">
                    <a:pos x="1314" y="3174"/>
                  </a:cxn>
                  <a:cxn ang="0">
                    <a:pos x="1560" y="3366"/>
                  </a:cxn>
                  <a:cxn ang="0">
                    <a:pos x="1590" y="3570"/>
                  </a:cxn>
                  <a:cxn ang="0">
                    <a:pos x="1938" y="3522"/>
                  </a:cxn>
                  <a:cxn ang="0">
                    <a:pos x="2232" y="3546"/>
                  </a:cxn>
                  <a:cxn ang="0">
                    <a:pos x="2496" y="3474"/>
                  </a:cxn>
                  <a:cxn ang="0">
                    <a:pos x="2802" y="3450"/>
                  </a:cxn>
                  <a:cxn ang="0">
                    <a:pos x="3084" y="3390"/>
                  </a:cxn>
                  <a:cxn ang="0">
                    <a:pos x="3270" y="3144"/>
                  </a:cxn>
                  <a:cxn ang="0">
                    <a:pos x="3606" y="2970"/>
                  </a:cxn>
                  <a:cxn ang="0">
                    <a:pos x="3912" y="2940"/>
                  </a:cxn>
                  <a:cxn ang="0">
                    <a:pos x="4212" y="2898"/>
                  </a:cxn>
                  <a:cxn ang="0">
                    <a:pos x="4524" y="3018"/>
                  </a:cxn>
                  <a:cxn ang="0">
                    <a:pos x="4578" y="2790"/>
                  </a:cxn>
                  <a:cxn ang="0">
                    <a:pos x="4506" y="2598"/>
                  </a:cxn>
                  <a:cxn ang="0">
                    <a:pos x="4632" y="2244"/>
                  </a:cxn>
                  <a:cxn ang="0">
                    <a:pos x="4890" y="1974"/>
                  </a:cxn>
                  <a:cxn ang="0">
                    <a:pos x="4806" y="1698"/>
                  </a:cxn>
                  <a:cxn ang="0">
                    <a:pos x="4488" y="1800"/>
                  </a:cxn>
                  <a:cxn ang="0">
                    <a:pos x="4374" y="1914"/>
                  </a:cxn>
                  <a:cxn ang="0">
                    <a:pos x="4044" y="1788"/>
                  </a:cxn>
                  <a:cxn ang="0">
                    <a:pos x="4002" y="1626"/>
                  </a:cxn>
                  <a:cxn ang="0">
                    <a:pos x="3930" y="1464"/>
                  </a:cxn>
                  <a:cxn ang="0">
                    <a:pos x="3900" y="1302"/>
                  </a:cxn>
                  <a:cxn ang="0">
                    <a:pos x="3912" y="1194"/>
                  </a:cxn>
                  <a:cxn ang="0">
                    <a:pos x="3894" y="1080"/>
                  </a:cxn>
                  <a:cxn ang="0">
                    <a:pos x="3840" y="924"/>
                  </a:cxn>
                  <a:cxn ang="0">
                    <a:pos x="3756" y="810"/>
                  </a:cxn>
                  <a:cxn ang="0">
                    <a:pos x="3702" y="732"/>
                  </a:cxn>
                  <a:cxn ang="0">
                    <a:pos x="3582" y="684"/>
                  </a:cxn>
                  <a:cxn ang="0">
                    <a:pos x="3510" y="582"/>
                  </a:cxn>
                  <a:cxn ang="0">
                    <a:pos x="3420" y="522"/>
                  </a:cxn>
                  <a:cxn ang="0">
                    <a:pos x="3330" y="432"/>
                  </a:cxn>
                  <a:cxn ang="0">
                    <a:pos x="3228" y="324"/>
                  </a:cxn>
                  <a:cxn ang="0">
                    <a:pos x="3156" y="198"/>
                  </a:cxn>
                  <a:cxn ang="0">
                    <a:pos x="3030" y="66"/>
                  </a:cxn>
                  <a:cxn ang="0">
                    <a:pos x="2898" y="0"/>
                  </a:cxn>
                  <a:cxn ang="0">
                    <a:pos x="2742" y="78"/>
                  </a:cxn>
                  <a:cxn ang="0">
                    <a:pos x="2592" y="276"/>
                  </a:cxn>
                  <a:cxn ang="0">
                    <a:pos x="2250" y="408"/>
                  </a:cxn>
                  <a:cxn ang="0">
                    <a:pos x="2028" y="522"/>
                  </a:cxn>
                  <a:cxn ang="0">
                    <a:pos x="1764" y="504"/>
                  </a:cxn>
                  <a:cxn ang="0">
                    <a:pos x="1494" y="498"/>
                  </a:cxn>
                  <a:cxn ang="0">
                    <a:pos x="1284" y="510"/>
                  </a:cxn>
                  <a:cxn ang="0">
                    <a:pos x="1104" y="558"/>
                  </a:cxn>
                  <a:cxn ang="0">
                    <a:pos x="966" y="762"/>
                  </a:cxn>
                  <a:cxn ang="0">
                    <a:pos x="786" y="894"/>
                  </a:cxn>
                  <a:cxn ang="0">
                    <a:pos x="702" y="1098"/>
                  </a:cxn>
                  <a:cxn ang="0">
                    <a:pos x="612" y="1344"/>
                  </a:cxn>
                  <a:cxn ang="0">
                    <a:pos x="546" y="1536"/>
                  </a:cxn>
                  <a:cxn ang="0">
                    <a:pos x="474" y="1692"/>
                  </a:cxn>
                  <a:cxn ang="0">
                    <a:pos x="438" y="1944"/>
                  </a:cxn>
                  <a:cxn ang="0">
                    <a:pos x="228" y="2046"/>
                  </a:cxn>
                </a:cxnLst>
                <a:rect l="0" t="0" r="r" b="b"/>
                <a:pathLst>
                  <a:path w="4896" h="3600">
                    <a:moveTo>
                      <a:pt x="222" y="2076"/>
                    </a:moveTo>
                    <a:lnTo>
                      <a:pt x="210" y="2082"/>
                    </a:lnTo>
                    <a:lnTo>
                      <a:pt x="210" y="2088"/>
                    </a:lnTo>
                    <a:lnTo>
                      <a:pt x="204" y="2088"/>
                    </a:lnTo>
                    <a:lnTo>
                      <a:pt x="198" y="2088"/>
                    </a:lnTo>
                    <a:lnTo>
                      <a:pt x="192" y="2094"/>
                    </a:lnTo>
                    <a:lnTo>
                      <a:pt x="192" y="2106"/>
                    </a:lnTo>
                    <a:lnTo>
                      <a:pt x="180" y="2106"/>
                    </a:lnTo>
                    <a:lnTo>
                      <a:pt x="174" y="2100"/>
                    </a:lnTo>
                    <a:lnTo>
                      <a:pt x="162" y="2094"/>
                    </a:lnTo>
                    <a:lnTo>
                      <a:pt x="150" y="2082"/>
                    </a:lnTo>
                    <a:lnTo>
                      <a:pt x="138" y="2076"/>
                    </a:lnTo>
                    <a:lnTo>
                      <a:pt x="114" y="2076"/>
                    </a:lnTo>
                    <a:lnTo>
                      <a:pt x="114" y="2088"/>
                    </a:lnTo>
                    <a:lnTo>
                      <a:pt x="108" y="2100"/>
                    </a:lnTo>
                    <a:lnTo>
                      <a:pt x="102" y="2106"/>
                    </a:lnTo>
                    <a:lnTo>
                      <a:pt x="96" y="2112"/>
                    </a:lnTo>
                    <a:lnTo>
                      <a:pt x="84" y="2112"/>
                    </a:lnTo>
                    <a:lnTo>
                      <a:pt x="78" y="2106"/>
                    </a:lnTo>
                    <a:lnTo>
                      <a:pt x="66" y="2106"/>
                    </a:lnTo>
                    <a:lnTo>
                      <a:pt x="48" y="2106"/>
                    </a:lnTo>
                    <a:lnTo>
                      <a:pt x="42" y="2100"/>
                    </a:lnTo>
                    <a:lnTo>
                      <a:pt x="30" y="2112"/>
                    </a:lnTo>
                    <a:lnTo>
                      <a:pt x="18" y="2118"/>
                    </a:lnTo>
                    <a:lnTo>
                      <a:pt x="6" y="2130"/>
                    </a:lnTo>
                    <a:lnTo>
                      <a:pt x="6" y="2136"/>
                    </a:lnTo>
                    <a:lnTo>
                      <a:pt x="0" y="2142"/>
                    </a:lnTo>
                    <a:lnTo>
                      <a:pt x="12" y="2142"/>
                    </a:lnTo>
                    <a:lnTo>
                      <a:pt x="6" y="2148"/>
                    </a:lnTo>
                    <a:lnTo>
                      <a:pt x="12" y="2154"/>
                    </a:lnTo>
                    <a:lnTo>
                      <a:pt x="24" y="2160"/>
                    </a:lnTo>
                    <a:lnTo>
                      <a:pt x="30" y="2172"/>
                    </a:lnTo>
                    <a:lnTo>
                      <a:pt x="36" y="2178"/>
                    </a:lnTo>
                    <a:lnTo>
                      <a:pt x="48" y="2190"/>
                    </a:lnTo>
                    <a:lnTo>
                      <a:pt x="48" y="2196"/>
                    </a:lnTo>
                    <a:lnTo>
                      <a:pt x="54" y="2202"/>
                    </a:lnTo>
                    <a:lnTo>
                      <a:pt x="60" y="2214"/>
                    </a:lnTo>
                    <a:lnTo>
                      <a:pt x="60" y="2226"/>
                    </a:lnTo>
                    <a:lnTo>
                      <a:pt x="60" y="2232"/>
                    </a:lnTo>
                    <a:lnTo>
                      <a:pt x="84" y="2244"/>
                    </a:lnTo>
                    <a:lnTo>
                      <a:pt x="102" y="2238"/>
                    </a:lnTo>
                    <a:lnTo>
                      <a:pt x="108" y="2244"/>
                    </a:lnTo>
                    <a:lnTo>
                      <a:pt x="108" y="2238"/>
                    </a:lnTo>
                    <a:lnTo>
                      <a:pt x="114" y="2244"/>
                    </a:lnTo>
                    <a:lnTo>
                      <a:pt x="120" y="2250"/>
                    </a:lnTo>
                    <a:lnTo>
                      <a:pt x="126" y="2256"/>
                    </a:lnTo>
                    <a:lnTo>
                      <a:pt x="132" y="2262"/>
                    </a:lnTo>
                    <a:lnTo>
                      <a:pt x="132" y="2268"/>
                    </a:lnTo>
                    <a:lnTo>
                      <a:pt x="138" y="2280"/>
                    </a:lnTo>
                    <a:lnTo>
                      <a:pt x="150" y="2292"/>
                    </a:lnTo>
                    <a:lnTo>
                      <a:pt x="156" y="2286"/>
                    </a:lnTo>
                    <a:lnTo>
                      <a:pt x="162" y="2280"/>
                    </a:lnTo>
                    <a:lnTo>
                      <a:pt x="174" y="2274"/>
                    </a:lnTo>
                    <a:lnTo>
                      <a:pt x="180" y="2286"/>
                    </a:lnTo>
                    <a:lnTo>
                      <a:pt x="180" y="2298"/>
                    </a:lnTo>
                    <a:lnTo>
                      <a:pt x="186" y="2304"/>
                    </a:lnTo>
                    <a:lnTo>
                      <a:pt x="192" y="2304"/>
                    </a:lnTo>
                    <a:lnTo>
                      <a:pt x="204" y="2304"/>
                    </a:lnTo>
                    <a:lnTo>
                      <a:pt x="210" y="2316"/>
                    </a:lnTo>
                    <a:lnTo>
                      <a:pt x="216" y="2316"/>
                    </a:lnTo>
                    <a:lnTo>
                      <a:pt x="228" y="2322"/>
                    </a:lnTo>
                    <a:lnTo>
                      <a:pt x="222" y="2346"/>
                    </a:lnTo>
                    <a:lnTo>
                      <a:pt x="228" y="2352"/>
                    </a:lnTo>
                    <a:lnTo>
                      <a:pt x="240" y="2352"/>
                    </a:lnTo>
                    <a:lnTo>
                      <a:pt x="246" y="2358"/>
                    </a:lnTo>
                    <a:lnTo>
                      <a:pt x="252" y="2364"/>
                    </a:lnTo>
                    <a:lnTo>
                      <a:pt x="258" y="2376"/>
                    </a:lnTo>
                    <a:lnTo>
                      <a:pt x="264" y="2376"/>
                    </a:lnTo>
                    <a:lnTo>
                      <a:pt x="270" y="2376"/>
                    </a:lnTo>
                    <a:lnTo>
                      <a:pt x="282" y="2370"/>
                    </a:lnTo>
                    <a:lnTo>
                      <a:pt x="294" y="2370"/>
                    </a:lnTo>
                    <a:lnTo>
                      <a:pt x="294" y="2364"/>
                    </a:lnTo>
                    <a:lnTo>
                      <a:pt x="294" y="2352"/>
                    </a:lnTo>
                    <a:lnTo>
                      <a:pt x="306" y="2352"/>
                    </a:lnTo>
                    <a:lnTo>
                      <a:pt x="318" y="2358"/>
                    </a:lnTo>
                    <a:lnTo>
                      <a:pt x="318" y="2364"/>
                    </a:lnTo>
                    <a:lnTo>
                      <a:pt x="312" y="2370"/>
                    </a:lnTo>
                    <a:lnTo>
                      <a:pt x="312" y="2382"/>
                    </a:lnTo>
                    <a:lnTo>
                      <a:pt x="312" y="2400"/>
                    </a:lnTo>
                    <a:lnTo>
                      <a:pt x="312" y="2412"/>
                    </a:lnTo>
                    <a:lnTo>
                      <a:pt x="318" y="2430"/>
                    </a:lnTo>
                    <a:lnTo>
                      <a:pt x="318" y="2442"/>
                    </a:lnTo>
                    <a:lnTo>
                      <a:pt x="318" y="2454"/>
                    </a:lnTo>
                    <a:lnTo>
                      <a:pt x="312" y="2460"/>
                    </a:lnTo>
                    <a:lnTo>
                      <a:pt x="312" y="2472"/>
                    </a:lnTo>
                    <a:lnTo>
                      <a:pt x="306" y="2478"/>
                    </a:lnTo>
                    <a:lnTo>
                      <a:pt x="312" y="2484"/>
                    </a:lnTo>
                    <a:lnTo>
                      <a:pt x="312" y="2496"/>
                    </a:lnTo>
                    <a:lnTo>
                      <a:pt x="318" y="2496"/>
                    </a:lnTo>
                    <a:lnTo>
                      <a:pt x="330" y="2496"/>
                    </a:lnTo>
                    <a:lnTo>
                      <a:pt x="336" y="2508"/>
                    </a:lnTo>
                    <a:lnTo>
                      <a:pt x="348" y="2526"/>
                    </a:lnTo>
                    <a:lnTo>
                      <a:pt x="342" y="2538"/>
                    </a:lnTo>
                    <a:lnTo>
                      <a:pt x="336" y="2544"/>
                    </a:lnTo>
                    <a:lnTo>
                      <a:pt x="330" y="2550"/>
                    </a:lnTo>
                    <a:lnTo>
                      <a:pt x="324" y="2556"/>
                    </a:lnTo>
                    <a:lnTo>
                      <a:pt x="324" y="2568"/>
                    </a:lnTo>
                    <a:lnTo>
                      <a:pt x="324" y="2574"/>
                    </a:lnTo>
                    <a:lnTo>
                      <a:pt x="336" y="2568"/>
                    </a:lnTo>
                    <a:lnTo>
                      <a:pt x="354" y="2568"/>
                    </a:lnTo>
                    <a:lnTo>
                      <a:pt x="360" y="2568"/>
                    </a:lnTo>
                    <a:lnTo>
                      <a:pt x="372" y="2574"/>
                    </a:lnTo>
                    <a:lnTo>
                      <a:pt x="372" y="2580"/>
                    </a:lnTo>
                    <a:lnTo>
                      <a:pt x="378" y="2586"/>
                    </a:lnTo>
                    <a:lnTo>
                      <a:pt x="378" y="2598"/>
                    </a:lnTo>
                    <a:lnTo>
                      <a:pt x="378" y="2604"/>
                    </a:lnTo>
                    <a:lnTo>
                      <a:pt x="390" y="2604"/>
                    </a:lnTo>
                    <a:lnTo>
                      <a:pt x="408" y="2604"/>
                    </a:lnTo>
                    <a:lnTo>
                      <a:pt x="414" y="2616"/>
                    </a:lnTo>
                    <a:lnTo>
                      <a:pt x="414" y="2622"/>
                    </a:lnTo>
                    <a:lnTo>
                      <a:pt x="426" y="2628"/>
                    </a:lnTo>
                    <a:lnTo>
                      <a:pt x="426" y="2634"/>
                    </a:lnTo>
                    <a:lnTo>
                      <a:pt x="432" y="2640"/>
                    </a:lnTo>
                    <a:lnTo>
                      <a:pt x="444" y="2646"/>
                    </a:lnTo>
                    <a:lnTo>
                      <a:pt x="462" y="2652"/>
                    </a:lnTo>
                    <a:lnTo>
                      <a:pt x="468" y="2658"/>
                    </a:lnTo>
                    <a:lnTo>
                      <a:pt x="474" y="2658"/>
                    </a:lnTo>
                    <a:lnTo>
                      <a:pt x="486" y="2652"/>
                    </a:lnTo>
                    <a:lnTo>
                      <a:pt x="492" y="2664"/>
                    </a:lnTo>
                    <a:lnTo>
                      <a:pt x="504" y="2664"/>
                    </a:lnTo>
                    <a:lnTo>
                      <a:pt x="516" y="2676"/>
                    </a:lnTo>
                    <a:lnTo>
                      <a:pt x="528" y="2670"/>
                    </a:lnTo>
                    <a:lnTo>
                      <a:pt x="534" y="2658"/>
                    </a:lnTo>
                    <a:lnTo>
                      <a:pt x="540" y="2652"/>
                    </a:lnTo>
                    <a:lnTo>
                      <a:pt x="546" y="2652"/>
                    </a:lnTo>
                    <a:lnTo>
                      <a:pt x="552" y="2658"/>
                    </a:lnTo>
                    <a:lnTo>
                      <a:pt x="558" y="2670"/>
                    </a:lnTo>
                    <a:lnTo>
                      <a:pt x="564" y="2676"/>
                    </a:lnTo>
                    <a:lnTo>
                      <a:pt x="564" y="2682"/>
                    </a:lnTo>
                    <a:lnTo>
                      <a:pt x="570" y="2694"/>
                    </a:lnTo>
                    <a:lnTo>
                      <a:pt x="588" y="2700"/>
                    </a:lnTo>
                    <a:lnTo>
                      <a:pt x="600" y="2706"/>
                    </a:lnTo>
                    <a:lnTo>
                      <a:pt x="612" y="2706"/>
                    </a:lnTo>
                    <a:lnTo>
                      <a:pt x="618" y="2700"/>
                    </a:lnTo>
                    <a:lnTo>
                      <a:pt x="630" y="2700"/>
                    </a:lnTo>
                    <a:lnTo>
                      <a:pt x="642" y="2700"/>
                    </a:lnTo>
                    <a:lnTo>
                      <a:pt x="654" y="2706"/>
                    </a:lnTo>
                    <a:lnTo>
                      <a:pt x="660" y="2706"/>
                    </a:lnTo>
                    <a:lnTo>
                      <a:pt x="666" y="2706"/>
                    </a:lnTo>
                    <a:lnTo>
                      <a:pt x="678" y="2706"/>
                    </a:lnTo>
                    <a:lnTo>
                      <a:pt x="690" y="2712"/>
                    </a:lnTo>
                    <a:lnTo>
                      <a:pt x="702" y="2718"/>
                    </a:lnTo>
                    <a:lnTo>
                      <a:pt x="708" y="2718"/>
                    </a:lnTo>
                    <a:lnTo>
                      <a:pt x="720" y="2718"/>
                    </a:lnTo>
                    <a:lnTo>
                      <a:pt x="726" y="2730"/>
                    </a:lnTo>
                    <a:lnTo>
                      <a:pt x="732" y="2730"/>
                    </a:lnTo>
                    <a:lnTo>
                      <a:pt x="738" y="2736"/>
                    </a:lnTo>
                    <a:lnTo>
                      <a:pt x="744" y="2748"/>
                    </a:lnTo>
                    <a:lnTo>
                      <a:pt x="750" y="2754"/>
                    </a:lnTo>
                    <a:lnTo>
                      <a:pt x="744" y="2760"/>
                    </a:lnTo>
                    <a:lnTo>
                      <a:pt x="732" y="2766"/>
                    </a:lnTo>
                    <a:lnTo>
                      <a:pt x="726" y="2772"/>
                    </a:lnTo>
                    <a:lnTo>
                      <a:pt x="726" y="2778"/>
                    </a:lnTo>
                    <a:lnTo>
                      <a:pt x="732" y="2796"/>
                    </a:lnTo>
                    <a:lnTo>
                      <a:pt x="726" y="2808"/>
                    </a:lnTo>
                    <a:lnTo>
                      <a:pt x="720" y="2820"/>
                    </a:lnTo>
                    <a:lnTo>
                      <a:pt x="720" y="2826"/>
                    </a:lnTo>
                    <a:lnTo>
                      <a:pt x="720" y="2832"/>
                    </a:lnTo>
                    <a:lnTo>
                      <a:pt x="714" y="2838"/>
                    </a:lnTo>
                    <a:lnTo>
                      <a:pt x="708" y="2838"/>
                    </a:lnTo>
                    <a:lnTo>
                      <a:pt x="696" y="2844"/>
                    </a:lnTo>
                    <a:lnTo>
                      <a:pt x="684" y="2850"/>
                    </a:lnTo>
                    <a:lnTo>
                      <a:pt x="678" y="2856"/>
                    </a:lnTo>
                    <a:lnTo>
                      <a:pt x="690" y="2862"/>
                    </a:lnTo>
                    <a:lnTo>
                      <a:pt x="696" y="2874"/>
                    </a:lnTo>
                    <a:lnTo>
                      <a:pt x="702" y="2880"/>
                    </a:lnTo>
                    <a:lnTo>
                      <a:pt x="708" y="2886"/>
                    </a:lnTo>
                    <a:lnTo>
                      <a:pt x="714" y="2898"/>
                    </a:lnTo>
                    <a:lnTo>
                      <a:pt x="726" y="2898"/>
                    </a:lnTo>
                    <a:lnTo>
                      <a:pt x="738" y="2892"/>
                    </a:lnTo>
                    <a:lnTo>
                      <a:pt x="750" y="2898"/>
                    </a:lnTo>
                    <a:lnTo>
                      <a:pt x="762" y="2904"/>
                    </a:lnTo>
                    <a:lnTo>
                      <a:pt x="774" y="2904"/>
                    </a:lnTo>
                    <a:lnTo>
                      <a:pt x="780" y="2904"/>
                    </a:lnTo>
                    <a:lnTo>
                      <a:pt x="786" y="2910"/>
                    </a:lnTo>
                    <a:lnTo>
                      <a:pt x="786" y="2916"/>
                    </a:lnTo>
                    <a:lnTo>
                      <a:pt x="792" y="2928"/>
                    </a:lnTo>
                    <a:lnTo>
                      <a:pt x="792" y="2934"/>
                    </a:lnTo>
                    <a:lnTo>
                      <a:pt x="786" y="2940"/>
                    </a:lnTo>
                    <a:lnTo>
                      <a:pt x="780" y="2946"/>
                    </a:lnTo>
                    <a:lnTo>
                      <a:pt x="774" y="2946"/>
                    </a:lnTo>
                    <a:lnTo>
                      <a:pt x="768" y="2952"/>
                    </a:lnTo>
                    <a:lnTo>
                      <a:pt x="756" y="2958"/>
                    </a:lnTo>
                    <a:lnTo>
                      <a:pt x="744" y="2964"/>
                    </a:lnTo>
                    <a:lnTo>
                      <a:pt x="738" y="2964"/>
                    </a:lnTo>
                    <a:lnTo>
                      <a:pt x="720" y="2964"/>
                    </a:lnTo>
                    <a:lnTo>
                      <a:pt x="714" y="2964"/>
                    </a:lnTo>
                    <a:lnTo>
                      <a:pt x="702" y="2970"/>
                    </a:lnTo>
                    <a:lnTo>
                      <a:pt x="696" y="2982"/>
                    </a:lnTo>
                    <a:lnTo>
                      <a:pt x="696" y="2994"/>
                    </a:lnTo>
                    <a:lnTo>
                      <a:pt x="702" y="3000"/>
                    </a:lnTo>
                    <a:lnTo>
                      <a:pt x="714" y="3012"/>
                    </a:lnTo>
                    <a:lnTo>
                      <a:pt x="720" y="3018"/>
                    </a:lnTo>
                    <a:lnTo>
                      <a:pt x="726" y="3030"/>
                    </a:lnTo>
                    <a:lnTo>
                      <a:pt x="732" y="3030"/>
                    </a:lnTo>
                    <a:lnTo>
                      <a:pt x="744" y="3030"/>
                    </a:lnTo>
                    <a:lnTo>
                      <a:pt x="756" y="3030"/>
                    </a:lnTo>
                    <a:lnTo>
                      <a:pt x="768" y="3030"/>
                    </a:lnTo>
                    <a:lnTo>
                      <a:pt x="780" y="3024"/>
                    </a:lnTo>
                    <a:lnTo>
                      <a:pt x="792" y="3024"/>
                    </a:lnTo>
                    <a:lnTo>
                      <a:pt x="804" y="3018"/>
                    </a:lnTo>
                    <a:lnTo>
                      <a:pt x="816" y="3024"/>
                    </a:lnTo>
                    <a:lnTo>
                      <a:pt x="828" y="3024"/>
                    </a:lnTo>
                    <a:lnTo>
                      <a:pt x="828" y="3030"/>
                    </a:lnTo>
                    <a:lnTo>
                      <a:pt x="834" y="3042"/>
                    </a:lnTo>
                    <a:lnTo>
                      <a:pt x="840" y="3048"/>
                    </a:lnTo>
                    <a:lnTo>
                      <a:pt x="840" y="3054"/>
                    </a:lnTo>
                    <a:lnTo>
                      <a:pt x="846" y="3066"/>
                    </a:lnTo>
                    <a:lnTo>
                      <a:pt x="846" y="3078"/>
                    </a:lnTo>
                    <a:lnTo>
                      <a:pt x="852" y="3090"/>
                    </a:lnTo>
                    <a:lnTo>
                      <a:pt x="852" y="3096"/>
                    </a:lnTo>
                    <a:lnTo>
                      <a:pt x="864" y="3096"/>
                    </a:lnTo>
                    <a:lnTo>
                      <a:pt x="876" y="3090"/>
                    </a:lnTo>
                    <a:lnTo>
                      <a:pt x="888" y="3090"/>
                    </a:lnTo>
                    <a:lnTo>
                      <a:pt x="900" y="3090"/>
                    </a:lnTo>
                    <a:lnTo>
                      <a:pt x="906" y="3096"/>
                    </a:lnTo>
                    <a:lnTo>
                      <a:pt x="918" y="3090"/>
                    </a:lnTo>
                    <a:lnTo>
                      <a:pt x="930" y="3084"/>
                    </a:lnTo>
                    <a:lnTo>
                      <a:pt x="942" y="3078"/>
                    </a:lnTo>
                    <a:lnTo>
                      <a:pt x="954" y="3084"/>
                    </a:lnTo>
                    <a:lnTo>
                      <a:pt x="960" y="3084"/>
                    </a:lnTo>
                    <a:lnTo>
                      <a:pt x="978" y="3084"/>
                    </a:lnTo>
                    <a:lnTo>
                      <a:pt x="984" y="3084"/>
                    </a:lnTo>
                    <a:lnTo>
                      <a:pt x="990" y="3084"/>
                    </a:lnTo>
                    <a:lnTo>
                      <a:pt x="996" y="3090"/>
                    </a:lnTo>
                    <a:lnTo>
                      <a:pt x="1002" y="3084"/>
                    </a:lnTo>
                    <a:lnTo>
                      <a:pt x="1014" y="3084"/>
                    </a:lnTo>
                    <a:lnTo>
                      <a:pt x="1026" y="3084"/>
                    </a:lnTo>
                    <a:lnTo>
                      <a:pt x="1038" y="3084"/>
                    </a:lnTo>
                    <a:lnTo>
                      <a:pt x="1050" y="3084"/>
                    </a:lnTo>
                    <a:lnTo>
                      <a:pt x="1056" y="3096"/>
                    </a:lnTo>
                    <a:lnTo>
                      <a:pt x="1062" y="3102"/>
                    </a:lnTo>
                    <a:lnTo>
                      <a:pt x="1074" y="3114"/>
                    </a:lnTo>
                    <a:lnTo>
                      <a:pt x="1074" y="3120"/>
                    </a:lnTo>
                    <a:lnTo>
                      <a:pt x="1080" y="3132"/>
                    </a:lnTo>
                    <a:lnTo>
                      <a:pt x="1080" y="3144"/>
                    </a:lnTo>
                    <a:lnTo>
                      <a:pt x="1092" y="3150"/>
                    </a:lnTo>
                    <a:lnTo>
                      <a:pt x="1104" y="3156"/>
                    </a:lnTo>
                    <a:lnTo>
                      <a:pt x="1104" y="3162"/>
                    </a:lnTo>
                    <a:lnTo>
                      <a:pt x="1110" y="3168"/>
                    </a:lnTo>
                    <a:lnTo>
                      <a:pt x="1116" y="3180"/>
                    </a:lnTo>
                    <a:lnTo>
                      <a:pt x="1128" y="3186"/>
                    </a:lnTo>
                    <a:lnTo>
                      <a:pt x="1134" y="3186"/>
                    </a:lnTo>
                    <a:lnTo>
                      <a:pt x="1146" y="3192"/>
                    </a:lnTo>
                    <a:lnTo>
                      <a:pt x="1158" y="3186"/>
                    </a:lnTo>
                    <a:lnTo>
                      <a:pt x="1170" y="3180"/>
                    </a:lnTo>
                    <a:lnTo>
                      <a:pt x="1170" y="3168"/>
                    </a:lnTo>
                    <a:lnTo>
                      <a:pt x="1176" y="3156"/>
                    </a:lnTo>
                    <a:lnTo>
                      <a:pt x="1176" y="3144"/>
                    </a:lnTo>
                    <a:lnTo>
                      <a:pt x="1176" y="3126"/>
                    </a:lnTo>
                    <a:lnTo>
                      <a:pt x="1182" y="3120"/>
                    </a:lnTo>
                    <a:lnTo>
                      <a:pt x="1188" y="3108"/>
                    </a:lnTo>
                    <a:lnTo>
                      <a:pt x="1194" y="3096"/>
                    </a:lnTo>
                    <a:lnTo>
                      <a:pt x="1194" y="3078"/>
                    </a:lnTo>
                    <a:lnTo>
                      <a:pt x="1200" y="3066"/>
                    </a:lnTo>
                    <a:lnTo>
                      <a:pt x="1206" y="3054"/>
                    </a:lnTo>
                    <a:lnTo>
                      <a:pt x="1206" y="3042"/>
                    </a:lnTo>
                    <a:lnTo>
                      <a:pt x="1206" y="3036"/>
                    </a:lnTo>
                    <a:lnTo>
                      <a:pt x="1212" y="3030"/>
                    </a:lnTo>
                    <a:lnTo>
                      <a:pt x="1224" y="3024"/>
                    </a:lnTo>
                    <a:lnTo>
                      <a:pt x="1236" y="3018"/>
                    </a:lnTo>
                    <a:lnTo>
                      <a:pt x="1248" y="3012"/>
                    </a:lnTo>
                    <a:lnTo>
                      <a:pt x="1254" y="3006"/>
                    </a:lnTo>
                    <a:lnTo>
                      <a:pt x="1254" y="3000"/>
                    </a:lnTo>
                    <a:lnTo>
                      <a:pt x="1260" y="2994"/>
                    </a:lnTo>
                    <a:lnTo>
                      <a:pt x="1272" y="2988"/>
                    </a:lnTo>
                    <a:lnTo>
                      <a:pt x="1278" y="2982"/>
                    </a:lnTo>
                    <a:lnTo>
                      <a:pt x="1284" y="2988"/>
                    </a:lnTo>
                    <a:lnTo>
                      <a:pt x="1296" y="2994"/>
                    </a:lnTo>
                    <a:lnTo>
                      <a:pt x="1308" y="3000"/>
                    </a:lnTo>
                    <a:lnTo>
                      <a:pt x="1320" y="3006"/>
                    </a:lnTo>
                    <a:lnTo>
                      <a:pt x="1326" y="3012"/>
                    </a:lnTo>
                    <a:lnTo>
                      <a:pt x="1338" y="3018"/>
                    </a:lnTo>
                    <a:lnTo>
                      <a:pt x="1344" y="3024"/>
                    </a:lnTo>
                    <a:lnTo>
                      <a:pt x="1356" y="3036"/>
                    </a:lnTo>
                    <a:lnTo>
                      <a:pt x="1362" y="3036"/>
                    </a:lnTo>
                    <a:lnTo>
                      <a:pt x="1368" y="3036"/>
                    </a:lnTo>
                    <a:lnTo>
                      <a:pt x="1374" y="3042"/>
                    </a:lnTo>
                    <a:lnTo>
                      <a:pt x="1386" y="3042"/>
                    </a:lnTo>
                    <a:lnTo>
                      <a:pt x="1392" y="3036"/>
                    </a:lnTo>
                    <a:lnTo>
                      <a:pt x="1404" y="3036"/>
                    </a:lnTo>
                    <a:lnTo>
                      <a:pt x="1416" y="3036"/>
                    </a:lnTo>
                    <a:lnTo>
                      <a:pt x="1422" y="3042"/>
                    </a:lnTo>
                    <a:lnTo>
                      <a:pt x="1428" y="3048"/>
                    </a:lnTo>
                    <a:lnTo>
                      <a:pt x="1440" y="3054"/>
                    </a:lnTo>
                    <a:lnTo>
                      <a:pt x="1446" y="3060"/>
                    </a:lnTo>
                    <a:lnTo>
                      <a:pt x="1452" y="3072"/>
                    </a:lnTo>
                    <a:lnTo>
                      <a:pt x="1458" y="3078"/>
                    </a:lnTo>
                    <a:lnTo>
                      <a:pt x="1458" y="3084"/>
                    </a:lnTo>
                    <a:lnTo>
                      <a:pt x="1452" y="3096"/>
                    </a:lnTo>
                    <a:lnTo>
                      <a:pt x="1446" y="3102"/>
                    </a:lnTo>
                    <a:lnTo>
                      <a:pt x="1434" y="3108"/>
                    </a:lnTo>
                    <a:lnTo>
                      <a:pt x="1428" y="3108"/>
                    </a:lnTo>
                    <a:lnTo>
                      <a:pt x="1416" y="3102"/>
                    </a:lnTo>
                    <a:lnTo>
                      <a:pt x="1410" y="3102"/>
                    </a:lnTo>
                    <a:lnTo>
                      <a:pt x="1398" y="3096"/>
                    </a:lnTo>
                    <a:lnTo>
                      <a:pt x="1392" y="3090"/>
                    </a:lnTo>
                    <a:lnTo>
                      <a:pt x="1386" y="3084"/>
                    </a:lnTo>
                    <a:lnTo>
                      <a:pt x="1374" y="3090"/>
                    </a:lnTo>
                    <a:lnTo>
                      <a:pt x="1362" y="3096"/>
                    </a:lnTo>
                    <a:lnTo>
                      <a:pt x="1356" y="3108"/>
                    </a:lnTo>
                    <a:lnTo>
                      <a:pt x="1356" y="3120"/>
                    </a:lnTo>
                    <a:lnTo>
                      <a:pt x="1362" y="3132"/>
                    </a:lnTo>
                    <a:lnTo>
                      <a:pt x="1362" y="3144"/>
                    </a:lnTo>
                    <a:lnTo>
                      <a:pt x="1350" y="3150"/>
                    </a:lnTo>
                    <a:lnTo>
                      <a:pt x="1338" y="3156"/>
                    </a:lnTo>
                    <a:lnTo>
                      <a:pt x="1332" y="3156"/>
                    </a:lnTo>
                    <a:lnTo>
                      <a:pt x="1320" y="3150"/>
                    </a:lnTo>
                    <a:lnTo>
                      <a:pt x="1314" y="3156"/>
                    </a:lnTo>
                    <a:lnTo>
                      <a:pt x="1314" y="3174"/>
                    </a:lnTo>
                    <a:lnTo>
                      <a:pt x="1320" y="3180"/>
                    </a:lnTo>
                    <a:lnTo>
                      <a:pt x="1326" y="3186"/>
                    </a:lnTo>
                    <a:lnTo>
                      <a:pt x="1338" y="3192"/>
                    </a:lnTo>
                    <a:lnTo>
                      <a:pt x="1344" y="3204"/>
                    </a:lnTo>
                    <a:lnTo>
                      <a:pt x="1344" y="3216"/>
                    </a:lnTo>
                    <a:lnTo>
                      <a:pt x="1350" y="3228"/>
                    </a:lnTo>
                    <a:lnTo>
                      <a:pt x="1356" y="3234"/>
                    </a:lnTo>
                    <a:lnTo>
                      <a:pt x="1362" y="3246"/>
                    </a:lnTo>
                    <a:lnTo>
                      <a:pt x="1374" y="3264"/>
                    </a:lnTo>
                    <a:lnTo>
                      <a:pt x="1386" y="3270"/>
                    </a:lnTo>
                    <a:lnTo>
                      <a:pt x="1398" y="3276"/>
                    </a:lnTo>
                    <a:lnTo>
                      <a:pt x="1404" y="3276"/>
                    </a:lnTo>
                    <a:lnTo>
                      <a:pt x="1416" y="3276"/>
                    </a:lnTo>
                    <a:lnTo>
                      <a:pt x="1428" y="3276"/>
                    </a:lnTo>
                    <a:lnTo>
                      <a:pt x="1440" y="3270"/>
                    </a:lnTo>
                    <a:lnTo>
                      <a:pt x="1446" y="3276"/>
                    </a:lnTo>
                    <a:lnTo>
                      <a:pt x="1452" y="3282"/>
                    </a:lnTo>
                    <a:lnTo>
                      <a:pt x="1452" y="3294"/>
                    </a:lnTo>
                    <a:lnTo>
                      <a:pt x="1458" y="3306"/>
                    </a:lnTo>
                    <a:lnTo>
                      <a:pt x="1452" y="3312"/>
                    </a:lnTo>
                    <a:lnTo>
                      <a:pt x="1452" y="3318"/>
                    </a:lnTo>
                    <a:lnTo>
                      <a:pt x="1458" y="3330"/>
                    </a:lnTo>
                    <a:lnTo>
                      <a:pt x="1464" y="3330"/>
                    </a:lnTo>
                    <a:lnTo>
                      <a:pt x="1476" y="3330"/>
                    </a:lnTo>
                    <a:lnTo>
                      <a:pt x="1488" y="3330"/>
                    </a:lnTo>
                    <a:lnTo>
                      <a:pt x="1500" y="3336"/>
                    </a:lnTo>
                    <a:lnTo>
                      <a:pt x="1506" y="3342"/>
                    </a:lnTo>
                    <a:lnTo>
                      <a:pt x="1518" y="3354"/>
                    </a:lnTo>
                    <a:lnTo>
                      <a:pt x="1530" y="3354"/>
                    </a:lnTo>
                    <a:lnTo>
                      <a:pt x="1542" y="3360"/>
                    </a:lnTo>
                    <a:lnTo>
                      <a:pt x="1560" y="3366"/>
                    </a:lnTo>
                    <a:lnTo>
                      <a:pt x="1572" y="3366"/>
                    </a:lnTo>
                    <a:lnTo>
                      <a:pt x="1578" y="3372"/>
                    </a:lnTo>
                    <a:lnTo>
                      <a:pt x="1584" y="3378"/>
                    </a:lnTo>
                    <a:lnTo>
                      <a:pt x="1596" y="3384"/>
                    </a:lnTo>
                    <a:lnTo>
                      <a:pt x="1602" y="3384"/>
                    </a:lnTo>
                    <a:lnTo>
                      <a:pt x="1608" y="3384"/>
                    </a:lnTo>
                    <a:lnTo>
                      <a:pt x="1620" y="3384"/>
                    </a:lnTo>
                    <a:lnTo>
                      <a:pt x="1632" y="3384"/>
                    </a:lnTo>
                    <a:lnTo>
                      <a:pt x="1638" y="3384"/>
                    </a:lnTo>
                    <a:lnTo>
                      <a:pt x="1650" y="3378"/>
                    </a:lnTo>
                    <a:lnTo>
                      <a:pt x="1656" y="3384"/>
                    </a:lnTo>
                    <a:lnTo>
                      <a:pt x="1662" y="3390"/>
                    </a:lnTo>
                    <a:lnTo>
                      <a:pt x="1662" y="3402"/>
                    </a:lnTo>
                    <a:lnTo>
                      <a:pt x="1668" y="3408"/>
                    </a:lnTo>
                    <a:lnTo>
                      <a:pt x="1668" y="3414"/>
                    </a:lnTo>
                    <a:lnTo>
                      <a:pt x="1662" y="3420"/>
                    </a:lnTo>
                    <a:lnTo>
                      <a:pt x="1668" y="3420"/>
                    </a:lnTo>
                    <a:lnTo>
                      <a:pt x="1662" y="3432"/>
                    </a:lnTo>
                    <a:lnTo>
                      <a:pt x="1650" y="3444"/>
                    </a:lnTo>
                    <a:lnTo>
                      <a:pt x="1644" y="3450"/>
                    </a:lnTo>
                    <a:lnTo>
                      <a:pt x="1632" y="3456"/>
                    </a:lnTo>
                    <a:lnTo>
                      <a:pt x="1614" y="3462"/>
                    </a:lnTo>
                    <a:lnTo>
                      <a:pt x="1608" y="3468"/>
                    </a:lnTo>
                    <a:lnTo>
                      <a:pt x="1596" y="3480"/>
                    </a:lnTo>
                    <a:lnTo>
                      <a:pt x="1596" y="3486"/>
                    </a:lnTo>
                    <a:lnTo>
                      <a:pt x="1596" y="3498"/>
                    </a:lnTo>
                    <a:lnTo>
                      <a:pt x="1590" y="3516"/>
                    </a:lnTo>
                    <a:lnTo>
                      <a:pt x="1590" y="3528"/>
                    </a:lnTo>
                    <a:lnTo>
                      <a:pt x="1590" y="3540"/>
                    </a:lnTo>
                    <a:lnTo>
                      <a:pt x="1584" y="3552"/>
                    </a:lnTo>
                    <a:lnTo>
                      <a:pt x="1590" y="3570"/>
                    </a:lnTo>
                    <a:lnTo>
                      <a:pt x="1596" y="3576"/>
                    </a:lnTo>
                    <a:lnTo>
                      <a:pt x="1602" y="3582"/>
                    </a:lnTo>
                    <a:lnTo>
                      <a:pt x="1614" y="3588"/>
                    </a:lnTo>
                    <a:lnTo>
                      <a:pt x="1620" y="3588"/>
                    </a:lnTo>
                    <a:lnTo>
                      <a:pt x="1638" y="3588"/>
                    </a:lnTo>
                    <a:lnTo>
                      <a:pt x="1650" y="3588"/>
                    </a:lnTo>
                    <a:lnTo>
                      <a:pt x="1662" y="3594"/>
                    </a:lnTo>
                    <a:lnTo>
                      <a:pt x="1674" y="3600"/>
                    </a:lnTo>
                    <a:lnTo>
                      <a:pt x="1686" y="3594"/>
                    </a:lnTo>
                    <a:lnTo>
                      <a:pt x="1698" y="3600"/>
                    </a:lnTo>
                    <a:lnTo>
                      <a:pt x="1716" y="3594"/>
                    </a:lnTo>
                    <a:lnTo>
                      <a:pt x="1728" y="3594"/>
                    </a:lnTo>
                    <a:lnTo>
                      <a:pt x="1740" y="3588"/>
                    </a:lnTo>
                    <a:lnTo>
                      <a:pt x="1746" y="3582"/>
                    </a:lnTo>
                    <a:lnTo>
                      <a:pt x="1758" y="3576"/>
                    </a:lnTo>
                    <a:lnTo>
                      <a:pt x="1770" y="3564"/>
                    </a:lnTo>
                    <a:lnTo>
                      <a:pt x="1788" y="3558"/>
                    </a:lnTo>
                    <a:lnTo>
                      <a:pt x="1800" y="3546"/>
                    </a:lnTo>
                    <a:lnTo>
                      <a:pt x="1806" y="3546"/>
                    </a:lnTo>
                    <a:lnTo>
                      <a:pt x="1818" y="3540"/>
                    </a:lnTo>
                    <a:lnTo>
                      <a:pt x="1830" y="3540"/>
                    </a:lnTo>
                    <a:lnTo>
                      <a:pt x="1842" y="3534"/>
                    </a:lnTo>
                    <a:lnTo>
                      <a:pt x="1854" y="3534"/>
                    </a:lnTo>
                    <a:lnTo>
                      <a:pt x="1866" y="3528"/>
                    </a:lnTo>
                    <a:lnTo>
                      <a:pt x="1872" y="3528"/>
                    </a:lnTo>
                    <a:lnTo>
                      <a:pt x="1884" y="3522"/>
                    </a:lnTo>
                    <a:lnTo>
                      <a:pt x="1890" y="3516"/>
                    </a:lnTo>
                    <a:lnTo>
                      <a:pt x="1902" y="3522"/>
                    </a:lnTo>
                    <a:lnTo>
                      <a:pt x="1914" y="3528"/>
                    </a:lnTo>
                    <a:lnTo>
                      <a:pt x="1926" y="3522"/>
                    </a:lnTo>
                    <a:lnTo>
                      <a:pt x="1938" y="3522"/>
                    </a:lnTo>
                    <a:lnTo>
                      <a:pt x="1944" y="3528"/>
                    </a:lnTo>
                    <a:lnTo>
                      <a:pt x="1956" y="3534"/>
                    </a:lnTo>
                    <a:lnTo>
                      <a:pt x="1962" y="3540"/>
                    </a:lnTo>
                    <a:lnTo>
                      <a:pt x="1974" y="3540"/>
                    </a:lnTo>
                    <a:lnTo>
                      <a:pt x="1980" y="3540"/>
                    </a:lnTo>
                    <a:lnTo>
                      <a:pt x="1986" y="3540"/>
                    </a:lnTo>
                    <a:lnTo>
                      <a:pt x="1998" y="3546"/>
                    </a:lnTo>
                    <a:lnTo>
                      <a:pt x="2010" y="3546"/>
                    </a:lnTo>
                    <a:lnTo>
                      <a:pt x="2016" y="3540"/>
                    </a:lnTo>
                    <a:lnTo>
                      <a:pt x="2022" y="3534"/>
                    </a:lnTo>
                    <a:lnTo>
                      <a:pt x="2028" y="3534"/>
                    </a:lnTo>
                    <a:lnTo>
                      <a:pt x="2040" y="3534"/>
                    </a:lnTo>
                    <a:lnTo>
                      <a:pt x="2052" y="3528"/>
                    </a:lnTo>
                    <a:lnTo>
                      <a:pt x="2064" y="3522"/>
                    </a:lnTo>
                    <a:lnTo>
                      <a:pt x="2070" y="3528"/>
                    </a:lnTo>
                    <a:lnTo>
                      <a:pt x="2082" y="3534"/>
                    </a:lnTo>
                    <a:lnTo>
                      <a:pt x="2088" y="3534"/>
                    </a:lnTo>
                    <a:lnTo>
                      <a:pt x="2100" y="3540"/>
                    </a:lnTo>
                    <a:lnTo>
                      <a:pt x="2106" y="3540"/>
                    </a:lnTo>
                    <a:lnTo>
                      <a:pt x="2118" y="3540"/>
                    </a:lnTo>
                    <a:lnTo>
                      <a:pt x="2124" y="3540"/>
                    </a:lnTo>
                    <a:lnTo>
                      <a:pt x="2136" y="3540"/>
                    </a:lnTo>
                    <a:lnTo>
                      <a:pt x="2142" y="3540"/>
                    </a:lnTo>
                    <a:lnTo>
                      <a:pt x="2148" y="3540"/>
                    </a:lnTo>
                    <a:lnTo>
                      <a:pt x="2160" y="3546"/>
                    </a:lnTo>
                    <a:lnTo>
                      <a:pt x="2172" y="3546"/>
                    </a:lnTo>
                    <a:lnTo>
                      <a:pt x="2178" y="3546"/>
                    </a:lnTo>
                    <a:lnTo>
                      <a:pt x="2190" y="3546"/>
                    </a:lnTo>
                    <a:lnTo>
                      <a:pt x="2202" y="3540"/>
                    </a:lnTo>
                    <a:lnTo>
                      <a:pt x="2214" y="3546"/>
                    </a:lnTo>
                    <a:lnTo>
                      <a:pt x="2232" y="3546"/>
                    </a:lnTo>
                    <a:lnTo>
                      <a:pt x="2244" y="3552"/>
                    </a:lnTo>
                    <a:lnTo>
                      <a:pt x="2250" y="3552"/>
                    </a:lnTo>
                    <a:lnTo>
                      <a:pt x="2256" y="3558"/>
                    </a:lnTo>
                    <a:lnTo>
                      <a:pt x="2268" y="3558"/>
                    </a:lnTo>
                    <a:lnTo>
                      <a:pt x="2280" y="3558"/>
                    </a:lnTo>
                    <a:lnTo>
                      <a:pt x="2292" y="3558"/>
                    </a:lnTo>
                    <a:lnTo>
                      <a:pt x="2298" y="3564"/>
                    </a:lnTo>
                    <a:lnTo>
                      <a:pt x="2304" y="3564"/>
                    </a:lnTo>
                    <a:lnTo>
                      <a:pt x="2316" y="3564"/>
                    </a:lnTo>
                    <a:lnTo>
                      <a:pt x="2328" y="3558"/>
                    </a:lnTo>
                    <a:lnTo>
                      <a:pt x="2334" y="3558"/>
                    </a:lnTo>
                    <a:lnTo>
                      <a:pt x="2346" y="3552"/>
                    </a:lnTo>
                    <a:lnTo>
                      <a:pt x="2358" y="3546"/>
                    </a:lnTo>
                    <a:lnTo>
                      <a:pt x="2370" y="3540"/>
                    </a:lnTo>
                    <a:lnTo>
                      <a:pt x="2376" y="3540"/>
                    </a:lnTo>
                    <a:lnTo>
                      <a:pt x="2388" y="3540"/>
                    </a:lnTo>
                    <a:lnTo>
                      <a:pt x="2394" y="3534"/>
                    </a:lnTo>
                    <a:lnTo>
                      <a:pt x="2406" y="3534"/>
                    </a:lnTo>
                    <a:lnTo>
                      <a:pt x="2406" y="3528"/>
                    </a:lnTo>
                    <a:lnTo>
                      <a:pt x="2412" y="3522"/>
                    </a:lnTo>
                    <a:lnTo>
                      <a:pt x="2418" y="3516"/>
                    </a:lnTo>
                    <a:lnTo>
                      <a:pt x="2424" y="3510"/>
                    </a:lnTo>
                    <a:lnTo>
                      <a:pt x="2424" y="3504"/>
                    </a:lnTo>
                    <a:lnTo>
                      <a:pt x="2436" y="3498"/>
                    </a:lnTo>
                    <a:lnTo>
                      <a:pt x="2442" y="3492"/>
                    </a:lnTo>
                    <a:lnTo>
                      <a:pt x="2454" y="3486"/>
                    </a:lnTo>
                    <a:lnTo>
                      <a:pt x="2460" y="3480"/>
                    </a:lnTo>
                    <a:lnTo>
                      <a:pt x="2466" y="3474"/>
                    </a:lnTo>
                    <a:lnTo>
                      <a:pt x="2478" y="3474"/>
                    </a:lnTo>
                    <a:lnTo>
                      <a:pt x="2490" y="3468"/>
                    </a:lnTo>
                    <a:lnTo>
                      <a:pt x="2496" y="3474"/>
                    </a:lnTo>
                    <a:lnTo>
                      <a:pt x="2508" y="3474"/>
                    </a:lnTo>
                    <a:lnTo>
                      <a:pt x="2520" y="3474"/>
                    </a:lnTo>
                    <a:lnTo>
                      <a:pt x="2532" y="3474"/>
                    </a:lnTo>
                    <a:lnTo>
                      <a:pt x="2544" y="3480"/>
                    </a:lnTo>
                    <a:lnTo>
                      <a:pt x="2550" y="3480"/>
                    </a:lnTo>
                    <a:lnTo>
                      <a:pt x="2556" y="3486"/>
                    </a:lnTo>
                    <a:lnTo>
                      <a:pt x="2568" y="3492"/>
                    </a:lnTo>
                    <a:lnTo>
                      <a:pt x="2574" y="3492"/>
                    </a:lnTo>
                    <a:lnTo>
                      <a:pt x="2586" y="3498"/>
                    </a:lnTo>
                    <a:lnTo>
                      <a:pt x="2598" y="3504"/>
                    </a:lnTo>
                    <a:lnTo>
                      <a:pt x="2610" y="3498"/>
                    </a:lnTo>
                    <a:lnTo>
                      <a:pt x="2622" y="3492"/>
                    </a:lnTo>
                    <a:lnTo>
                      <a:pt x="2628" y="3486"/>
                    </a:lnTo>
                    <a:lnTo>
                      <a:pt x="2634" y="3480"/>
                    </a:lnTo>
                    <a:lnTo>
                      <a:pt x="2640" y="3480"/>
                    </a:lnTo>
                    <a:lnTo>
                      <a:pt x="2646" y="3474"/>
                    </a:lnTo>
                    <a:lnTo>
                      <a:pt x="2658" y="3474"/>
                    </a:lnTo>
                    <a:lnTo>
                      <a:pt x="2670" y="3474"/>
                    </a:lnTo>
                    <a:lnTo>
                      <a:pt x="2682" y="3468"/>
                    </a:lnTo>
                    <a:lnTo>
                      <a:pt x="2694" y="3462"/>
                    </a:lnTo>
                    <a:lnTo>
                      <a:pt x="2706" y="3456"/>
                    </a:lnTo>
                    <a:lnTo>
                      <a:pt x="2718" y="3450"/>
                    </a:lnTo>
                    <a:lnTo>
                      <a:pt x="2724" y="3444"/>
                    </a:lnTo>
                    <a:lnTo>
                      <a:pt x="2736" y="3444"/>
                    </a:lnTo>
                    <a:lnTo>
                      <a:pt x="2748" y="3444"/>
                    </a:lnTo>
                    <a:lnTo>
                      <a:pt x="2760" y="3450"/>
                    </a:lnTo>
                    <a:lnTo>
                      <a:pt x="2766" y="3456"/>
                    </a:lnTo>
                    <a:lnTo>
                      <a:pt x="2778" y="3456"/>
                    </a:lnTo>
                    <a:lnTo>
                      <a:pt x="2790" y="3456"/>
                    </a:lnTo>
                    <a:lnTo>
                      <a:pt x="2796" y="3450"/>
                    </a:lnTo>
                    <a:lnTo>
                      <a:pt x="2802" y="3450"/>
                    </a:lnTo>
                    <a:lnTo>
                      <a:pt x="2808" y="3444"/>
                    </a:lnTo>
                    <a:lnTo>
                      <a:pt x="2814" y="3438"/>
                    </a:lnTo>
                    <a:lnTo>
                      <a:pt x="2820" y="3438"/>
                    </a:lnTo>
                    <a:lnTo>
                      <a:pt x="2832" y="3438"/>
                    </a:lnTo>
                    <a:lnTo>
                      <a:pt x="2844" y="3444"/>
                    </a:lnTo>
                    <a:lnTo>
                      <a:pt x="2850" y="3444"/>
                    </a:lnTo>
                    <a:lnTo>
                      <a:pt x="2862" y="3444"/>
                    </a:lnTo>
                    <a:lnTo>
                      <a:pt x="2874" y="3444"/>
                    </a:lnTo>
                    <a:lnTo>
                      <a:pt x="2880" y="3450"/>
                    </a:lnTo>
                    <a:lnTo>
                      <a:pt x="2892" y="3456"/>
                    </a:lnTo>
                    <a:lnTo>
                      <a:pt x="2898" y="3456"/>
                    </a:lnTo>
                    <a:lnTo>
                      <a:pt x="2904" y="3462"/>
                    </a:lnTo>
                    <a:lnTo>
                      <a:pt x="2916" y="3468"/>
                    </a:lnTo>
                    <a:lnTo>
                      <a:pt x="2922" y="3462"/>
                    </a:lnTo>
                    <a:lnTo>
                      <a:pt x="2928" y="3468"/>
                    </a:lnTo>
                    <a:lnTo>
                      <a:pt x="2934" y="3474"/>
                    </a:lnTo>
                    <a:lnTo>
                      <a:pt x="2946" y="3474"/>
                    </a:lnTo>
                    <a:lnTo>
                      <a:pt x="2952" y="3468"/>
                    </a:lnTo>
                    <a:lnTo>
                      <a:pt x="2964" y="3468"/>
                    </a:lnTo>
                    <a:lnTo>
                      <a:pt x="2976" y="3462"/>
                    </a:lnTo>
                    <a:lnTo>
                      <a:pt x="2982" y="3450"/>
                    </a:lnTo>
                    <a:lnTo>
                      <a:pt x="2994" y="3444"/>
                    </a:lnTo>
                    <a:lnTo>
                      <a:pt x="3006" y="3438"/>
                    </a:lnTo>
                    <a:lnTo>
                      <a:pt x="3024" y="3438"/>
                    </a:lnTo>
                    <a:lnTo>
                      <a:pt x="3030" y="3438"/>
                    </a:lnTo>
                    <a:lnTo>
                      <a:pt x="3042" y="3426"/>
                    </a:lnTo>
                    <a:lnTo>
                      <a:pt x="3048" y="3420"/>
                    </a:lnTo>
                    <a:lnTo>
                      <a:pt x="3060" y="3408"/>
                    </a:lnTo>
                    <a:lnTo>
                      <a:pt x="3072" y="3402"/>
                    </a:lnTo>
                    <a:lnTo>
                      <a:pt x="3078" y="3390"/>
                    </a:lnTo>
                    <a:lnTo>
                      <a:pt x="3084" y="3390"/>
                    </a:lnTo>
                    <a:lnTo>
                      <a:pt x="3096" y="3384"/>
                    </a:lnTo>
                    <a:lnTo>
                      <a:pt x="3108" y="3384"/>
                    </a:lnTo>
                    <a:lnTo>
                      <a:pt x="3120" y="3384"/>
                    </a:lnTo>
                    <a:lnTo>
                      <a:pt x="3126" y="3372"/>
                    </a:lnTo>
                    <a:lnTo>
                      <a:pt x="3138" y="3366"/>
                    </a:lnTo>
                    <a:lnTo>
                      <a:pt x="3144" y="3360"/>
                    </a:lnTo>
                    <a:lnTo>
                      <a:pt x="3144" y="3348"/>
                    </a:lnTo>
                    <a:lnTo>
                      <a:pt x="3144" y="3336"/>
                    </a:lnTo>
                    <a:lnTo>
                      <a:pt x="3150" y="3330"/>
                    </a:lnTo>
                    <a:lnTo>
                      <a:pt x="3156" y="3324"/>
                    </a:lnTo>
                    <a:lnTo>
                      <a:pt x="3168" y="3318"/>
                    </a:lnTo>
                    <a:lnTo>
                      <a:pt x="3174" y="3312"/>
                    </a:lnTo>
                    <a:lnTo>
                      <a:pt x="3180" y="3300"/>
                    </a:lnTo>
                    <a:lnTo>
                      <a:pt x="3180" y="3288"/>
                    </a:lnTo>
                    <a:lnTo>
                      <a:pt x="3186" y="3282"/>
                    </a:lnTo>
                    <a:lnTo>
                      <a:pt x="3192" y="3276"/>
                    </a:lnTo>
                    <a:lnTo>
                      <a:pt x="3192" y="3258"/>
                    </a:lnTo>
                    <a:lnTo>
                      <a:pt x="3198" y="3252"/>
                    </a:lnTo>
                    <a:lnTo>
                      <a:pt x="3204" y="3240"/>
                    </a:lnTo>
                    <a:lnTo>
                      <a:pt x="3210" y="3234"/>
                    </a:lnTo>
                    <a:lnTo>
                      <a:pt x="3210" y="3228"/>
                    </a:lnTo>
                    <a:lnTo>
                      <a:pt x="3222" y="3222"/>
                    </a:lnTo>
                    <a:lnTo>
                      <a:pt x="3228" y="3210"/>
                    </a:lnTo>
                    <a:lnTo>
                      <a:pt x="3240" y="3198"/>
                    </a:lnTo>
                    <a:lnTo>
                      <a:pt x="3246" y="3192"/>
                    </a:lnTo>
                    <a:lnTo>
                      <a:pt x="3252" y="3186"/>
                    </a:lnTo>
                    <a:lnTo>
                      <a:pt x="3252" y="3180"/>
                    </a:lnTo>
                    <a:lnTo>
                      <a:pt x="3258" y="3168"/>
                    </a:lnTo>
                    <a:lnTo>
                      <a:pt x="3264" y="3156"/>
                    </a:lnTo>
                    <a:lnTo>
                      <a:pt x="3264" y="3150"/>
                    </a:lnTo>
                    <a:lnTo>
                      <a:pt x="3270" y="3144"/>
                    </a:lnTo>
                    <a:lnTo>
                      <a:pt x="3270" y="3132"/>
                    </a:lnTo>
                    <a:lnTo>
                      <a:pt x="3282" y="3126"/>
                    </a:lnTo>
                    <a:lnTo>
                      <a:pt x="3288" y="3120"/>
                    </a:lnTo>
                    <a:lnTo>
                      <a:pt x="3300" y="3120"/>
                    </a:lnTo>
                    <a:lnTo>
                      <a:pt x="3306" y="3120"/>
                    </a:lnTo>
                    <a:lnTo>
                      <a:pt x="3318" y="3114"/>
                    </a:lnTo>
                    <a:lnTo>
                      <a:pt x="3324" y="3108"/>
                    </a:lnTo>
                    <a:lnTo>
                      <a:pt x="3330" y="3102"/>
                    </a:lnTo>
                    <a:lnTo>
                      <a:pt x="3342" y="3096"/>
                    </a:lnTo>
                    <a:lnTo>
                      <a:pt x="3354" y="3078"/>
                    </a:lnTo>
                    <a:lnTo>
                      <a:pt x="3360" y="3072"/>
                    </a:lnTo>
                    <a:lnTo>
                      <a:pt x="3378" y="3066"/>
                    </a:lnTo>
                    <a:lnTo>
                      <a:pt x="3396" y="3060"/>
                    </a:lnTo>
                    <a:lnTo>
                      <a:pt x="3402" y="3054"/>
                    </a:lnTo>
                    <a:lnTo>
                      <a:pt x="3420" y="3054"/>
                    </a:lnTo>
                    <a:lnTo>
                      <a:pt x="3438" y="3048"/>
                    </a:lnTo>
                    <a:lnTo>
                      <a:pt x="3450" y="3042"/>
                    </a:lnTo>
                    <a:lnTo>
                      <a:pt x="3462" y="3036"/>
                    </a:lnTo>
                    <a:lnTo>
                      <a:pt x="3468" y="3024"/>
                    </a:lnTo>
                    <a:lnTo>
                      <a:pt x="3486" y="3024"/>
                    </a:lnTo>
                    <a:lnTo>
                      <a:pt x="3504" y="3024"/>
                    </a:lnTo>
                    <a:lnTo>
                      <a:pt x="3522" y="3018"/>
                    </a:lnTo>
                    <a:lnTo>
                      <a:pt x="3534" y="3012"/>
                    </a:lnTo>
                    <a:lnTo>
                      <a:pt x="3540" y="3006"/>
                    </a:lnTo>
                    <a:lnTo>
                      <a:pt x="3546" y="2994"/>
                    </a:lnTo>
                    <a:lnTo>
                      <a:pt x="3552" y="2988"/>
                    </a:lnTo>
                    <a:lnTo>
                      <a:pt x="3570" y="2988"/>
                    </a:lnTo>
                    <a:lnTo>
                      <a:pt x="3576" y="2988"/>
                    </a:lnTo>
                    <a:lnTo>
                      <a:pt x="3588" y="2982"/>
                    </a:lnTo>
                    <a:lnTo>
                      <a:pt x="3594" y="2976"/>
                    </a:lnTo>
                    <a:lnTo>
                      <a:pt x="3606" y="2970"/>
                    </a:lnTo>
                    <a:lnTo>
                      <a:pt x="3612" y="2958"/>
                    </a:lnTo>
                    <a:lnTo>
                      <a:pt x="3618" y="2952"/>
                    </a:lnTo>
                    <a:lnTo>
                      <a:pt x="3630" y="2946"/>
                    </a:lnTo>
                    <a:lnTo>
                      <a:pt x="3642" y="2940"/>
                    </a:lnTo>
                    <a:lnTo>
                      <a:pt x="3648" y="2940"/>
                    </a:lnTo>
                    <a:lnTo>
                      <a:pt x="3654" y="2928"/>
                    </a:lnTo>
                    <a:lnTo>
                      <a:pt x="3666" y="2922"/>
                    </a:lnTo>
                    <a:lnTo>
                      <a:pt x="3684" y="2922"/>
                    </a:lnTo>
                    <a:lnTo>
                      <a:pt x="3690" y="2916"/>
                    </a:lnTo>
                    <a:lnTo>
                      <a:pt x="3702" y="2910"/>
                    </a:lnTo>
                    <a:lnTo>
                      <a:pt x="3714" y="2904"/>
                    </a:lnTo>
                    <a:lnTo>
                      <a:pt x="3720" y="2904"/>
                    </a:lnTo>
                    <a:lnTo>
                      <a:pt x="3732" y="2904"/>
                    </a:lnTo>
                    <a:lnTo>
                      <a:pt x="3744" y="2904"/>
                    </a:lnTo>
                    <a:lnTo>
                      <a:pt x="3756" y="2898"/>
                    </a:lnTo>
                    <a:lnTo>
                      <a:pt x="3768" y="2892"/>
                    </a:lnTo>
                    <a:lnTo>
                      <a:pt x="3780" y="2898"/>
                    </a:lnTo>
                    <a:lnTo>
                      <a:pt x="3786" y="2904"/>
                    </a:lnTo>
                    <a:lnTo>
                      <a:pt x="3804" y="2904"/>
                    </a:lnTo>
                    <a:lnTo>
                      <a:pt x="3816" y="2904"/>
                    </a:lnTo>
                    <a:lnTo>
                      <a:pt x="3828" y="2904"/>
                    </a:lnTo>
                    <a:lnTo>
                      <a:pt x="3846" y="2898"/>
                    </a:lnTo>
                    <a:lnTo>
                      <a:pt x="3852" y="2904"/>
                    </a:lnTo>
                    <a:lnTo>
                      <a:pt x="3852" y="2910"/>
                    </a:lnTo>
                    <a:lnTo>
                      <a:pt x="3858" y="2916"/>
                    </a:lnTo>
                    <a:lnTo>
                      <a:pt x="3870" y="2922"/>
                    </a:lnTo>
                    <a:lnTo>
                      <a:pt x="3876" y="2922"/>
                    </a:lnTo>
                    <a:lnTo>
                      <a:pt x="3888" y="2922"/>
                    </a:lnTo>
                    <a:lnTo>
                      <a:pt x="3900" y="2928"/>
                    </a:lnTo>
                    <a:lnTo>
                      <a:pt x="3906" y="2934"/>
                    </a:lnTo>
                    <a:lnTo>
                      <a:pt x="3912" y="2940"/>
                    </a:lnTo>
                    <a:lnTo>
                      <a:pt x="3924" y="2952"/>
                    </a:lnTo>
                    <a:lnTo>
                      <a:pt x="3930" y="2946"/>
                    </a:lnTo>
                    <a:lnTo>
                      <a:pt x="3942" y="2946"/>
                    </a:lnTo>
                    <a:lnTo>
                      <a:pt x="3948" y="2940"/>
                    </a:lnTo>
                    <a:lnTo>
                      <a:pt x="3960" y="2934"/>
                    </a:lnTo>
                    <a:lnTo>
                      <a:pt x="3978" y="2934"/>
                    </a:lnTo>
                    <a:lnTo>
                      <a:pt x="4002" y="2928"/>
                    </a:lnTo>
                    <a:lnTo>
                      <a:pt x="4020" y="2928"/>
                    </a:lnTo>
                    <a:lnTo>
                      <a:pt x="4038" y="2928"/>
                    </a:lnTo>
                    <a:lnTo>
                      <a:pt x="4044" y="2916"/>
                    </a:lnTo>
                    <a:lnTo>
                      <a:pt x="4050" y="2898"/>
                    </a:lnTo>
                    <a:lnTo>
                      <a:pt x="4056" y="2904"/>
                    </a:lnTo>
                    <a:lnTo>
                      <a:pt x="4068" y="2910"/>
                    </a:lnTo>
                    <a:lnTo>
                      <a:pt x="4074" y="2916"/>
                    </a:lnTo>
                    <a:lnTo>
                      <a:pt x="4080" y="2922"/>
                    </a:lnTo>
                    <a:lnTo>
                      <a:pt x="4080" y="2928"/>
                    </a:lnTo>
                    <a:lnTo>
                      <a:pt x="4086" y="2934"/>
                    </a:lnTo>
                    <a:lnTo>
                      <a:pt x="4092" y="2940"/>
                    </a:lnTo>
                    <a:lnTo>
                      <a:pt x="4098" y="2952"/>
                    </a:lnTo>
                    <a:lnTo>
                      <a:pt x="4104" y="2952"/>
                    </a:lnTo>
                    <a:lnTo>
                      <a:pt x="4122" y="2946"/>
                    </a:lnTo>
                    <a:lnTo>
                      <a:pt x="4134" y="2940"/>
                    </a:lnTo>
                    <a:lnTo>
                      <a:pt x="4146" y="2934"/>
                    </a:lnTo>
                    <a:lnTo>
                      <a:pt x="4164" y="2928"/>
                    </a:lnTo>
                    <a:lnTo>
                      <a:pt x="4170" y="2922"/>
                    </a:lnTo>
                    <a:lnTo>
                      <a:pt x="4182" y="2910"/>
                    </a:lnTo>
                    <a:lnTo>
                      <a:pt x="4188" y="2898"/>
                    </a:lnTo>
                    <a:lnTo>
                      <a:pt x="4194" y="2892"/>
                    </a:lnTo>
                    <a:lnTo>
                      <a:pt x="4200" y="2892"/>
                    </a:lnTo>
                    <a:lnTo>
                      <a:pt x="4206" y="2892"/>
                    </a:lnTo>
                    <a:lnTo>
                      <a:pt x="4212" y="2898"/>
                    </a:lnTo>
                    <a:lnTo>
                      <a:pt x="4218" y="2910"/>
                    </a:lnTo>
                    <a:lnTo>
                      <a:pt x="4218" y="2916"/>
                    </a:lnTo>
                    <a:lnTo>
                      <a:pt x="4218" y="2922"/>
                    </a:lnTo>
                    <a:lnTo>
                      <a:pt x="4230" y="2934"/>
                    </a:lnTo>
                    <a:lnTo>
                      <a:pt x="4236" y="2940"/>
                    </a:lnTo>
                    <a:lnTo>
                      <a:pt x="4242" y="2946"/>
                    </a:lnTo>
                    <a:lnTo>
                      <a:pt x="4248" y="2958"/>
                    </a:lnTo>
                    <a:lnTo>
                      <a:pt x="4254" y="2970"/>
                    </a:lnTo>
                    <a:lnTo>
                      <a:pt x="4260" y="2976"/>
                    </a:lnTo>
                    <a:lnTo>
                      <a:pt x="4260" y="2988"/>
                    </a:lnTo>
                    <a:lnTo>
                      <a:pt x="4266" y="2994"/>
                    </a:lnTo>
                    <a:lnTo>
                      <a:pt x="4278" y="3000"/>
                    </a:lnTo>
                    <a:lnTo>
                      <a:pt x="4290" y="3006"/>
                    </a:lnTo>
                    <a:lnTo>
                      <a:pt x="4302" y="3006"/>
                    </a:lnTo>
                    <a:lnTo>
                      <a:pt x="4314" y="3006"/>
                    </a:lnTo>
                    <a:lnTo>
                      <a:pt x="4332" y="3012"/>
                    </a:lnTo>
                    <a:lnTo>
                      <a:pt x="4350" y="3018"/>
                    </a:lnTo>
                    <a:lnTo>
                      <a:pt x="4368" y="3018"/>
                    </a:lnTo>
                    <a:lnTo>
                      <a:pt x="4380" y="3024"/>
                    </a:lnTo>
                    <a:lnTo>
                      <a:pt x="4392" y="3024"/>
                    </a:lnTo>
                    <a:lnTo>
                      <a:pt x="4410" y="3030"/>
                    </a:lnTo>
                    <a:lnTo>
                      <a:pt x="4422" y="3024"/>
                    </a:lnTo>
                    <a:lnTo>
                      <a:pt x="4440" y="3018"/>
                    </a:lnTo>
                    <a:lnTo>
                      <a:pt x="4458" y="3018"/>
                    </a:lnTo>
                    <a:lnTo>
                      <a:pt x="4470" y="3018"/>
                    </a:lnTo>
                    <a:lnTo>
                      <a:pt x="4482" y="3018"/>
                    </a:lnTo>
                    <a:lnTo>
                      <a:pt x="4488" y="3018"/>
                    </a:lnTo>
                    <a:lnTo>
                      <a:pt x="4500" y="3018"/>
                    </a:lnTo>
                    <a:lnTo>
                      <a:pt x="4506" y="3018"/>
                    </a:lnTo>
                    <a:lnTo>
                      <a:pt x="4518" y="3018"/>
                    </a:lnTo>
                    <a:lnTo>
                      <a:pt x="4524" y="3018"/>
                    </a:lnTo>
                    <a:lnTo>
                      <a:pt x="4530" y="3018"/>
                    </a:lnTo>
                    <a:lnTo>
                      <a:pt x="4542" y="3012"/>
                    </a:lnTo>
                    <a:lnTo>
                      <a:pt x="4554" y="3012"/>
                    </a:lnTo>
                    <a:lnTo>
                      <a:pt x="4566" y="3006"/>
                    </a:lnTo>
                    <a:lnTo>
                      <a:pt x="4590" y="3000"/>
                    </a:lnTo>
                    <a:lnTo>
                      <a:pt x="4590" y="2994"/>
                    </a:lnTo>
                    <a:lnTo>
                      <a:pt x="4584" y="2988"/>
                    </a:lnTo>
                    <a:lnTo>
                      <a:pt x="4584" y="2976"/>
                    </a:lnTo>
                    <a:lnTo>
                      <a:pt x="4584" y="2964"/>
                    </a:lnTo>
                    <a:lnTo>
                      <a:pt x="4578" y="2958"/>
                    </a:lnTo>
                    <a:lnTo>
                      <a:pt x="4578" y="2952"/>
                    </a:lnTo>
                    <a:lnTo>
                      <a:pt x="4584" y="2940"/>
                    </a:lnTo>
                    <a:lnTo>
                      <a:pt x="4584" y="2928"/>
                    </a:lnTo>
                    <a:lnTo>
                      <a:pt x="4578" y="2922"/>
                    </a:lnTo>
                    <a:lnTo>
                      <a:pt x="4584" y="2910"/>
                    </a:lnTo>
                    <a:lnTo>
                      <a:pt x="4578" y="2898"/>
                    </a:lnTo>
                    <a:lnTo>
                      <a:pt x="4578" y="2892"/>
                    </a:lnTo>
                    <a:lnTo>
                      <a:pt x="4578" y="2886"/>
                    </a:lnTo>
                    <a:lnTo>
                      <a:pt x="4578" y="2880"/>
                    </a:lnTo>
                    <a:lnTo>
                      <a:pt x="4578" y="2874"/>
                    </a:lnTo>
                    <a:lnTo>
                      <a:pt x="4584" y="2868"/>
                    </a:lnTo>
                    <a:lnTo>
                      <a:pt x="4584" y="2856"/>
                    </a:lnTo>
                    <a:lnTo>
                      <a:pt x="4578" y="2850"/>
                    </a:lnTo>
                    <a:lnTo>
                      <a:pt x="4584" y="2838"/>
                    </a:lnTo>
                    <a:lnTo>
                      <a:pt x="4584" y="2832"/>
                    </a:lnTo>
                    <a:lnTo>
                      <a:pt x="4584" y="2820"/>
                    </a:lnTo>
                    <a:lnTo>
                      <a:pt x="4584" y="2814"/>
                    </a:lnTo>
                    <a:lnTo>
                      <a:pt x="4584" y="2808"/>
                    </a:lnTo>
                    <a:lnTo>
                      <a:pt x="4590" y="2808"/>
                    </a:lnTo>
                    <a:lnTo>
                      <a:pt x="4584" y="2796"/>
                    </a:lnTo>
                    <a:lnTo>
                      <a:pt x="4578" y="2790"/>
                    </a:lnTo>
                    <a:lnTo>
                      <a:pt x="4572" y="2784"/>
                    </a:lnTo>
                    <a:lnTo>
                      <a:pt x="4572" y="2778"/>
                    </a:lnTo>
                    <a:lnTo>
                      <a:pt x="4572" y="2772"/>
                    </a:lnTo>
                    <a:lnTo>
                      <a:pt x="4566" y="2766"/>
                    </a:lnTo>
                    <a:lnTo>
                      <a:pt x="4560" y="2754"/>
                    </a:lnTo>
                    <a:lnTo>
                      <a:pt x="4560" y="2748"/>
                    </a:lnTo>
                    <a:lnTo>
                      <a:pt x="4554" y="2742"/>
                    </a:lnTo>
                    <a:lnTo>
                      <a:pt x="4554" y="2736"/>
                    </a:lnTo>
                    <a:lnTo>
                      <a:pt x="4554" y="2730"/>
                    </a:lnTo>
                    <a:lnTo>
                      <a:pt x="4548" y="2724"/>
                    </a:lnTo>
                    <a:lnTo>
                      <a:pt x="4548" y="2718"/>
                    </a:lnTo>
                    <a:lnTo>
                      <a:pt x="4548" y="2706"/>
                    </a:lnTo>
                    <a:lnTo>
                      <a:pt x="4548" y="2700"/>
                    </a:lnTo>
                    <a:lnTo>
                      <a:pt x="4554" y="2694"/>
                    </a:lnTo>
                    <a:lnTo>
                      <a:pt x="4548" y="2694"/>
                    </a:lnTo>
                    <a:lnTo>
                      <a:pt x="4542" y="2694"/>
                    </a:lnTo>
                    <a:lnTo>
                      <a:pt x="4542" y="2688"/>
                    </a:lnTo>
                    <a:lnTo>
                      <a:pt x="4548" y="2682"/>
                    </a:lnTo>
                    <a:lnTo>
                      <a:pt x="4554" y="2682"/>
                    </a:lnTo>
                    <a:lnTo>
                      <a:pt x="4554" y="2676"/>
                    </a:lnTo>
                    <a:lnTo>
                      <a:pt x="4548" y="2670"/>
                    </a:lnTo>
                    <a:lnTo>
                      <a:pt x="4542" y="2664"/>
                    </a:lnTo>
                    <a:lnTo>
                      <a:pt x="4548" y="2658"/>
                    </a:lnTo>
                    <a:lnTo>
                      <a:pt x="4542" y="2652"/>
                    </a:lnTo>
                    <a:lnTo>
                      <a:pt x="4536" y="2646"/>
                    </a:lnTo>
                    <a:lnTo>
                      <a:pt x="4530" y="2640"/>
                    </a:lnTo>
                    <a:lnTo>
                      <a:pt x="4524" y="2634"/>
                    </a:lnTo>
                    <a:lnTo>
                      <a:pt x="4518" y="2628"/>
                    </a:lnTo>
                    <a:lnTo>
                      <a:pt x="4512" y="2622"/>
                    </a:lnTo>
                    <a:lnTo>
                      <a:pt x="4512" y="2610"/>
                    </a:lnTo>
                    <a:lnTo>
                      <a:pt x="4506" y="2598"/>
                    </a:lnTo>
                    <a:lnTo>
                      <a:pt x="4506" y="2592"/>
                    </a:lnTo>
                    <a:lnTo>
                      <a:pt x="4506" y="2580"/>
                    </a:lnTo>
                    <a:lnTo>
                      <a:pt x="4512" y="2562"/>
                    </a:lnTo>
                    <a:lnTo>
                      <a:pt x="4512" y="2550"/>
                    </a:lnTo>
                    <a:lnTo>
                      <a:pt x="4530" y="2544"/>
                    </a:lnTo>
                    <a:lnTo>
                      <a:pt x="4530" y="2538"/>
                    </a:lnTo>
                    <a:lnTo>
                      <a:pt x="4536" y="2526"/>
                    </a:lnTo>
                    <a:lnTo>
                      <a:pt x="4536" y="2514"/>
                    </a:lnTo>
                    <a:lnTo>
                      <a:pt x="4542" y="2502"/>
                    </a:lnTo>
                    <a:lnTo>
                      <a:pt x="4548" y="2496"/>
                    </a:lnTo>
                    <a:lnTo>
                      <a:pt x="4548" y="2484"/>
                    </a:lnTo>
                    <a:lnTo>
                      <a:pt x="4554" y="2472"/>
                    </a:lnTo>
                    <a:lnTo>
                      <a:pt x="4560" y="2454"/>
                    </a:lnTo>
                    <a:lnTo>
                      <a:pt x="4566" y="2442"/>
                    </a:lnTo>
                    <a:lnTo>
                      <a:pt x="4578" y="2430"/>
                    </a:lnTo>
                    <a:lnTo>
                      <a:pt x="4578" y="2424"/>
                    </a:lnTo>
                    <a:lnTo>
                      <a:pt x="4584" y="2412"/>
                    </a:lnTo>
                    <a:lnTo>
                      <a:pt x="4590" y="2400"/>
                    </a:lnTo>
                    <a:lnTo>
                      <a:pt x="4590" y="2388"/>
                    </a:lnTo>
                    <a:lnTo>
                      <a:pt x="4596" y="2376"/>
                    </a:lnTo>
                    <a:lnTo>
                      <a:pt x="4596" y="2358"/>
                    </a:lnTo>
                    <a:lnTo>
                      <a:pt x="4602" y="2346"/>
                    </a:lnTo>
                    <a:lnTo>
                      <a:pt x="4602" y="2340"/>
                    </a:lnTo>
                    <a:lnTo>
                      <a:pt x="4602" y="2328"/>
                    </a:lnTo>
                    <a:lnTo>
                      <a:pt x="4608" y="2316"/>
                    </a:lnTo>
                    <a:lnTo>
                      <a:pt x="4608" y="2310"/>
                    </a:lnTo>
                    <a:lnTo>
                      <a:pt x="4614" y="2298"/>
                    </a:lnTo>
                    <a:lnTo>
                      <a:pt x="4614" y="2286"/>
                    </a:lnTo>
                    <a:lnTo>
                      <a:pt x="4620" y="2268"/>
                    </a:lnTo>
                    <a:lnTo>
                      <a:pt x="4626" y="2256"/>
                    </a:lnTo>
                    <a:lnTo>
                      <a:pt x="4632" y="2244"/>
                    </a:lnTo>
                    <a:lnTo>
                      <a:pt x="4638" y="2226"/>
                    </a:lnTo>
                    <a:lnTo>
                      <a:pt x="4644" y="2220"/>
                    </a:lnTo>
                    <a:lnTo>
                      <a:pt x="4650" y="2208"/>
                    </a:lnTo>
                    <a:lnTo>
                      <a:pt x="4662" y="2196"/>
                    </a:lnTo>
                    <a:lnTo>
                      <a:pt x="4674" y="2178"/>
                    </a:lnTo>
                    <a:lnTo>
                      <a:pt x="4680" y="2178"/>
                    </a:lnTo>
                    <a:lnTo>
                      <a:pt x="4692" y="2166"/>
                    </a:lnTo>
                    <a:lnTo>
                      <a:pt x="4704" y="2160"/>
                    </a:lnTo>
                    <a:lnTo>
                      <a:pt x="4716" y="2154"/>
                    </a:lnTo>
                    <a:lnTo>
                      <a:pt x="4728" y="2148"/>
                    </a:lnTo>
                    <a:lnTo>
                      <a:pt x="4746" y="2142"/>
                    </a:lnTo>
                    <a:lnTo>
                      <a:pt x="4752" y="2142"/>
                    </a:lnTo>
                    <a:lnTo>
                      <a:pt x="4764" y="2136"/>
                    </a:lnTo>
                    <a:lnTo>
                      <a:pt x="4776" y="2130"/>
                    </a:lnTo>
                    <a:lnTo>
                      <a:pt x="4788" y="2124"/>
                    </a:lnTo>
                    <a:lnTo>
                      <a:pt x="4800" y="2118"/>
                    </a:lnTo>
                    <a:lnTo>
                      <a:pt x="4818" y="2112"/>
                    </a:lnTo>
                    <a:lnTo>
                      <a:pt x="4836" y="2100"/>
                    </a:lnTo>
                    <a:lnTo>
                      <a:pt x="4848" y="2094"/>
                    </a:lnTo>
                    <a:lnTo>
                      <a:pt x="4878" y="2082"/>
                    </a:lnTo>
                    <a:lnTo>
                      <a:pt x="4878" y="2076"/>
                    </a:lnTo>
                    <a:lnTo>
                      <a:pt x="4884" y="2076"/>
                    </a:lnTo>
                    <a:lnTo>
                      <a:pt x="4896" y="2064"/>
                    </a:lnTo>
                    <a:lnTo>
                      <a:pt x="4890" y="2052"/>
                    </a:lnTo>
                    <a:lnTo>
                      <a:pt x="4890" y="2040"/>
                    </a:lnTo>
                    <a:lnTo>
                      <a:pt x="4896" y="2034"/>
                    </a:lnTo>
                    <a:lnTo>
                      <a:pt x="4896" y="2022"/>
                    </a:lnTo>
                    <a:lnTo>
                      <a:pt x="4890" y="2016"/>
                    </a:lnTo>
                    <a:lnTo>
                      <a:pt x="4890" y="2004"/>
                    </a:lnTo>
                    <a:lnTo>
                      <a:pt x="4890" y="1986"/>
                    </a:lnTo>
                    <a:lnTo>
                      <a:pt x="4890" y="1974"/>
                    </a:lnTo>
                    <a:lnTo>
                      <a:pt x="4884" y="1962"/>
                    </a:lnTo>
                    <a:lnTo>
                      <a:pt x="4884" y="1944"/>
                    </a:lnTo>
                    <a:lnTo>
                      <a:pt x="4884" y="1926"/>
                    </a:lnTo>
                    <a:lnTo>
                      <a:pt x="4878" y="1902"/>
                    </a:lnTo>
                    <a:lnTo>
                      <a:pt x="4872" y="1890"/>
                    </a:lnTo>
                    <a:lnTo>
                      <a:pt x="4872" y="1884"/>
                    </a:lnTo>
                    <a:lnTo>
                      <a:pt x="4872" y="1878"/>
                    </a:lnTo>
                    <a:lnTo>
                      <a:pt x="4872" y="1866"/>
                    </a:lnTo>
                    <a:lnTo>
                      <a:pt x="4872" y="1854"/>
                    </a:lnTo>
                    <a:lnTo>
                      <a:pt x="4872" y="1842"/>
                    </a:lnTo>
                    <a:lnTo>
                      <a:pt x="4878" y="1830"/>
                    </a:lnTo>
                    <a:lnTo>
                      <a:pt x="4866" y="1836"/>
                    </a:lnTo>
                    <a:lnTo>
                      <a:pt x="4860" y="1842"/>
                    </a:lnTo>
                    <a:lnTo>
                      <a:pt x="4854" y="1836"/>
                    </a:lnTo>
                    <a:lnTo>
                      <a:pt x="4848" y="1830"/>
                    </a:lnTo>
                    <a:lnTo>
                      <a:pt x="4842" y="1818"/>
                    </a:lnTo>
                    <a:lnTo>
                      <a:pt x="4836" y="1806"/>
                    </a:lnTo>
                    <a:lnTo>
                      <a:pt x="4836" y="1800"/>
                    </a:lnTo>
                    <a:lnTo>
                      <a:pt x="4848" y="1800"/>
                    </a:lnTo>
                    <a:lnTo>
                      <a:pt x="4860" y="1800"/>
                    </a:lnTo>
                    <a:lnTo>
                      <a:pt x="4854" y="1788"/>
                    </a:lnTo>
                    <a:lnTo>
                      <a:pt x="4848" y="1782"/>
                    </a:lnTo>
                    <a:lnTo>
                      <a:pt x="4848" y="1776"/>
                    </a:lnTo>
                    <a:lnTo>
                      <a:pt x="4842" y="1764"/>
                    </a:lnTo>
                    <a:lnTo>
                      <a:pt x="4842" y="1758"/>
                    </a:lnTo>
                    <a:lnTo>
                      <a:pt x="4848" y="1746"/>
                    </a:lnTo>
                    <a:lnTo>
                      <a:pt x="4842" y="1740"/>
                    </a:lnTo>
                    <a:lnTo>
                      <a:pt x="4836" y="1728"/>
                    </a:lnTo>
                    <a:lnTo>
                      <a:pt x="4830" y="1716"/>
                    </a:lnTo>
                    <a:lnTo>
                      <a:pt x="4818" y="1710"/>
                    </a:lnTo>
                    <a:lnTo>
                      <a:pt x="4806" y="1698"/>
                    </a:lnTo>
                    <a:lnTo>
                      <a:pt x="4794" y="1686"/>
                    </a:lnTo>
                    <a:lnTo>
                      <a:pt x="4776" y="1686"/>
                    </a:lnTo>
                    <a:lnTo>
                      <a:pt x="4758" y="1680"/>
                    </a:lnTo>
                    <a:lnTo>
                      <a:pt x="4746" y="1680"/>
                    </a:lnTo>
                    <a:lnTo>
                      <a:pt x="4728" y="1674"/>
                    </a:lnTo>
                    <a:lnTo>
                      <a:pt x="4710" y="1674"/>
                    </a:lnTo>
                    <a:lnTo>
                      <a:pt x="4698" y="1674"/>
                    </a:lnTo>
                    <a:lnTo>
                      <a:pt x="4686" y="1668"/>
                    </a:lnTo>
                    <a:lnTo>
                      <a:pt x="4680" y="1668"/>
                    </a:lnTo>
                    <a:lnTo>
                      <a:pt x="4668" y="1674"/>
                    </a:lnTo>
                    <a:lnTo>
                      <a:pt x="4656" y="1680"/>
                    </a:lnTo>
                    <a:lnTo>
                      <a:pt x="4644" y="1680"/>
                    </a:lnTo>
                    <a:lnTo>
                      <a:pt x="4638" y="1674"/>
                    </a:lnTo>
                    <a:lnTo>
                      <a:pt x="4632" y="1686"/>
                    </a:lnTo>
                    <a:lnTo>
                      <a:pt x="4626" y="1698"/>
                    </a:lnTo>
                    <a:lnTo>
                      <a:pt x="4620" y="1704"/>
                    </a:lnTo>
                    <a:lnTo>
                      <a:pt x="4608" y="1698"/>
                    </a:lnTo>
                    <a:lnTo>
                      <a:pt x="4596" y="1698"/>
                    </a:lnTo>
                    <a:lnTo>
                      <a:pt x="4590" y="1710"/>
                    </a:lnTo>
                    <a:lnTo>
                      <a:pt x="4572" y="1722"/>
                    </a:lnTo>
                    <a:lnTo>
                      <a:pt x="4572" y="1734"/>
                    </a:lnTo>
                    <a:lnTo>
                      <a:pt x="4560" y="1740"/>
                    </a:lnTo>
                    <a:lnTo>
                      <a:pt x="4554" y="1746"/>
                    </a:lnTo>
                    <a:lnTo>
                      <a:pt x="4536" y="1758"/>
                    </a:lnTo>
                    <a:lnTo>
                      <a:pt x="4530" y="1758"/>
                    </a:lnTo>
                    <a:lnTo>
                      <a:pt x="4530" y="1770"/>
                    </a:lnTo>
                    <a:lnTo>
                      <a:pt x="4524" y="1770"/>
                    </a:lnTo>
                    <a:lnTo>
                      <a:pt x="4512" y="1776"/>
                    </a:lnTo>
                    <a:lnTo>
                      <a:pt x="4506" y="1782"/>
                    </a:lnTo>
                    <a:lnTo>
                      <a:pt x="4500" y="1794"/>
                    </a:lnTo>
                    <a:lnTo>
                      <a:pt x="4488" y="1800"/>
                    </a:lnTo>
                    <a:lnTo>
                      <a:pt x="4476" y="1806"/>
                    </a:lnTo>
                    <a:lnTo>
                      <a:pt x="4476" y="1818"/>
                    </a:lnTo>
                    <a:lnTo>
                      <a:pt x="4476" y="1824"/>
                    </a:lnTo>
                    <a:lnTo>
                      <a:pt x="4476" y="1830"/>
                    </a:lnTo>
                    <a:lnTo>
                      <a:pt x="4482" y="1836"/>
                    </a:lnTo>
                    <a:lnTo>
                      <a:pt x="4482" y="1848"/>
                    </a:lnTo>
                    <a:lnTo>
                      <a:pt x="4470" y="1848"/>
                    </a:lnTo>
                    <a:lnTo>
                      <a:pt x="4464" y="1848"/>
                    </a:lnTo>
                    <a:lnTo>
                      <a:pt x="4452" y="1842"/>
                    </a:lnTo>
                    <a:lnTo>
                      <a:pt x="4446" y="1836"/>
                    </a:lnTo>
                    <a:lnTo>
                      <a:pt x="4434" y="1830"/>
                    </a:lnTo>
                    <a:lnTo>
                      <a:pt x="4428" y="1830"/>
                    </a:lnTo>
                    <a:lnTo>
                      <a:pt x="4422" y="1836"/>
                    </a:lnTo>
                    <a:lnTo>
                      <a:pt x="4410" y="1830"/>
                    </a:lnTo>
                    <a:lnTo>
                      <a:pt x="4398" y="1824"/>
                    </a:lnTo>
                    <a:lnTo>
                      <a:pt x="4392" y="1830"/>
                    </a:lnTo>
                    <a:lnTo>
                      <a:pt x="4392" y="1836"/>
                    </a:lnTo>
                    <a:lnTo>
                      <a:pt x="4392" y="1842"/>
                    </a:lnTo>
                    <a:lnTo>
                      <a:pt x="4398" y="1842"/>
                    </a:lnTo>
                    <a:lnTo>
                      <a:pt x="4404" y="1848"/>
                    </a:lnTo>
                    <a:lnTo>
                      <a:pt x="4398" y="1860"/>
                    </a:lnTo>
                    <a:lnTo>
                      <a:pt x="4386" y="1866"/>
                    </a:lnTo>
                    <a:lnTo>
                      <a:pt x="4386" y="1878"/>
                    </a:lnTo>
                    <a:lnTo>
                      <a:pt x="4392" y="1884"/>
                    </a:lnTo>
                    <a:lnTo>
                      <a:pt x="4404" y="1884"/>
                    </a:lnTo>
                    <a:lnTo>
                      <a:pt x="4410" y="1890"/>
                    </a:lnTo>
                    <a:lnTo>
                      <a:pt x="4410" y="1896"/>
                    </a:lnTo>
                    <a:lnTo>
                      <a:pt x="4404" y="1902"/>
                    </a:lnTo>
                    <a:lnTo>
                      <a:pt x="4392" y="1908"/>
                    </a:lnTo>
                    <a:lnTo>
                      <a:pt x="4380" y="1914"/>
                    </a:lnTo>
                    <a:lnTo>
                      <a:pt x="4374" y="1914"/>
                    </a:lnTo>
                    <a:lnTo>
                      <a:pt x="4362" y="1914"/>
                    </a:lnTo>
                    <a:lnTo>
                      <a:pt x="4344" y="1914"/>
                    </a:lnTo>
                    <a:lnTo>
                      <a:pt x="4332" y="1914"/>
                    </a:lnTo>
                    <a:lnTo>
                      <a:pt x="4326" y="1914"/>
                    </a:lnTo>
                    <a:lnTo>
                      <a:pt x="4314" y="1920"/>
                    </a:lnTo>
                    <a:lnTo>
                      <a:pt x="4296" y="1920"/>
                    </a:lnTo>
                    <a:lnTo>
                      <a:pt x="4278" y="1920"/>
                    </a:lnTo>
                    <a:lnTo>
                      <a:pt x="4266" y="1914"/>
                    </a:lnTo>
                    <a:lnTo>
                      <a:pt x="4248" y="1914"/>
                    </a:lnTo>
                    <a:lnTo>
                      <a:pt x="4236" y="1908"/>
                    </a:lnTo>
                    <a:lnTo>
                      <a:pt x="4218" y="1908"/>
                    </a:lnTo>
                    <a:lnTo>
                      <a:pt x="4200" y="1902"/>
                    </a:lnTo>
                    <a:lnTo>
                      <a:pt x="4188" y="1902"/>
                    </a:lnTo>
                    <a:lnTo>
                      <a:pt x="4170" y="1896"/>
                    </a:lnTo>
                    <a:lnTo>
                      <a:pt x="4164" y="1890"/>
                    </a:lnTo>
                    <a:lnTo>
                      <a:pt x="4152" y="1878"/>
                    </a:lnTo>
                    <a:lnTo>
                      <a:pt x="4146" y="1872"/>
                    </a:lnTo>
                    <a:lnTo>
                      <a:pt x="4134" y="1860"/>
                    </a:lnTo>
                    <a:lnTo>
                      <a:pt x="4128" y="1854"/>
                    </a:lnTo>
                    <a:lnTo>
                      <a:pt x="4128" y="1842"/>
                    </a:lnTo>
                    <a:lnTo>
                      <a:pt x="4122" y="1830"/>
                    </a:lnTo>
                    <a:lnTo>
                      <a:pt x="4122" y="1824"/>
                    </a:lnTo>
                    <a:lnTo>
                      <a:pt x="4110" y="1812"/>
                    </a:lnTo>
                    <a:lnTo>
                      <a:pt x="4098" y="1812"/>
                    </a:lnTo>
                    <a:lnTo>
                      <a:pt x="4080" y="1818"/>
                    </a:lnTo>
                    <a:lnTo>
                      <a:pt x="4068" y="1812"/>
                    </a:lnTo>
                    <a:lnTo>
                      <a:pt x="4068" y="1806"/>
                    </a:lnTo>
                    <a:lnTo>
                      <a:pt x="4056" y="1806"/>
                    </a:lnTo>
                    <a:lnTo>
                      <a:pt x="4056" y="1794"/>
                    </a:lnTo>
                    <a:lnTo>
                      <a:pt x="4050" y="1794"/>
                    </a:lnTo>
                    <a:lnTo>
                      <a:pt x="4044" y="1788"/>
                    </a:lnTo>
                    <a:lnTo>
                      <a:pt x="4044" y="1776"/>
                    </a:lnTo>
                    <a:lnTo>
                      <a:pt x="4038" y="1770"/>
                    </a:lnTo>
                    <a:lnTo>
                      <a:pt x="4038" y="1758"/>
                    </a:lnTo>
                    <a:lnTo>
                      <a:pt x="4032" y="1752"/>
                    </a:lnTo>
                    <a:lnTo>
                      <a:pt x="4026" y="1758"/>
                    </a:lnTo>
                    <a:lnTo>
                      <a:pt x="4032" y="1740"/>
                    </a:lnTo>
                    <a:lnTo>
                      <a:pt x="4026" y="1746"/>
                    </a:lnTo>
                    <a:lnTo>
                      <a:pt x="4020" y="1740"/>
                    </a:lnTo>
                    <a:lnTo>
                      <a:pt x="4020" y="1746"/>
                    </a:lnTo>
                    <a:lnTo>
                      <a:pt x="4014" y="1752"/>
                    </a:lnTo>
                    <a:lnTo>
                      <a:pt x="4008" y="1740"/>
                    </a:lnTo>
                    <a:lnTo>
                      <a:pt x="4002" y="1740"/>
                    </a:lnTo>
                    <a:lnTo>
                      <a:pt x="3996" y="1734"/>
                    </a:lnTo>
                    <a:lnTo>
                      <a:pt x="3990" y="1728"/>
                    </a:lnTo>
                    <a:lnTo>
                      <a:pt x="3996" y="1722"/>
                    </a:lnTo>
                    <a:lnTo>
                      <a:pt x="3996" y="1716"/>
                    </a:lnTo>
                    <a:lnTo>
                      <a:pt x="4002" y="1710"/>
                    </a:lnTo>
                    <a:lnTo>
                      <a:pt x="4008" y="1716"/>
                    </a:lnTo>
                    <a:lnTo>
                      <a:pt x="4014" y="1710"/>
                    </a:lnTo>
                    <a:lnTo>
                      <a:pt x="4020" y="1704"/>
                    </a:lnTo>
                    <a:lnTo>
                      <a:pt x="4020" y="1698"/>
                    </a:lnTo>
                    <a:lnTo>
                      <a:pt x="4026" y="1692"/>
                    </a:lnTo>
                    <a:lnTo>
                      <a:pt x="4020" y="1686"/>
                    </a:lnTo>
                    <a:lnTo>
                      <a:pt x="4020" y="1674"/>
                    </a:lnTo>
                    <a:lnTo>
                      <a:pt x="4014" y="1668"/>
                    </a:lnTo>
                    <a:lnTo>
                      <a:pt x="4014" y="1662"/>
                    </a:lnTo>
                    <a:lnTo>
                      <a:pt x="4008" y="1650"/>
                    </a:lnTo>
                    <a:lnTo>
                      <a:pt x="4008" y="1644"/>
                    </a:lnTo>
                    <a:lnTo>
                      <a:pt x="4008" y="1632"/>
                    </a:lnTo>
                    <a:lnTo>
                      <a:pt x="4002" y="1632"/>
                    </a:lnTo>
                    <a:lnTo>
                      <a:pt x="4002" y="1626"/>
                    </a:lnTo>
                    <a:lnTo>
                      <a:pt x="3996" y="1620"/>
                    </a:lnTo>
                    <a:lnTo>
                      <a:pt x="3990" y="1614"/>
                    </a:lnTo>
                    <a:lnTo>
                      <a:pt x="3990" y="1608"/>
                    </a:lnTo>
                    <a:lnTo>
                      <a:pt x="3996" y="1596"/>
                    </a:lnTo>
                    <a:lnTo>
                      <a:pt x="3990" y="1596"/>
                    </a:lnTo>
                    <a:lnTo>
                      <a:pt x="3984" y="1602"/>
                    </a:lnTo>
                    <a:lnTo>
                      <a:pt x="3978" y="1596"/>
                    </a:lnTo>
                    <a:lnTo>
                      <a:pt x="3972" y="1590"/>
                    </a:lnTo>
                    <a:lnTo>
                      <a:pt x="3972" y="1584"/>
                    </a:lnTo>
                    <a:lnTo>
                      <a:pt x="3966" y="1578"/>
                    </a:lnTo>
                    <a:lnTo>
                      <a:pt x="3966" y="1572"/>
                    </a:lnTo>
                    <a:lnTo>
                      <a:pt x="3960" y="1566"/>
                    </a:lnTo>
                    <a:lnTo>
                      <a:pt x="3960" y="1560"/>
                    </a:lnTo>
                    <a:lnTo>
                      <a:pt x="3960" y="1548"/>
                    </a:lnTo>
                    <a:lnTo>
                      <a:pt x="3954" y="1542"/>
                    </a:lnTo>
                    <a:lnTo>
                      <a:pt x="3960" y="1536"/>
                    </a:lnTo>
                    <a:lnTo>
                      <a:pt x="3960" y="1530"/>
                    </a:lnTo>
                    <a:lnTo>
                      <a:pt x="3960" y="1524"/>
                    </a:lnTo>
                    <a:lnTo>
                      <a:pt x="3954" y="1524"/>
                    </a:lnTo>
                    <a:lnTo>
                      <a:pt x="3954" y="1518"/>
                    </a:lnTo>
                    <a:lnTo>
                      <a:pt x="3948" y="1518"/>
                    </a:lnTo>
                    <a:lnTo>
                      <a:pt x="3954" y="1512"/>
                    </a:lnTo>
                    <a:lnTo>
                      <a:pt x="3948" y="1506"/>
                    </a:lnTo>
                    <a:lnTo>
                      <a:pt x="3954" y="1500"/>
                    </a:lnTo>
                    <a:lnTo>
                      <a:pt x="3954" y="1494"/>
                    </a:lnTo>
                    <a:lnTo>
                      <a:pt x="3948" y="1494"/>
                    </a:lnTo>
                    <a:lnTo>
                      <a:pt x="3942" y="1488"/>
                    </a:lnTo>
                    <a:lnTo>
                      <a:pt x="3942" y="1482"/>
                    </a:lnTo>
                    <a:lnTo>
                      <a:pt x="3936" y="1476"/>
                    </a:lnTo>
                    <a:lnTo>
                      <a:pt x="3930" y="1470"/>
                    </a:lnTo>
                    <a:lnTo>
                      <a:pt x="3930" y="1464"/>
                    </a:lnTo>
                    <a:lnTo>
                      <a:pt x="3930" y="1458"/>
                    </a:lnTo>
                    <a:lnTo>
                      <a:pt x="3924" y="1458"/>
                    </a:lnTo>
                    <a:lnTo>
                      <a:pt x="3924" y="1452"/>
                    </a:lnTo>
                    <a:lnTo>
                      <a:pt x="3924" y="1446"/>
                    </a:lnTo>
                    <a:lnTo>
                      <a:pt x="3918" y="1440"/>
                    </a:lnTo>
                    <a:lnTo>
                      <a:pt x="3918" y="1434"/>
                    </a:lnTo>
                    <a:lnTo>
                      <a:pt x="3918" y="1428"/>
                    </a:lnTo>
                    <a:lnTo>
                      <a:pt x="3912" y="1416"/>
                    </a:lnTo>
                    <a:lnTo>
                      <a:pt x="3918" y="1410"/>
                    </a:lnTo>
                    <a:lnTo>
                      <a:pt x="3918" y="1404"/>
                    </a:lnTo>
                    <a:lnTo>
                      <a:pt x="3912" y="1404"/>
                    </a:lnTo>
                    <a:lnTo>
                      <a:pt x="3912" y="1398"/>
                    </a:lnTo>
                    <a:lnTo>
                      <a:pt x="3912" y="1392"/>
                    </a:lnTo>
                    <a:lnTo>
                      <a:pt x="3912" y="1386"/>
                    </a:lnTo>
                    <a:lnTo>
                      <a:pt x="3912" y="1374"/>
                    </a:lnTo>
                    <a:lnTo>
                      <a:pt x="3918" y="1368"/>
                    </a:lnTo>
                    <a:lnTo>
                      <a:pt x="3918" y="1362"/>
                    </a:lnTo>
                    <a:lnTo>
                      <a:pt x="3912" y="1356"/>
                    </a:lnTo>
                    <a:lnTo>
                      <a:pt x="3918" y="1350"/>
                    </a:lnTo>
                    <a:lnTo>
                      <a:pt x="3912" y="1344"/>
                    </a:lnTo>
                    <a:lnTo>
                      <a:pt x="3912" y="1338"/>
                    </a:lnTo>
                    <a:lnTo>
                      <a:pt x="3912" y="1332"/>
                    </a:lnTo>
                    <a:lnTo>
                      <a:pt x="3912" y="1326"/>
                    </a:lnTo>
                    <a:lnTo>
                      <a:pt x="3918" y="1320"/>
                    </a:lnTo>
                    <a:lnTo>
                      <a:pt x="3912" y="1320"/>
                    </a:lnTo>
                    <a:lnTo>
                      <a:pt x="3918" y="1314"/>
                    </a:lnTo>
                    <a:lnTo>
                      <a:pt x="3906" y="1314"/>
                    </a:lnTo>
                    <a:lnTo>
                      <a:pt x="3912" y="1308"/>
                    </a:lnTo>
                    <a:lnTo>
                      <a:pt x="3912" y="1302"/>
                    </a:lnTo>
                    <a:lnTo>
                      <a:pt x="3906" y="1302"/>
                    </a:lnTo>
                    <a:lnTo>
                      <a:pt x="3900" y="1302"/>
                    </a:lnTo>
                    <a:lnTo>
                      <a:pt x="3906" y="1296"/>
                    </a:lnTo>
                    <a:lnTo>
                      <a:pt x="3900" y="1290"/>
                    </a:lnTo>
                    <a:lnTo>
                      <a:pt x="3894" y="1302"/>
                    </a:lnTo>
                    <a:lnTo>
                      <a:pt x="3894" y="1296"/>
                    </a:lnTo>
                    <a:lnTo>
                      <a:pt x="3888" y="1296"/>
                    </a:lnTo>
                    <a:lnTo>
                      <a:pt x="3888" y="1290"/>
                    </a:lnTo>
                    <a:lnTo>
                      <a:pt x="3888" y="1284"/>
                    </a:lnTo>
                    <a:lnTo>
                      <a:pt x="3888" y="1272"/>
                    </a:lnTo>
                    <a:lnTo>
                      <a:pt x="3894" y="1272"/>
                    </a:lnTo>
                    <a:lnTo>
                      <a:pt x="3894" y="1266"/>
                    </a:lnTo>
                    <a:lnTo>
                      <a:pt x="3900" y="1266"/>
                    </a:lnTo>
                    <a:lnTo>
                      <a:pt x="3906" y="1260"/>
                    </a:lnTo>
                    <a:lnTo>
                      <a:pt x="3900" y="1260"/>
                    </a:lnTo>
                    <a:lnTo>
                      <a:pt x="3894" y="1260"/>
                    </a:lnTo>
                    <a:lnTo>
                      <a:pt x="3894" y="1254"/>
                    </a:lnTo>
                    <a:lnTo>
                      <a:pt x="3894" y="1248"/>
                    </a:lnTo>
                    <a:lnTo>
                      <a:pt x="3894" y="1242"/>
                    </a:lnTo>
                    <a:lnTo>
                      <a:pt x="3900" y="1242"/>
                    </a:lnTo>
                    <a:lnTo>
                      <a:pt x="3900" y="1236"/>
                    </a:lnTo>
                    <a:lnTo>
                      <a:pt x="3906" y="1242"/>
                    </a:lnTo>
                    <a:lnTo>
                      <a:pt x="3912" y="1230"/>
                    </a:lnTo>
                    <a:lnTo>
                      <a:pt x="3912" y="1236"/>
                    </a:lnTo>
                    <a:lnTo>
                      <a:pt x="3918" y="1224"/>
                    </a:lnTo>
                    <a:lnTo>
                      <a:pt x="3912" y="1224"/>
                    </a:lnTo>
                    <a:lnTo>
                      <a:pt x="3918" y="1218"/>
                    </a:lnTo>
                    <a:lnTo>
                      <a:pt x="3918" y="1212"/>
                    </a:lnTo>
                    <a:lnTo>
                      <a:pt x="3918" y="1206"/>
                    </a:lnTo>
                    <a:lnTo>
                      <a:pt x="3918" y="1200"/>
                    </a:lnTo>
                    <a:lnTo>
                      <a:pt x="3912" y="1206"/>
                    </a:lnTo>
                    <a:lnTo>
                      <a:pt x="3906" y="1200"/>
                    </a:lnTo>
                    <a:lnTo>
                      <a:pt x="3912" y="1194"/>
                    </a:lnTo>
                    <a:lnTo>
                      <a:pt x="3912" y="1188"/>
                    </a:lnTo>
                    <a:lnTo>
                      <a:pt x="3900" y="1188"/>
                    </a:lnTo>
                    <a:lnTo>
                      <a:pt x="3906" y="1182"/>
                    </a:lnTo>
                    <a:lnTo>
                      <a:pt x="3906" y="1176"/>
                    </a:lnTo>
                    <a:lnTo>
                      <a:pt x="3912" y="1176"/>
                    </a:lnTo>
                    <a:lnTo>
                      <a:pt x="3906" y="1176"/>
                    </a:lnTo>
                    <a:lnTo>
                      <a:pt x="3912" y="1170"/>
                    </a:lnTo>
                    <a:lnTo>
                      <a:pt x="3906" y="1170"/>
                    </a:lnTo>
                    <a:lnTo>
                      <a:pt x="3912" y="1164"/>
                    </a:lnTo>
                    <a:lnTo>
                      <a:pt x="3912" y="1158"/>
                    </a:lnTo>
                    <a:lnTo>
                      <a:pt x="3912" y="1152"/>
                    </a:lnTo>
                    <a:lnTo>
                      <a:pt x="3918" y="1152"/>
                    </a:lnTo>
                    <a:lnTo>
                      <a:pt x="3924" y="1152"/>
                    </a:lnTo>
                    <a:lnTo>
                      <a:pt x="3918" y="1146"/>
                    </a:lnTo>
                    <a:lnTo>
                      <a:pt x="3912" y="1146"/>
                    </a:lnTo>
                    <a:lnTo>
                      <a:pt x="3918" y="1140"/>
                    </a:lnTo>
                    <a:lnTo>
                      <a:pt x="3912" y="1134"/>
                    </a:lnTo>
                    <a:lnTo>
                      <a:pt x="3924" y="1134"/>
                    </a:lnTo>
                    <a:lnTo>
                      <a:pt x="3930" y="1128"/>
                    </a:lnTo>
                    <a:lnTo>
                      <a:pt x="3924" y="1122"/>
                    </a:lnTo>
                    <a:lnTo>
                      <a:pt x="3924" y="1116"/>
                    </a:lnTo>
                    <a:lnTo>
                      <a:pt x="3924" y="1110"/>
                    </a:lnTo>
                    <a:lnTo>
                      <a:pt x="3918" y="1110"/>
                    </a:lnTo>
                    <a:lnTo>
                      <a:pt x="3912" y="1110"/>
                    </a:lnTo>
                    <a:lnTo>
                      <a:pt x="3918" y="1098"/>
                    </a:lnTo>
                    <a:lnTo>
                      <a:pt x="3912" y="1098"/>
                    </a:lnTo>
                    <a:lnTo>
                      <a:pt x="3912" y="1086"/>
                    </a:lnTo>
                    <a:lnTo>
                      <a:pt x="3906" y="1086"/>
                    </a:lnTo>
                    <a:lnTo>
                      <a:pt x="3906" y="1092"/>
                    </a:lnTo>
                    <a:lnTo>
                      <a:pt x="3900" y="1080"/>
                    </a:lnTo>
                    <a:lnTo>
                      <a:pt x="3894" y="1080"/>
                    </a:lnTo>
                    <a:lnTo>
                      <a:pt x="3894" y="1074"/>
                    </a:lnTo>
                    <a:lnTo>
                      <a:pt x="3888" y="1080"/>
                    </a:lnTo>
                    <a:lnTo>
                      <a:pt x="3888" y="1068"/>
                    </a:lnTo>
                    <a:lnTo>
                      <a:pt x="3888" y="1062"/>
                    </a:lnTo>
                    <a:lnTo>
                      <a:pt x="3894" y="1062"/>
                    </a:lnTo>
                    <a:lnTo>
                      <a:pt x="3894" y="1056"/>
                    </a:lnTo>
                    <a:lnTo>
                      <a:pt x="3888" y="1050"/>
                    </a:lnTo>
                    <a:lnTo>
                      <a:pt x="3888" y="1038"/>
                    </a:lnTo>
                    <a:lnTo>
                      <a:pt x="3888" y="1032"/>
                    </a:lnTo>
                    <a:lnTo>
                      <a:pt x="3888" y="1026"/>
                    </a:lnTo>
                    <a:lnTo>
                      <a:pt x="3882" y="1020"/>
                    </a:lnTo>
                    <a:lnTo>
                      <a:pt x="3888" y="1020"/>
                    </a:lnTo>
                    <a:lnTo>
                      <a:pt x="3888" y="1014"/>
                    </a:lnTo>
                    <a:lnTo>
                      <a:pt x="3888" y="1008"/>
                    </a:lnTo>
                    <a:lnTo>
                      <a:pt x="3888" y="1002"/>
                    </a:lnTo>
                    <a:lnTo>
                      <a:pt x="3888" y="990"/>
                    </a:lnTo>
                    <a:lnTo>
                      <a:pt x="3882" y="984"/>
                    </a:lnTo>
                    <a:lnTo>
                      <a:pt x="3882" y="978"/>
                    </a:lnTo>
                    <a:lnTo>
                      <a:pt x="3882" y="972"/>
                    </a:lnTo>
                    <a:lnTo>
                      <a:pt x="3876" y="966"/>
                    </a:lnTo>
                    <a:lnTo>
                      <a:pt x="3876" y="954"/>
                    </a:lnTo>
                    <a:lnTo>
                      <a:pt x="3870" y="948"/>
                    </a:lnTo>
                    <a:lnTo>
                      <a:pt x="3870" y="942"/>
                    </a:lnTo>
                    <a:lnTo>
                      <a:pt x="3864" y="954"/>
                    </a:lnTo>
                    <a:lnTo>
                      <a:pt x="3858" y="942"/>
                    </a:lnTo>
                    <a:lnTo>
                      <a:pt x="3858" y="948"/>
                    </a:lnTo>
                    <a:lnTo>
                      <a:pt x="3852" y="936"/>
                    </a:lnTo>
                    <a:lnTo>
                      <a:pt x="3852" y="930"/>
                    </a:lnTo>
                    <a:lnTo>
                      <a:pt x="3846" y="930"/>
                    </a:lnTo>
                    <a:lnTo>
                      <a:pt x="3846" y="918"/>
                    </a:lnTo>
                    <a:lnTo>
                      <a:pt x="3840" y="924"/>
                    </a:lnTo>
                    <a:lnTo>
                      <a:pt x="3840" y="912"/>
                    </a:lnTo>
                    <a:lnTo>
                      <a:pt x="3828" y="912"/>
                    </a:lnTo>
                    <a:lnTo>
                      <a:pt x="3834" y="906"/>
                    </a:lnTo>
                    <a:lnTo>
                      <a:pt x="3828" y="906"/>
                    </a:lnTo>
                    <a:lnTo>
                      <a:pt x="3834" y="894"/>
                    </a:lnTo>
                    <a:lnTo>
                      <a:pt x="3828" y="894"/>
                    </a:lnTo>
                    <a:lnTo>
                      <a:pt x="3822" y="894"/>
                    </a:lnTo>
                    <a:lnTo>
                      <a:pt x="3816" y="894"/>
                    </a:lnTo>
                    <a:lnTo>
                      <a:pt x="3816" y="888"/>
                    </a:lnTo>
                    <a:lnTo>
                      <a:pt x="3822" y="882"/>
                    </a:lnTo>
                    <a:lnTo>
                      <a:pt x="3816" y="882"/>
                    </a:lnTo>
                    <a:lnTo>
                      <a:pt x="3816" y="876"/>
                    </a:lnTo>
                    <a:lnTo>
                      <a:pt x="3810" y="882"/>
                    </a:lnTo>
                    <a:lnTo>
                      <a:pt x="3804" y="876"/>
                    </a:lnTo>
                    <a:lnTo>
                      <a:pt x="3804" y="870"/>
                    </a:lnTo>
                    <a:lnTo>
                      <a:pt x="3798" y="876"/>
                    </a:lnTo>
                    <a:lnTo>
                      <a:pt x="3792" y="870"/>
                    </a:lnTo>
                    <a:lnTo>
                      <a:pt x="3786" y="858"/>
                    </a:lnTo>
                    <a:lnTo>
                      <a:pt x="3786" y="864"/>
                    </a:lnTo>
                    <a:lnTo>
                      <a:pt x="3786" y="852"/>
                    </a:lnTo>
                    <a:lnTo>
                      <a:pt x="3780" y="846"/>
                    </a:lnTo>
                    <a:lnTo>
                      <a:pt x="3786" y="846"/>
                    </a:lnTo>
                    <a:lnTo>
                      <a:pt x="3786" y="834"/>
                    </a:lnTo>
                    <a:lnTo>
                      <a:pt x="3780" y="834"/>
                    </a:lnTo>
                    <a:lnTo>
                      <a:pt x="3774" y="828"/>
                    </a:lnTo>
                    <a:lnTo>
                      <a:pt x="3768" y="822"/>
                    </a:lnTo>
                    <a:lnTo>
                      <a:pt x="3774" y="816"/>
                    </a:lnTo>
                    <a:lnTo>
                      <a:pt x="3768" y="810"/>
                    </a:lnTo>
                    <a:lnTo>
                      <a:pt x="3762" y="810"/>
                    </a:lnTo>
                    <a:lnTo>
                      <a:pt x="3762" y="816"/>
                    </a:lnTo>
                    <a:lnTo>
                      <a:pt x="3756" y="810"/>
                    </a:lnTo>
                    <a:lnTo>
                      <a:pt x="3756" y="804"/>
                    </a:lnTo>
                    <a:lnTo>
                      <a:pt x="3762" y="804"/>
                    </a:lnTo>
                    <a:lnTo>
                      <a:pt x="3768" y="798"/>
                    </a:lnTo>
                    <a:lnTo>
                      <a:pt x="3768" y="792"/>
                    </a:lnTo>
                    <a:lnTo>
                      <a:pt x="3762" y="792"/>
                    </a:lnTo>
                    <a:lnTo>
                      <a:pt x="3762" y="786"/>
                    </a:lnTo>
                    <a:lnTo>
                      <a:pt x="3756" y="786"/>
                    </a:lnTo>
                    <a:lnTo>
                      <a:pt x="3750" y="786"/>
                    </a:lnTo>
                    <a:lnTo>
                      <a:pt x="3750" y="780"/>
                    </a:lnTo>
                    <a:lnTo>
                      <a:pt x="3756" y="774"/>
                    </a:lnTo>
                    <a:lnTo>
                      <a:pt x="3750" y="774"/>
                    </a:lnTo>
                    <a:lnTo>
                      <a:pt x="3750" y="768"/>
                    </a:lnTo>
                    <a:lnTo>
                      <a:pt x="3744" y="768"/>
                    </a:lnTo>
                    <a:lnTo>
                      <a:pt x="3744" y="762"/>
                    </a:lnTo>
                    <a:lnTo>
                      <a:pt x="3744" y="756"/>
                    </a:lnTo>
                    <a:lnTo>
                      <a:pt x="3750" y="756"/>
                    </a:lnTo>
                    <a:lnTo>
                      <a:pt x="3750" y="750"/>
                    </a:lnTo>
                    <a:lnTo>
                      <a:pt x="3744" y="750"/>
                    </a:lnTo>
                    <a:lnTo>
                      <a:pt x="3738" y="750"/>
                    </a:lnTo>
                    <a:lnTo>
                      <a:pt x="3738" y="744"/>
                    </a:lnTo>
                    <a:lnTo>
                      <a:pt x="3732" y="744"/>
                    </a:lnTo>
                    <a:lnTo>
                      <a:pt x="3726" y="744"/>
                    </a:lnTo>
                    <a:lnTo>
                      <a:pt x="3720" y="738"/>
                    </a:lnTo>
                    <a:lnTo>
                      <a:pt x="3720" y="744"/>
                    </a:lnTo>
                    <a:lnTo>
                      <a:pt x="3714" y="738"/>
                    </a:lnTo>
                    <a:lnTo>
                      <a:pt x="3708" y="738"/>
                    </a:lnTo>
                    <a:lnTo>
                      <a:pt x="3714" y="732"/>
                    </a:lnTo>
                    <a:lnTo>
                      <a:pt x="3720" y="732"/>
                    </a:lnTo>
                    <a:lnTo>
                      <a:pt x="3714" y="726"/>
                    </a:lnTo>
                    <a:lnTo>
                      <a:pt x="3708" y="726"/>
                    </a:lnTo>
                    <a:lnTo>
                      <a:pt x="3702" y="732"/>
                    </a:lnTo>
                    <a:lnTo>
                      <a:pt x="3690" y="732"/>
                    </a:lnTo>
                    <a:lnTo>
                      <a:pt x="3690" y="726"/>
                    </a:lnTo>
                    <a:lnTo>
                      <a:pt x="3684" y="732"/>
                    </a:lnTo>
                    <a:lnTo>
                      <a:pt x="3678" y="732"/>
                    </a:lnTo>
                    <a:lnTo>
                      <a:pt x="3672" y="726"/>
                    </a:lnTo>
                    <a:lnTo>
                      <a:pt x="3666" y="732"/>
                    </a:lnTo>
                    <a:lnTo>
                      <a:pt x="3666" y="726"/>
                    </a:lnTo>
                    <a:lnTo>
                      <a:pt x="3660" y="726"/>
                    </a:lnTo>
                    <a:lnTo>
                      <a:pt x="3666" y="720"/>
                    </a:lnTo>
                    <a:lnTo>
                      <a:pt x="3666" y="714"/>
                    </a:lnTo>
                    <a:lnTo>
                      <a:pt x="3660" y="720"/>
                    </a:lnTo>
                    <a:lnTo>
                      <a:pt x="3654" y="714"/>
                    </a:lnTo>
                    <a:lnTo>
                      <a:pt x="3654" y="720"/>
                    </a:lnTo>
                    <a:lnTo>
                      <a:pt x="3648" y="714"/>
                    </a:lnTo>
                    <a:lnTo>
                      <a:pt x="3642" y="720"/>
                    </a:lnTo>
                    <a:lnTo>
                      <a:pt x="3636" y="714"/>
                    </a:lnTo>
                    <a:lnTo>
                      <a:pt x="3630" y="708"/>
                    </a:lnTo>
                    <a:lnTo>
                      <a:pt x="3624" y="708"/>
                    </a:lnTo>
                    <a:lnTo>
                      <a:pt x="3618" y="696"/>
                    </a:lnTo>
                    <a:lnTo>
                      <a:pt x="3612" y="702"/>
                    </a:lnTo>
                    <a:lnTo>
                      <a:pt x="3618" y="690"/>
                    </a:lnTo>
                    <a:lnTo>
                      <a:pt x="3606" y="696"/>
                    </a:lnTo>
                    <a:lnTo>
                      <a:pt x="3600" y="690"/>
                    </a:lnTo>
                    <a:lnTo>
                      <a:pt x="3594" y="696"/>
                    </a:lnTo>
                    <a:lnTo>
                      <a:pt x="3588" y="690"/>
                    </a:lnTo>
                    <a:lnTo>
                      <a:pt x="3594" y="690"/>
                    </a:lnTo>
                    <a:lnTo>
                      <a:pt x="3594" y="684"/>
                    </a:lnTo>
                    <a:lnTo>
                      <a:pt x="3600" y="684"/>
                    </a:lnTo>
                    <a:lnTo>
                      <a:pt x="3594" y="678"/>
                    </a:lnTo>
                    <a:lnTo>
                      <a:pt x="3588" y="678"/>
                    </a:lnTo>
                    <a:lnTo>
                      <a:pt x="3582" y="684"/>
                    </a:lnTo>
                    <a:lnTo>
                      <a:pt x="3576" y="678"/>
                    </a:lnTo>
                    <a:lnTo>
                      <a:pt x="3564" y="684"/>
                    </a:lnTo>
                    <a:lnTo>
                      <a:pt x="3564" y="678"/>
                    </a:lnTo>
                    <a:lnTo>
                      <a:pt x="3570" y="678"/>
                    </a:lnTo>
                    <a:lnTo>
                      <a:pt x="3570" y="672"/>
                    </a:lnTo>
                    <a:lnTo>
                      <a:pt x="3564" y="672"/>
                    </a:lnTo>
                    <a:lnTo>
                      <a:pt x="3576" y="672"/>
                    </a:lnTo>
                    <a:lnTo>
                      <a:pt x="3576" y="666"/>
                    </a:lnTo>
                    <a:lnTo>
                      <a:pt x="3576" y="660"/>
                    </a:lnTo>
                    <a:lnTo>
                      <a:pt x="3570" y="660"/>
                    </a:lnTo>
                    <a:lnTo>
                      <a:pt x="3570" y="654"/>
                    </a:lnTo>
                    <a:lnTo>
                      <a:pt x="3564" y="642"/>
                    </a:lnTo>
                    <a:lnTo>
                      <a:pt x="3558" y="648"/>
                    </a:lnTo>
                    <a:lnTo>
                      <a:pt x="3558" y="642"/>
                    </a:lnTo>
                    <a:lnTo>
                      <a:pt x="3552" y="636"/>
                    </a:lnTo>
                    <a:lnTo>
                      <a:pt x="3552" y="630"/>
                    </a:lnTo>
                    <a:lnTo>
                      <a:pt x="3546" y="630"/>
                    </a:lnTo>
                    <a:lnTo>
                      <a:pt x="3546" y="624"/>
                    </a:lnTo>
                    <a:lnTo>
                      <a:pt x="3546" y="618"/>
                    </a:lnTo>
                    <a:lnTo>
                      <a:pt x="3540" y="618"/>
                    </a:lnTo>
                    <a:lnTo>
                      <a:pt x="3534" y="618"/>
                    </a:lnTo>
                    <a:lnTo>
                      <a:pt x="3528" y="618"/>
                    </a:lnTo>
                    <a:lnTo>
                      <a:pt x="3528" y="612"/>
                    </a:lnTo>
                    <a:lnTo>
                      <a:pt x="3534" y="606"/>
                    </a:lnTo>
                    <a:lnTo>
                      <a:pt x="3528" y="606"/>
                    </a:lnTo>
                    <a:lnTo>
                      <a:pt x="3534" y="600"/>
                    </a:lnTo>
                    <a:lnTo>
                      <a:pt x="3528" y="600"/>
                    </a:lnTo>
                    <a:lnTo>
                      <a:pt x="3522" y="588"/>
                    </a:lnTo>
                    <a:lnTo>
                      <a:pt x="3522" y="594"/>
                    </a:lnTo>
                    <a:lnTo>
                      <a:pt x="3516" y="582"/>
                    </a:lnTo>
                    <a:lnTo>
                      <a:pt x="3510" y="582"/>
                    </a:lnTo>
                    <a:lnTo>
                      <a:pt x="3504" y="582"/>
                    </a:lnTo>
                    <a:lnTo>
                      <a:pt x="3498" y="588"/>
                    </a:lnTo>
                    <a:lnTo>
                      <a:pt x="3492" y="588"/>
                    </a:lnTo>
                    <a:lnTo>
                      <a:pt x="3492" y="594"/>
                    </a:lnTo>
                    <a:lnTo>
                      <a:pt x="3492" y="582"/>
                    </a:lnTo>
                    <a:lnTo>
                      <a:pt x="3486" y="582"/>
                    </a:lnTo>
                    <a:lnTo>
                      <a:pt x="3486" y="576"/>
                    </a:lnTo>
                    <a:lnTo>
                      <a:pt x="3486" y="582"/>
                    </a:lnTo>
                    <a:lnTo>
                      <a:pt x="3480" y="582"/>
                    </a:lnTo>
                    <a:lnTo>
                      <a:pt x="3474" y="582"/>
                    </a:lnTo>
                    <a:lnTo>
                      <a:pt x="3468" y="588"/>
                    </a:lnTo>
                    <a:lnTo>
                      <a:pt x="3468" y="582"/>
                    </a:lnTo>
                    <a:lnTo>
                      <a:pt x="3462" y="576"/>
                    </a:lnTo>
                    <a:lnTo>
                      <a:pt x="3462" y="582"/>
                    </a:lnTo>
                    <a:lnTo>
                      <a:pt x="3456" y="570"/>
                    </a:lnTo>
                    <a:lnTo>
                      <a:pt x="3450" y="582"/>
                    </a:lnTo>
                    <a:lnTo>
                      <a:pt x="3444" y="570"/>
                    </a:lnTo>
                    <a:lnTo>
                      <a:pt x="3444" y="582"/>
                    </a:lnTo>
                    <a:lnTo>
                      <a:pt x="3438" y="576"/>
                    </a:lnTo>
                    <a:lnTo>
                      <a:pt x="3438" y="570"/>
                    </a:lnTo>
                    <a:lnTo>
                      <a:pt x="3450" y="558"/>
                    </a:lnTo>
                    <a:lnTo>
                      <a:pt x="3444" y="552"/>
                    </a:lnTo>
                    <a:lnTo>
                      <a:pt x="3438" y="552"/>
                    </a:lnTo>
                    <a:lnTo>
                      <a:pt x="3438" y="540"/>
                    </a:lnTo>
                    <a:lnTo>
                      <a:pt x="3432" y="534"/>
                    </a:lnTo>
                    <a:lnTo>
                      <a:pt x="3432" y="540"/>
                    </a:lnTo>
                    <a:lnTo>
                      <a:pt x="3426" y="540"/>
                    </a:lnTo>
                    <a:lnTo>
                      <a:pt x="3426" y="534"/>
                    </a:lnTo>
                    <a:lnTo>
                      <a:pt x="3420" y="534"/>
                    </a:lnTo>
                    <a:lnTo>
                      <a:pt x="3420" y="528"/>
                    </a:lnTo>
                    <a:lnTo>
                      <a:pt x="3420" y="522"/>
                    </a:lnTo>
                    <a:lnTo>
                      <a:pt x="3426" y="516"/>
                    </a:lnTo>
                    <a:lnTo>
                      <a:pt x="3420" y="510"/>
                    </a:lnTo>
                    <a:lnTo>
                      <a:pt x="3414" y="504"/>
                    </a:lnTo>
                    <a:lnTo>
                      <a:pt x="3414" y="498"/>
                    </a:lnTo>
                    <a:lnTo>
                      <a:pt x="3402" y="498"/>
                    </a:lnTo>
                    <a:lnTo>
                      <a:pt x="3408" y="492"/>
                    </a:lnTo>
                    <a:lnTo>
                      <a:pt x="3402" y="486"/>
                    </a:lnTo>
                    <a:lnTo>
                      <a:pt x="3408" y="480"/>
                    </a:lnTo>
                    <a:lnTo>
                      <a:pt x="3408" y="474"/>
                    </a:lnTo>
                    <a:lnTo>
                      <a:pt x="3402" y="474"/>
                    </a:lnTo>
                    <a:lnTo>
                      <a:pt x="3396" y="468"/>
                    </a:lnTo>
                    <a:lnTo>
                      <a:pt x="3390" y="468"/>
                    </a:lnTo>
                    <a:lnTo>
                      <a:pt x="3384" y="462"/>
                    </a:lnTo>
                    <a:lnTo>
                      <a:pt x="3384" y="468"/>
                    </a:lnTo>
                    <a:lnTo>
                      <a:pt x="3378" y="468"/>
                    </a:lnTo>
                    <a:lnTo>
                      <a:pt x="3378" y="474"/>
                    </a:lnTo>
                    <a:lnTo>
                      <a:pt x="3372" y="462"/>
                    </a:lnTo>
                    <a:lnTo>
                      <a:pt x="3372" y="474"/>
                    </a:lnTo>
                    <a:lnTo>
                      <a:pt x="3366" y="474"/>
                    </a:lnTo>
                    <a:lnTo>
                      <a:pt x="3366" y="468"/>
                    </a:lnTo>
                    <a:lnTo>
                      <a:pt x="3354" y="468"/>
                    </a:lnTo>
                    <a:lnTo>
                      <a:pt x="3348" y="462"/>
                    </a:lnTo>
                    <a:lnTo>
                      <a:pt x="3342" y="456"/>
                    </a:lnTo>
                    <a:lnTo>
                      <a:pt x="3342" y="450"/>
                    </a:lnTo>
                    <a:lnTo>
                      <a:pt x="3342" y="444"/>
                    </a:lnTo>
                    <a:lnTo>
                      <a:pt x="3342" y="438"/>
                    </a:lnTo>
                    <a:lnTo>
                      <a:pt x="3336" y="444"/>
                    </a:lnTo>
                    <a:lnTo>
                      <a:pt x="3336" y="438"/>
                    </a:lnTo>
                    <a:lnTo>
                      <a:pt x="3336" y="432"/>
                    </a:lnTo>
                    <a:lnTo>
                      <a:pt x="3330" y="438"/>
                    </a:lnTo>
                    <a:lnTo>
                      <a:pt x="3330" y="432"/>
                    </a:lnTo>
                    <a:lnTo>
                      <a:pt x="3324" y="432"/>
                    </a:lnTo>
                    <a:lnTo>
                      <a:pt x="3330" y="426"/>
                    </a:lnTo>
                    <a:lnTo>
                      <a:pt x="3324" y="426"/>
                    </a:lnTo>
                    <a:lnTo>
                      <a:pt x="3318" y="426"/>
                    </a:lnTo>
                    <a:lnTo>
                      <a:pt x="3318" y="420"/>
                    </a:lnTo>
                    <a:lnTo>
                      <a:pt x="3312" y="414"/>
                    </a:lnTo>
                    <a:lnTo>
                      <a:pt x="3318" y="414"/>
                    </a:lnTo>
                    <a:lnTo>
                      <a:pt x="3318" y="408"/>
                    </a:lnTo>
                    <a:lnTo>
                      <a:pt x="3318" y="402"/>
                    </a:lnTo>
                    <a:lnTo>
                      <a:pt x="3306" y="408"/>
                    </a:lnTo>
                    <a:lnTo>
                      <a:pt x="3300" y="402"/>
                    </a:lnTo>
                    <a:lnTo>
                      <a:pt x="3288" y="402"/>
                    </a:lnTo>
                    <a:lnTo>
                      <a:pt x="3288" y="396"/>
                    </a:lnTo>
                    <a:lnTo>
                      <a:pt x="3282" y="396"/>
                    </a:lnTo>
                    <a:lnTo>
                      <a:pt x="3276" y="390"/>
                    </a:lnTo>
                    <a:lnTo>
                      <a:pt x="3276" y="384"/>
                    </a:lnTo>
                    <a:lnTo>
                      <a:pt x="3264" y="384"/>
                    </a:lnTo>
                    <a:lnTo>
                      <a:pt x="3258" y="372"/>
                    </a:lnTo>
                    <a:lnTo>
                      <a:pt x="3252" y="372"/>
                    </a:lnTo>
                    <a:lnTo>
                      <a:pt x="3246" y="366"/>
                    </a:lnTo>
                    <a:lnTo>
                      <a:pt x="3240" y="366"/>
                    </a:lnTo>
                    <a:lnTo>
                      <a:pt x="3234" y="348"/>
                    </a:lnTo>
                    <a:lnTo>
                      <a:pt x="3228" y="348"/>
                    </a:lnTo>
                    <a:lnTo>
                      <a:pt x="3228" y="342"/>
                    </a:lnTo>
                    <a:lnTo>
                      <a:pt x="3228" y="336"/>
                    </a:lnTo>
                    <a:lnTo>
                      <a:pt x="3222" y="342"/>
                    </a:lnTo>
                    <a:lnTo>
                      <a:pt x="3216" y="330"/>
                    </a:lnTo>
                    <a:lnTo>
                      <a:pt x="3210" y="324"/>
                    </a:lnTo>
                    <a:lnTo>
                      <a:pt x="3216" y="318"/>
                    </a:lnTo>
                    <a:lnTo>
                      <a:pt x="3222" y="318"/>
                    </a:lnTo>
                    <a:lnTo>
                      <a:pt x="3228" y="324"/>
                    </a:lnTo>
                    <a:lnTo>
                      <a:pt x="3228" y="318"/>
                    </a:lnTo>
                    <a:lnTo>
                      <a:pt x="3222" y="312"/>
                    </a:lnTo>
                    <a:lnTo>
                      <a:pt x="3222" y="306"/>
                    </a:lnTo>
                    <a:lnTo>
                      <a:pt x="3228" y="300"/>
                    </a:lnTo>
                    <a:lnTo>
                      <a:pt x="3222" y="300"/>
                    </a:lnTo>
                    <a:lnTo>
                      <a:pt x="3216" y="306"/>
                    </a:lnTo>
                    <a:lnTo>
                      <a:pt x="3216" y="294"/>
                    </a:lnTo>
                    <a:lnTo>
                      <a:pt x="3210" y="300"/>
                    </a:lnTo>
                    <a:lnTo>
                      <a:pt x="3204" y="294"/>
                    </a:lnTo>
                    <a:lnTo>
                      <a:pt x="3204" y="288"/>
                    </a:lnTo>
                    <a:lnTo>
                      <a:pt x="3204" y="282"/>
                    </a:lnTo>
                    <a:lnTo>
                      <a:pt x="3198" y="288"/>
                    </a:lnTo>
                    <a:lnTo>
                      <a:pt x="3198" y="282"/>
                    </a:lnTo>
                    <a:lnTo>
                      <a:pt x="3192" y="276"/>
                    </a:lnTo>
                    <a:lnTo>
                      <a:pt x="3186" y="276"/>
                    </a:lnTo>
                    <a:lnTo>
                      <a:pt x="3186" y="264"/>
                    </a:lnTo>
                    <a:lnTo>
                      <a:pt x="3174" y="264"/>
                    </a:lnTo>
                    <a:lnTo>
                      <a:pt x="3174" y="258"/>
                    </a:lnTo>
                    <a:lnTo>
                      <a:pt x="3174" y="252"/>
                    </a:lnTo>
                    <a:lnTo>
                      <a:pt x="3186" y="252"/>
                    </a:lnTo>
                    <a:lnTo>
                      <a:pt x="3192" y="252"/>
                    </a:lnTo>
                    <a:lnTo>
                      <a:pt x="3186" y="246"/>
                    </a:lnTo>
                    <a:lnTo>
                      <a:pt x="3180" y="240"/>
                    </a:lnTo>
                    <a:lnTo>
                      <a:pt x="3180" y="234"/>
                    </a:lnTo>
                    <a:lnTo>
                      <a:pt x="3186" y="222"/>
                    </a:lnTo>
                    <a:lnTo>
                      <a:pt x="3180" y="222"/>
                    </a:lnTo>
                    <a:lnTo>
                      <a:pt x="3174" y="228"/>
                    </a:lnTo>
                    <a:lnTo>
                      <a:pt x="3168" y="216"/>
                    </a:lnTo>
                    <a:lnTo>
                      <a:pt x="3162" y="210"/>
                    </a:lnTo>
                    <a:lnTo>
                      <a:pt x="3162" y="204"/>
                    </a:lnTo>
                    <a:lnTo>
                      <a:pt x="3156" y="198"/>
                    </a:lnTo>
                    <a:lnTo>
                      <a:pt x="3150" y="198"/>
                    </a:lnTo>
                    <a:lnTo>
                      <a:pt x="3144" y="198"/>
                    </a:lnTo>
                    <a:lnTo>
                      <a:pt x="3138" y="192"/>
                    </a:lnTo>
                    <a:lnTo>
                      <a:pt x="3138" y="174"/>
                    </a:lnTo>
                    <a:lnTo>
                      <a:pt x="3132" y="168"/>
                    </a:lnTo>
                    <a:lnTo>
                      <a:pt x="3120" y="168"/>
                    </a:lnTo>
                    <a:lnTo>
                      <a:pt x="3120" y="162"/>
                    </a:lnTo>
                    <a:lnTo>
                      <a:pt x="3120" y="150"/>
                    </a:lnTo>
                    <a:lnTo>
                      <a:pt x="3120" y="144"/>
                    </a:lnTo>
                    <a:lnTo>
                      <a:pt x="3114" y="150"/>
                    </a:lnTo>
                    <a:lnTo>
                      <a:pt x="3102" y="150"/>
                    </a:lnTo>
                    <a:lnTo>
                      <a:pt x="3102" y="144"/>
                    </a:lnTo>
                    <a:lnTo>
                      <a:pt x="3102" y="138"/>
                    </a:lnTo>
                    <a:lnTo>
                      <a:pt x="3102" y="132"/>
                    </a:lnTo>
                    <a:lnTo>
                      <a:pt x="3090" y="132"/>
                    </a:lnTo>
                    <a:lnTo>
                      <a:pt x="3084" y="138"/>
                    </a:lnTo>
                    <a:lnTo>
                      <a:pt x="3084" y="126"/>
                    </a:lnTo>
                    <a:lnTo>
                      <a:pt x="3084" y="120"/>
                    </a:lnTo>
                    <a:lnTo>
                      <a:pt x="3078" y="120"/>
                    </a:lnTo>
                    <a:lnTo>
                      <a:pt x="3072" y="114"/>
                    </a:lnTo>
                    <a:lnTo>
                      <a:pt x="3066" y="108"/>
                    </a:lnTo>
                    <a:lnTo>
                      <a:pt x="3054" y="102"/>
                    </a:lnTo>
                    <a:lnTo>
                      <a:pt x="3048" y="96"/>
                    </a:lnTo>
                    <a:lnTo>
                      <a:pt x="3048" y="90"/>
                    </a:lnTo>
                    <a:lnTo>
                      <a:pt x="3042" y="90"/>
                    </a:lnTo>
                    <a:lnTo>
                      <a:pt x="3036" y="84"/>
                    </a:lnTo>
                    <a:lnTo>
                      <a:pt x="3042" y="84"/>
                    </a:lnTo>
                    <a:lnTo>
                      <a:pt x="3042" y="78"/>
                    </a:lnTo>
                    <a:lnTo>
                      <a:pt x="3036" y="72"/>
                    </a:lnTo>
                    <a:lnTo>
                      <a:pt x="3036" y="60"/>
                    </a:lnTo>
                    <a:lnTo>
                      <a:pt x="3030" y="66"/>
                    </a:lnTo>
                    <a:lnTo>
                      <a:pt x="3030" y="60"/>
                    </a:lnTo>
                    <a:lnTo>
                      <a:pt x="3024" y="66"/>
                    </a:lnTo>
                    <a:lnTo>
                      <a:pt x="3018" y="72"/>
                    </a:lnTo>
                    <a:lnTo>
                      <a:pt x="3012" y="66"/>
                    </a:lnTo>
                    <a:lnTo>
                      <a:pt x="3000" y="72"/>
                    </a:lnTo>
                    <a:lnTo>
                      <a:pt x="2994" y="66"/>
                    </a:lnTo>
                    <a:lnTo>
                      <a:pt x="2994" y="60"/>
                    </a:lnTo>
                    <a:lnTo>
                      <a:pt x="3000" y="60"/>
                    </a:lnTo>
                    <a:lnTo>
                      <a:pt x="3006" y="54"/>
                    </a:lnTo>
                    <a:lnTo>
                      <a:pt x="3006" y="48"/>
                    </a:lnTo>
                    <a:lnTo>
                      <a:pt x="2994" y="48"/>
                    </a:lnTo>
                    <a:lnTo>
                      <a:pt x="2982" y="48"/>
                    </a:lnTo>
                    <a:lnTo>
                      <a:pt x="2982" y="36"/>
                    </a:lnTo>
                    <a:lnTo>
                      <a:pt x="2982" y="24"/>
                    </a:lnTo>
                    <a:lnTo>
                      <a:pt x="2976" y="24"/>
                    </a:lnTo>
                    <a:lnTo>
                      <a:pt x="2964" y="24"/>
                    </a:lnTo>
                    <a:lnTo>
                      <a:pt x="2970" y="36"/>
                    </a:lnTo>
                    <a:lnTo>
                      <a:pt x="2970" y="42"/>
                    </a:lnTo>
                    <a:lnTo>
                      <a:pt x="2964" y="42"/>
                    </a:lnTo>
                    <a:lnTo>
                      <a:pt x="2958" y="36"/>
                    </a:lnTo>
                    <a:lnTo>
                      <a:pt x="2958" y="30"/>
                    </a:lnTo>
                    <a:lnTo>
                      <a:pt x="2958" y="24"/>
                    </a:lnTo>
                    <a:lnTo>
                      <a:pt x="2952" y="24"/>
                    </a:lnTo>
                    <a:lnTo>
                      <a:pt x="2946" y="30"/>
                    </a:lnTo>
                    <a:lnTo>
                      <a:pt x="2940" y="24"/>
                    </a:lnTo>
                    <a:lnTo>
                      <a:pt x="2934" y="18"/>
                    </a:lnTo>
                    <a:lnTo>
                      <a:pt x="2928" y="12"/>
                    </a:lnTo>
                    <a:lnTo>
                      <a:pt x="2922" y="18"/>
                    </a:lnTo>
                    <a:lnTo>
                      <a:pt x="2916" y="12"/>
                    </a:lnTo>
                    <a:lnTo>
                      <a:pt x="2910" y="6"/>
                    </a:lnTo>
                    <a:lnTo>
                      <a:pt x="2898" y="0"/>
                    </a:lnTo>
                    <a:lnTo>
                      <a:pt x="2898" y="6"/>
                    </a:lnTo>
                    <a:lnTo>
                      <a:pt x="2892" y="12"/>
                    </a:lnTo>
                    <a:lnTo>
                      <a:pt x="2886" y="12"/>
                    </a:lnTo>
                    <a:lnTo>
                      <a:pt x="2874" y="12"/>
                    </a:lnTo>
                    <a:lnTo>
                      <a:pt x="2868" y="6"/>
                    </a:lnTo>
                    <a:lnTo>
                      <a:pt x="2862" y="6"/>
                    </a:lnTo>
                    <a:lnTo>
                      <a:pt x="2868" y="12"/>
                    </a:lnTo>
                    <a:lnTo>
                      <a:pt x="2856" y="18"/>
                    </a:lnTo>
                    <a:lnTo>
                      <a:pt x="2850" y="12"/>
                    </a:lnTo>
                    <a:lnTo>
                      <a:pt x="2844" y="0"/>
                    </a:lnTo>
                    <a:lnTo>
                      <a:pt x="2844" y="18"/>
                    </a:lnTo>
                    <a:lnTo>
                      <a:pt x="2838" y="18"/>
                    </a:lnTo>
                    <a:lnTo>
                      <a:pt x="2832" y="18"/>
                    </a:lnTo>
                    <a:lnTo>
                      <a:pt x="2820" y="18"/>
                    </a:lnTo>
                    <a:lnTo>
                      <a:pt x="2814" y="18"/>
                    </a:lnTo>
                    <a:lnTo>
                      <a:pt x="2820" y="24"/>
                    </a:lnTo>
                    <a:lnTo>
                      <a:pt x="2814" y="24"/>
                    </a:lnTo>
                    <a:lnTo>
                      <a:pt x="2814" y="36"/>
                    </a:lnTo>
                    <a:lnTo>
                      <a:pt x="2808" y="30"/>
                    </a:lnTo>
                    <a:lnTo>
                      <a:pt x="2802" y="30"/>
                    </a:lnTo>
                    <a:lnTo>
                      <a:pt x="2796" y="30"/>
                    </a:lnTo>
                    <a:lnTo>
                      <a:pt x="2790" y="36"/>
                    </a:lnTo>
                    <a:lnTo>
                      <a:pt x="2784" y="48"/>
                    </a:lnTo>
                    <a:lnTo>
                      <a:pt x="2778" y="54"/>
                    </a:lnTo>
                    <a:lnTo>
                      <a:pt x="2772" y="54"/>
                    </a:lnTo>
                    <a:lnTo>
                      <a:pt x="2766" y="60"/>
                    </a:lnTo>
                    <a:lnTo>
                      <a:pt x="2766" y="66"/>
                    </a:lnTo>
                    <a:lnTo>
                      <a:pt x="2760" y="60"/>
                    </a:lnTo>
                    <a:lnTo>
                      <a:pt x="2754" y="66"/>
                    </a:lnTo>
                    <a:lnTo>
                      <a:pt x="2748" y="66"/>
                    </a:lnTo>
                    <a:lnTo>
                      <a:pt x="2742" y="78"/>
                    </a:lnTo>
                    <a:lnTo>
                      <a:pt x="2736" y="78"/>
                    </a:lnTo>
                    <a:lnTo>
                      <a:pt x="2736" y="84"/>
                    </a:lnTo>
                    <a:lnTo>
                      <a:pt x="2730" y="84"/>
                    </a:lnTo>
                    <a:lnTo>
                      <a:pt x="2724" y="90"/>
                    </a:lnTo>
                    <a:lnTo>
                      <a:pt x="2712" y="96"/>
                    </a:lnTo>
                    <a:lnTo>
                      <a:pt x="2712" y="90"/>
                    </a:lnTo>
                    <a:lnTo>
                      <a:pt x="2706" y="102"/>
                    </a:lnTo>
                    <a:lnTo>
                      <a:pt x="2694" y="102"/>
                    </a:lnTo>
                    <a:lnTo>
                      <a:pt x="2694" y="108"/>
                    </a:lnTo>
                    <a:lnTo>
                      <a:pt x="2694" y="120"/>
                    </a:lnTo>
                    <a:lnTo>
                      <a:pt x="2694" y="126"/>
                    </a:lnTo>
                    <a:lnTo>
                      <a:pt x="2688" y="138"/>
                    </a:lnTo>
                    <a:lnTo>
                      <a:pt x="2688" y="144"/>
                    </a:lnTo>
                    <a:lnTo>
                      <a:pt x="2682" y="150"/>
                    </a:lnTo>
                    <a:lnTo>
                      <a:pt x="2682" y="156"/>
                    </a:lnTo>
                    <a:lnTo>
                      <a:pt x="2682" y="174"/>
                    </a:lnTo>
                    <a:lnTo>
                      <a:pt x="2682" y="180"/>
                    </a:lnTo>
                    <a:lnTo>
                      <a:pt x="2676" y="192"/>
                    </a:lnTo>
                    <a:lnTo>
                      <a:pt x="2664" y="204"/>
                    </a:lnTo>
                    <a:lnTo>
                      <a:pt x="2664" y="210"/>
                    </a:lnTo>
                    <a:lnTo>
                      <a:pt x="2664" y="216"/>
                    </a:lnTo>
                    <a:lnTo>
                      <a:pt x="2658" y="228"/>
                    </a:lnTo>
                    <a:lnTo>
                      <a:pt x="2658" y="240"/>
                    </a:lnTo>
                    <a:lnTo>
                      <a:pt x="2652" y="252"/>
                    </a:lnTo>
                    <a:lnTo>
                      <a:pt x="2646" y="258"/>
                    </a:lnTo>
                    <a:lnTo>
                      <a:pt x="2640" y="264"/>
                    </a:lnTo>
                    <a:lnTo>
                      <a:pt x="2628" y="270"/>
                    </a:lnTo>
                    <a:lnTo>
                      <a:pt x="2616" y="276"/>
                    </a:lnTo>
                    <a:lnTo>
                      <a:pt x="2604" y="276"/>
                    </a:lnTo>
                    <a:lnTo>
                      <a:pt x="2598" y="276"/>
                    </a:lnTo>
                    <a:lnTo>
                      <a:pt x="2592" y="276"/>
                    </a:lnTo>
                    <a:lnTo>
                      <a:pt x="2586" y="282"/>
                    </a:lnTo>
                    <a:lnTo>
                      <a:pt x="2568" y="288"/>
                    </a:lnTo>
                    <a:lnTo>
                      <a:pt x="2562" y="294"/>
                    </a:lnTo>
                    <a:lnTo>
                      <a:pt x="2550" y="294"/>
                    </a:lnTo>
                    <a:lnTo>
                      <a:pt x="2532" y="294"/>
                    </a:lnTo>
                    <a:lnTo>
                      <a:pt x="2526" y="300"/>
                    </a:lnTo>
                    <a:lnTo>
                      <a:pt x="2514" y="312"/>
                    </a:lnTo>
                    <a:lnTo>
                      <a:pt x="2502" y="306"/>
                    </a:lnTo>
                    <a:lnTo>
                      <a:pt x="2496" y="312"/>
                    </a:lnTo>
                    <a:lnTo>
                      <a:pt x="2490" y="318"/>
                    </a:lnTo>
                    <a:lnTo>
                      <a:pt x="2484" y="324"/>
                    </a:lnTo>
                    <a:lnTo>
                      <a:pt x="2478" y="330"/>
                    </a:lnTo>
                    <a:lnTo>
                      <a:pt x="2466" y="336"/>
                    </a:lnTo>
                    <a:lnTo>
                      <a:pt x="2454" y="336"/>
                    </a:lnTo>
                    <a:lnTo>
                      <a:pt x="2442" y="342"/>
                    </a:lnTo>
                    <a:lnTo>
                      <a:pt x="2436" y="342"/>
                    </a:lnTo>
                    <a:lnTo>
                      <a:pt x="2430" y="348"/>
                    </a:lnTo>
                    <a:lnTo>
                      <a:pt x="2418" y="342"/>
                    </a:lnTo>
                    <a:lnTo>
                      <a:pt x="2412" y="342"/>
                    </a:lnTo>
                    <a:lnTo>
                      <a:pt x="2400" y="348"/>
                    </a:lnTo>
                    <a:lnTo>
                      <a:pt x="2388" y="354"/>
                    </a:lnTo>
                    <a:lnTo>
                      <a:pt x="2376" y="360"/>
                    </a:lnTo>
                    <a:lnTo>
                      <a:pt x="2364" y="366"/>
                    </a:lnTo>
                    <a:lnTo>
                      <a:pt x="2346" y="372"/>
                    </a:lnTo>
                    <a:lnTo>
                      <a:pt x="2322" y="378"/>
                    </a:lnTo>
                    <a:lnTo>
                      <a:pt x="2316" y="384"/>
                    </a:lnTo>
                    <a:lnTo>
                      <a:pt x="2304" y="384"/>
                    </a:lnTo>
                    <a:lnTo>
                      <a:pt x="2298" y="390"/>
                    </a:lnTo>
                    <a:lnTo>
                      <a:pt x="2286" y="396"/>
                    </a:lnTo>
                    <a:lnTo>
                      <a:pt x="2262" y="402"/>
                    </a:lnTo>
                    <a:lnTo>
                      <a:pt x="2250" y="408"/>
                    </a:lnTo>
                    <a:lnTo>
                      <a:pt x="2244" y="414"/>
                    </a:lnTo>
                    <a:lnTo>
                      <a:pt x="2238" y="420"/>
                    </a:lnTo>
                    <a:lnTo>
                      <a:pt x="2232" y="420"/>
                    </a:lnTo>
                    <a:lnTo>
                      <a:pt x="2220" y="420"/>
                    </a:lnTo>
                    <a:lnTo>
                      <a:pt x="2208" y="420"/>
                    </a:lnTo>
                    <a:lnTo>
                      <a:pt x="2214" y="438"/>
                    </a:lnTo>
                    <a:lnTo>
                      <a:pt x="2208" y="450"/>
                    </a:lnTo>
                    <a:lnTo>
                      <a:pt x="2208" y="468"/>
                    </a:lnTo>
                    <a:lnTo>
                      <a:pt x="2208" y="474"/>
                    </a:lnTo>
                    <a:lnTo>
                      <a:pt x="2208" y="486"/>
                    </a:lnTo>
                    <a:lnTo>
                      <a:pt x="2208" y="498"/>
                    </a:lnTo>
                    <a:lnTo>
                      <a:pt x="2202" y="510"/>
                    </a:lnTo>
                    <a:lnTo>
                      <a:pt x="2196" y="516"/>
                    </a:lnTo>
                    <a:lnTo>
                      <a:pt x="2184" y="534"/>
                    </a:lnTo>
                    <a:lnTo>
                      <a:pt x="2172" y="546"/>
                    </a:lnTo>
                    <a:lnTo>
                      <a:pt x="2154" y="558"/>
                    </a:lnTo>
                    <a:lnTo>
                      <a:pt x="2136" y="564"/>
                    </a:lnTo>
                    <a:lnTo>
                      <a:pt x="2130" y="576"/>
                    </a:lnTo>
                    <a:lnTo>
                      <a:pt x="2118" y="570"/>
                    </a:lnTo>
                    <a:lnTo>
                      <a:pt x="2106" y="570"/>
                    </a:lnTo>
                    <a:lnTo>
                      <a:pt x="2094" y="576"/>
                    </a:lnTo>
                    <a:lnTo>
                      <a:pt x="2088" y="576"/>
                    </a:lnTo>
                    <a:lnTo>
                      <a:pt x="2076" y="582"/>
                    </a:lnTo>
                    <a:lnTo>
                      <a:pt x="2070" y="576"/>
                    </a:lnTo>
                    <a:lnTo>
                      <a:pt x="2064" y="570"/>
                    </a:lnTo>
                    <a:lnTo>
                      <a:pt x="2058" y="564"/>
                    </a:lnTo>
                    <a:lnTo>
                      <a:pt x="2052" y="552"/>
                    </a:lnTo>
                    <a:lnTo>
                      <a:pt x="2040" y="546"/>
                    </a:lnTo>
                    <a:lnTo>
                      <a:pt x="2040" y="540"/>
                    </a:lnTo>
                    <a:lnTo>
                      <a:pt x="2028" y="534"/>
                    </a:lnTo>
                    <a:lnTo>
                      <a:pt x="2028" y="522"/>
                    </a:lnTo>
                    <a:lnTo>
                      <a:pt x="2010" y="522"/>
                    </a:lnTo>
                    <a:lnTo>
                      <a:pt x="1998" y="516"/>
                    </a:lnTo>
                    <a:lnTo>
                      <a:pt x="1992" y="522"/>
                    </a:lnTo>
                    <a:lnTo>
                      <a:pt x="1980" y="516"/>
                    </a:lnTo>
                    <a:lnTo>
                      <a:pt x="1974" y="516"/>
                    </a:lnTo>
                    <a:lnTo>
                      <a:pt x="1962" y="510"/>
                    </a:lnTo>
                    <a:lnTo>
                      <a:pt x="1950" y="504"/>
                    </a:lnTo>
                    <a:lnTo>
                      <a:pt x="1944" y="492"/>
                    </a:lnTo>
                    <a:lnTo>
                      <a:pt x="1944" y="486"/>
                    </a:lnTo>
                    <a:lnTo>
                      <a:pt x="1944" y="480"/>
                    </a:lnTo>
                    <a:lnTo>
                      <a:pt x="1932" y="474"/>
                    </a:lnTo>
                    <a:lnTo>
                      <a:pt x="1920" y="462"/>
                    </a:lnTo>
                    <a:lnTo>
                      <a:pt x="1920" y="450"/>
                    </a:lnTo>
                    <a:lnTo>
                      <a:pt x="1908" y="450"/>
                    </a:lnTo>
                    <a:lnTo>
                      <a:pt x="1902" y="456"/>
                    </a:lnTo>
                    <a:lnTo>
                      <a:pt x="1896" y="444"/>
                    </a:lnTo>
                    <a:lnTo>
                      <a:pt x="1884" y="444"/>
                    </a:lnTo>
                    <a:lnTo>
                      <a:pt x="1878" y="450"/>
                    </a:lnTo>
                    <a:lnTo>
                      <a:pt x="1866" y="450"/>
                    </a:lnTo>
                    <a:lnTo>
                      <a:pt x="1860" y="456"/>
                    </a:lnTo>
                    <a:lnTo>
                      <a:pt x="1848" y="462"/>
                    </a:lnTo>
                    <a:lnTo>
                      <a:pt x="1842" y="456"/>
                    </a:lnTo>
                    <a:lnTo>
                      <a:pt x="1830" y="456"/>
                    </a:lnTo>
                    <a:lnTo>
                      <a:pt x="1818" y="456"/>
                    </a:lnTo>
                    <a:lnTo>
                      <a:pt x="1812" y="462"/>
                    </a:lnTo>
                    <a:lnTo>
                      <a:pt x="1806" y="468"/>
                    </a:lnTo>
                    <a:lnTo>
                      <a:pt x="1800" y="486"/>
                    </a:lnTo>
                    <a:lnTo>
                      <a:pt x="1788" y="504"/>
                    </a:lnTo>
                    <a:lnTo>
                      <a:pt x="1776" y="498"/>
                    </a:lnTo>
                    <a:lnTo>
                      <a:pt x="1770" y="498"/>
                    </a:lnTo>
                    <a:lnTo>
                      <a:pt x="1764" y="504"/>
                    </a:lnTo>
                    <a:lnTo>
                      <a:pt x="1758" y="516"/>
                    </a:lnTo>
                    <a:lnTo>
                      <a:pt x="1740" y="516"/>
                    </a:lnTo>
                    <a:lnTo>
                      <a:pt x="1740" y="522"/>
                    </a:lnTo>
                    <a:lnTo>
                      <a:pt x="1728" y="522"/>
                    </a:lnTo>
                    <a:lnTo>
                      <a:pt x="1722" y="516"/>
                    </a:lnTo>
                    <a:lnTo>
                      <a:pt x="1710" y="516"/>
                    </a:lnTo>
                    <a:lnTo>
                      <a:pt x="1698" y="516"/>
                    </a:lnTo>
                    <a:lnTo>
                      <a:pt x="1692" y="522"/>
                    </a:lnTo>
                    <a:lnTo>
                      <a:pt x="1680" y="522"/>
                    </a:lnTo>
                    <a:lnTo>
                      <a:pt x="1674" y="516"/>
                    </a:lnTo>
                    <a:lnTo>
                      <a:pt x="1662" y="510"/>
                    </a:lnTo>
                    <a:lnTo>
                      <a:pt x="1656" y="504"/>
                    </a:lnTo>
                    <a:lnTo>
                      <a:pt x="1650" y="504"/>
                    </a:lnTo>
                    <a:lnTo>
                      <a:pt x="1644" y="504"/>
                    </a:lnTo>
                    <a:lnTo>
                      <a:pt x="1632" y="504"/>
                    </a:lnTo>
                    <a:lnTo>
                      <a:pt x="1620" y="504"/>
                    </a:lnTo>
                    <a:lnTo>
                      <a:pt x="1608" y="504"/>
                    </a:lnTo>
                    <a:lnTo>
                      <a:pt x="1602" y="498"/>
                    </a:lnTo>
                    <a:lnTo>
                      <a:pt x="1590" y="504"/>
                    </a:lnTo>
                    <a:lnTo>
                      <a:pt x="1584" y="510"/>
                    </a:lnTo>
                    <a:lnTo>
                      <a:pt x="1572" y="516"/>
                    </a:lnTo>
                    <a:lnTo>
                      <a:pt x="1566" y="522"/>
                    </a:lnTo>
                    <a:lnTo>
                      <a:pt x="1560" y="528"/>
                    </a:lnTo>
                    <a:lnTo>
                      <a:pt x="1554" y="534"/>
                    </a:lnTo>
                    <a:lnTo>
                      <a:pt x="1548" y="528"/>
                    </a:lnTo>
                    <a:lnTo>
                      <a:pt x="1536" y="516"/>
                    </a:lnTo>
                    <a:lnTo>
                      <a:pt x="1530" y="510"/>
                    </a:lnTo>
                    <a:lnTo>
                      <a:pt x="1524" y="504"/>
                    </a:lnTo>
                    <a:lnTo>
                      <a:pt x="1512" y="504"/>
                    </a:lnTo>
                    <a:lnTo>
                      <a:pt x="1506" y="498"/>
                    </a:lnTo>
                    <a:lnTo>
                      <a:pt x="1494" y="498"/>
                    </a:lnTo>
                    <a:lnTo>
                      <a:pt x="1482" y="504"/>
                    </a:lnTo>
                    <a:lnTo>
                      <a:pt x="1470" y="510"/>
                    </a:lnTo>
                    <a:lnTo>
                      <a:pt x="1464" y="504"/>
                    </a:lnTo>
                    <a:lnTo>
                      <a:pt x="1458" y="510"/>
                    </a:lnTo>
                    <a:lnTo>
                      <a:pt x="1452" y="510"/>
                    </a:lnTo>
                    <a:lnTo>
                      <a:pt x="1446" y="516"/>
                    </a:lnTo>
                    <a:lnTo>
                      <a:pt x="1440" y="516"/>
                    </a:lnTo>
                    <a:lnTo>
                      <a:pt x="1428" y="510"/>
                    </a:lnTo>
                    <a:lnTo>
                      <a:pt x="1422" y="510"/>
                    </a:lnTo>
                    <a:lnTo>
                      <a:pt x="1416" y="510"/>
                    </a:lnTo>
                    <a:lnTo>
                      <a:pt x="1410" y="516"/>
                    </a:lnTo>
                    <a:lnTo>
                      <a:pt x="1404" y="516"/>
                    </a:lnTo>
                    <a:lnTo>
                      <a:pt x="1386" y="510"/>
                    </a:lnTo>
                    <a:lnTo>
                      <a:pt x="1386" y="504"/>
                    </a:lnTo>
                    <a:lnTo>
                      <a:pt x="1380" y="504"/>
                    </a:lnTo>
                    <a:lnTo>
                      <a:pt x="1380" y="516"/>
                    </a:lnTo>
                    <a:lnTo>
                      <a:pt x="1374" y="528"/>
                    </a:lnTo>
                    <a:lnTo>
                      <a:pt x="1368" y="540"/>
                    </a:lnTo>
                    <a:lnTo>
                      <a:pt x="1362" y="540"/>
                    </a:lnTo>
                    <a:lnTo>
                      <a:pt x="1350" y="540"/>
                    </a:lnTo>
                    <a:lnTo>
                      <a:pt x="1344" y="540"/>
                    </a:lnTo>
                    <a:lnTo>
                      <a:pt x="1332" y="534"/>
                    </a:lnTo>
                    <a:lnTo>
                      <a:pt x="1326" y="534"/>
                    </a:lnTo>
                    <a:lnTo>
                      <a:pt x="1320" y="534"/>
                    </a:lnTo>
                    <a:lnTo>
                      <a:pt x="1314" y="528"/>
                    </a:lnTo>
                    <a:lnTo>
                      <a:pt x="1308" y="528"/>
                    </a:lnTo>
                    <a:lnTo>
                      <a:pt x="1296" y="522"/>
                    </a:lnTo>
                    <a:lnTo>
                      <a:pt x="1296" y="516"/>
                    </a:lnTo>
                    <a:lnTo>
                      <a:pt x="1284" y="522"/>
                    </a:lnTo>
                    <a:lnTo>
                      <a:pt x="1278" y="516"/>
                    </a:lnTo>
                    <a:lnTo>
                      <a:pt x="1284" y="510"/>
                    </a:lnTo>
                    <a:lnTo>
                      <a:pt x="1272" y="504"/>
                    </a:lnTo>
                    <a:lnTo>
                      <a:pt x="1266" y="504"/>
                    </a:lnTo>
                    <a:lnTo>
                      <a:pt x="1254" y="504"/>
                    </a:lnTo>
                    <a:lnTo>
                      <a:pt x="1254" y="498"/>
                    </a:lnTo>
                    <a:lnTo>
                      <a:pt x="1254" y="492"/>
                    </a:lnTo>
                    <a:lnTo>
                      <a:pt x="1254" y="486"/>
                    </a:lnTo>
                    <a:lnTo>
                      <a:pt x="1242" y="480"/>
                    </a:lnTo>
                    <a:lnTo>
                      <a:pt x="1242" y="468"/>
                    </a:lnTo>
                    <a:lnTo>
                      <a:pt x="1230" y="474"/>
                    </a:lnTo>
                    <a:lnTo>
                      <a:pt x="1224" y="480"/>
                    </a:lnTo>
                    <a:lnTo>
                      <a:pt x="1212" y="480"/>
                    </a:lnTo>
                    <a:lnTo>
                      <a:pt x="1200" y="480"/>
                    </a:lnTo>
                    <a:lnTo>
                      <a:pt x="1200" y="468"/>
                    </a:lnTo>
                    <a:lnTo>
                      <a:pt x="1194" y="462"/>
                    </a:lnTo>
                    <a:lnTo>
                      <a:pt x="1182" y="474"/>
                    </a:lnTo>
                    <a:lnTo>
                      <a:pt x="1182" y="480"/>
                    </a:lnTo>
                    <a:lnTo>
                      <a:pt x="1170" y="486"/>
                    </a:lnTo>
                    <a:lnTo>
                      <a:pt x="1170" y="498"/>
                    </a:lnTo>
                    <a:lnTo>
                      <a:pt x="1170" y="510"/>
                    </a:lnTo>
                    <a:lnTo>
                      <a:pt x="1170" y="516"/>
                    </a:lnTo>
                    <a:lnTo>
                      <a:pt x="1170" y="522"/>
                    </a:lnTo>
                    <a:lnTo>
                      <a:pt x="1170" y="534"/>
                    </a:lnTo>
                    <a:lnTo>
                      <a:pt x="1164" y="540"/>
                    </a:lnTo>
                    <a:lnTo>
                      <a:pt x="1164" y="552"/>
                    </a:lnTo>
                    <a:lnTo>
                      <a:pt x="1158" y="552"/>
                    </a:lnTo>
                    <a:lnTo>
                      <a:pt x="1152" y="558"/>
                    </a:lnTo>
                    <a:lnTo>
                      <a:pt x="1140" y="564"/>
                    </a:lnTo>
                    <a:lnTo>
                      <a:pt x="1140" y="570"/>
                    </a:lnTo>
                    <a:lnTo>
                      <a:pt x="1122" y="564"/>
                    </a:lnTo>
                    <a:lnTo>
                      <a:pt x="1116" y="558"/>
                    </a:lnTo>
                    <a:lnTo>
                      <a:pt x="1104" y="558"/>
                    </a:lnTo>
                    <a:lnTo>
                      <a:pt x="1092" y="558"/>
                    </a:lnTo>
                    <a:lnTo>
                      <a:pt x="1086" y="558"/>
                    </a:lnTo>
                    <a:lnTo>
                      <a:pt x="1086" y="570"/>
                    </a:lnTo>
                    <a:lnTo>
                      <a:pt x="1098" y="570"/>
                    </a:lnTo>
                    <a:lnTo>
                      <a:pt x="1098" y="576"/>
                    </a:lnTo>
                    <a:lnTo>
                      <a:pt x="1104" y="594"/>
                    </a:lnTo>
                    <a:lnTo>
                      <a:pt x="1098" y="600"/>
                    </a:lnTo>
                    <a:lnTo>
                      <a:pt x="1092" y="600"/>
                    </a:lnTo>
                    <a:lnTo>
                      <a:pt x="1086" y="600"/>
                    </a:lnTo>
                    <a:lnTo>
                      <a:pt x="1080" y="612"/>
                    </a:lnTo>
                    <a:lnTo>
                      <a:pt x="1074" y="618"/>
                    </a:lnTo>
                    <a:lnTo>
                      <a:pt x="1068" y="636"/>
                    </a:lnTo>
                    <a:lnTo>
                      <a:pt x="1062" y="642"/>
                    </a:lnTo>
                    <a:lnTo>
                      <a:pt x="1050" y="648"/>
                    </a:lnTo>
                    <a:lnTo>
                      <a:pt x="1044" y="660"/>
                    </a:lnTo>
                    <a:lnTo>
                      <a:pt x="1032" y="660"/>
                    </a:lnTo>
                    <a:lnTo>
                      <a:pt x="1026" y="660"/>
                    </a:lnTo>
                    <a:lnTo>
                      <a:pt x="1026" y="672"/>
                    </a:lnTo>
                    <a:lnTo>
                      <a:pt x="1032" y="678"/>
                    </a:lnTo>
                    <a:lnTo>
                      <a:pt x="1038" y="684"/>
                    </a:lnTo>
                    <a:lnTo>
                      <a:pt x="1038" y="696"/>
                    </a:lnTo>
                    <a:lnTo>
                      <a:pt x="1026" y="702"/>
                    </a:lnTo>
                    <a:lnTo>
                      <a:pt x="1020" y="702"/>
                    </a:lnTo>
                    <a:lnTo>
                      <a:pt x="1014" y="702"/>
                    </a:lnTo>
                    <a:lnTo>
                      <a:pt x="1008" y="714"/>
                    </a:lnTo>
                    <a:lnTo>
                      <a:pt x="1002" y="726"/>
                    </a:lnTo>
                    <a:lnTo>
                      <a:pt x="1002" y="738"/>
                    </a:lnTo>
                    <a:lnTo>
                      <a:pt x="990" y="744"/>
                    </a:lnTo>
                    <a:lnTo>
                      <a:pt x="984" y="750"/>
                    </a:lnTo>
                    <a:lnTo>
                      <a:pt x="972" y="756"/>
                    </a:lnTo>
                    <a:lnTo>
                      <a:pt x="966" y="762"/>
                    </a:lnTo>
                    <a:lnTo>
                      <a:pt x="948" y="762"/>
                    </a:lnTo>
                    <a:lnTo>
                      <a:pt x="936" y="762"/>
                    </a:lnTo>
                    <a:lnTo>
                      <a:pt x="930" y="756"/>
                    </a:lnTo>
                    <a:lnTo>
                      <a:pt x="918" y="756"/>
                    </a:lnTo>
                    <a:lnTo>
                      <a:pt x="912" y="750"/>
                    </a:lnTo>
                    <a:lnTo>
                      <a:pt x="900" y="744"/>
                    </a:lnTo>
                    <a:lnTo>
                      <a:pt x="888" y="750"/>
                    </a:lnTo>
                    <a:lnTo>
                      <a:pt x="882" y="756"/>
                    </a:lnTo>
                    <a:lnTo>
                      <a:pt x="882" y="762"/>
                    </a:lnTo>
                    <a:lnTo>
                      <a:pt x="882" y="768"/>
                    </a:lnTo>
                    <a:lnTo>
                      <a:pt x="882" y="774"/>
                    </a:lnTo>
                    <a:lnTo>
                      <a:pt x="882" y="786"/>
                    </a:lnTo>
                    <a:lnTo>
                      <a:pt x="882" y="798"/>
                    </a:lnTo>
                    <a:lnTo>
                      <a:pt x="876" y="798"/>
                    </a:lnTo>
                    <a:lnTo>
                      <a:pt x="870" y="798"/>
                    </a:lnTo>
                    <a:lnTo>
                      <a:pt x="858" y="798"/>
                    </a:lnTo>
                    <a:lnTo>
                      <a:pt x="846" y="798"/>
                    </a:lnTo>
                    <a:lnTo>
                      <a:pt x="834" y="792"/>
                    </a:lnTo>
                    <a:lnTo>
                      <a:pt x="828" y="786"/>
                    </a:lnTo>
                    <a:lnTo>
                      <a:pt x="828" y="792"/>
                    </a:lnTo>
                    <a:lnTo>
                      <a:pt x="828" y="798"/>
                    </a:lnTo>
                    <a:lnTo>
                      <a:pt x="828" y="810"/>
                    </a:lnTo>
                    <a:lnTo>
                      <a:pt x="810" y="816"/>
                    </a:lnTo>
                    <a:lnTo>
                      <a:pt x="804" y="822"/>
                    </a:lnTo>
                    <a:lnTo>
                      <a:pt x="804" y="834"/>
                    </a:lnTo>
                    <a:lnTo>
                      <a:pt x="804" y="846"/>
                    </a:lnTo>
                    <a:lnTo>
                      <a:pt x="792" y="852"/>
                    </a:lnTo>
                    <a:lnTo>
                      <a:pt x="792" y="864"/>
                    </a:lnTo>
                    <a:lnTo>
                      <a:pt x="792" y="876"/>
                    </a:lnTo>
                    <a:lnTo>
                      <a:pt x="786" y="882"/>
                    </a:lnTo>
                    <a:lnTo>
                      <a:pt x="786" y="894"/>
                    </a:lnTo>
                    <a:lnTo>
                      <a:pt x="780" y="900"/>
                    </a:lnTo>
                    <a:lnTo>
                      <a:pt x="780" y="912"/>
                    </a:lnTo>
                    <a:lnTo>
                      <a:pt x="780" y="924"/>
                    </a:lnTo>
                    <a:lnTo>
                      <a:pt x="774" y="930"/>
                    </a:lnTo>
                    <a:lnTo>
                      <a:pt x="768" y="930"/>
                    </a:lnTo>
                    <a:lnTo>
                      <a:pt x="756" y="930"/>
                    </a:lnTo>
                    <a:lnTo>
                      <a:pt x="756" y="936"/>
                    </a:lnTo>
                    <a:lnTo>
                      <a:pt x="750" y="948"/>
                    </a:lnTo>
                    <a:lnTo>
                      <a:pt x="744" y="960"/>
                    </a:lnTo>
                    <a:lnTo>
                      <a:pt x="732" y="954"/>
                    </a:lnTo>
                    <a:lnTo>
                      <a:pt x="726" y="960"/>
                    </a:lnTo>
                    <a:lnTo>
                      <a:pt x="732" y="972"/>
                    </a:lnTo>
                    <a:lnTo>
                      <a:pt x="732" y="978"/>
                    </a:lnTo>
                    <a:lnTo>
                      <a:pt x="726" y="978"/>
                    </a:lnTo>
                    <a:lnTo>
                      <a:pt x="714" y="984"/>
                    </a:lnTo>
                    <a:lnTo>
                      <a:pt x="714" y="990"/>
                    </a:lnTo>
                    <a:lnTo>
                      <a:pt x="714" y="996"/>
                    </a:lnTo>
                    <a:lnTo>
                      <a:pt x="714" y="1008"/>
                    </a:lnTo>
                    <a:lnTo>
                      <a:pt x="708" y="1014"/>
                    </a:lnTo>
                    <a:lnTo>
                      <a:pt x="714" y="1026"/>
                    </a:lnTo>
                    <a:lnTo>
                      <a:pt x="720" y="1038"/>
                    </a:lnTo>
                    <a:lnTo>
                      <a:pt x="726" y="1044"/>
                    </a:lnTo>
                    <a:lnTo>
                      <a:pt x="726" y="1050"/>
                    </a:lnTo>
                    <a:lnTo>
                      <a:pt x="732" y="1056"/>
                    </a:lnTo>
                    <a:lnTo>
                      <a:pt x="732" y="1068"/>
                    </a:lnTo>
                    <a:lnTo>
                      <a:pt x="732" y="1080"/>
                    </a:lnTo>
                    <a:lnTo>
                      <a:pt x="726" y="1086"/>
                    </a:lnTo>
                    <a:lnTo>
                      <a:pt x="726" y="1092"/>
                    </a:lnTo>
                    <a:lnTo>
                      <a:pt x="720" y="1098"/>
                    </a:lnTo>
                    <a:lnTo>
                      <a:pt x="708" y="1098"/>
                    </a:lnTo>
                    <a:lnTo>
                      <a:pt x="702" y="1098"/>
                    </a:lnTo>
                    <a:lnTo>
                      <a:pt x="696" y="1098"/>
                    </a:lnTo>
                    <a:lnTo>
                      <a:pt x="696" y="1104"/>
                    </a:lnTo>
                    <a:lnTo>
                      <a:pt x="690" y="1104"/>
                    </a:lnTo>
                    <a:lnTo>
                      <a:pt x="690" y="1110"/>
                    </a:lnTo>
                    <a:lnTo>
                      <a:pt x="684" y="1122"/>
                    </a:lnTo>
                    <a:lnTo>
                      <a:pt x="684" y="1128"/>
                    </a:lnTo>
                    <a:lnTo>
                      <a:pt x="672" y="1146"/>
                    </a:lnTo>
                    <a:lnTo>
                      <a:pt x="672" y="1158"/>
                    </a:lnTo>
                    <a:lnTo>
                      <a:pt x="672" y="1164"/>
                    </a:lnTo>
                    <a:lnTo>
                      <a:pt x="672" y="1170"/>
                    </a:lnTo>
                    <a:lnTo>
                      <a:pt x="672" y="1182"/>
                    </a:lnTo>
                    <a:lnTo>
                      <a:pt x="666" y="1188"/>
                    </a:lnTo>
                    <a:lnTo>
                      <a:pt x="666" y="1200"/>
                    </a:lnTo>
                    <a:lnTo>
                      <a:pt x="660" y="1206"/>
                    </a:lnTo>
                    <a:lnTo>
                      <a:pt x="660" y="1218"/>
                    </a:lnTo>
                    <a:lnTo>
                      <a:pt x="666" y="1224"/>
                    </a:lnTo>
                    <a:lnTo>
                      <a:pt x="672" y="1236"/>
                    </a:lnTo>
                    <a:lnTo>
                      <a:pt x="672" y="1242"/>
                    </a:lnTo>
                    <a:lnTo>
                      <a:pt x="666" y="1248"/>
                    </a:lnTo>
                    <a:lnTo>
                      <a:pt x="660" y="1254"/>
                    </a:lnTo>
                    <a:lnTo>
                      <a:pt x="654" y="1260"/>
                    </a:lnTo>
                    <a:lnTo>
                      <a:pt x="648" y="1266"/>
                    </a:lnTo>
                    <a:lnTo>
                      <a:pt x="648" y="1278"/>
                    </a:lnTo>
                    <a:lnTo>
                      <a:pt x="648" y="1290"/>
                    </a:lnTo>
                    <a:lnTo>
                      <a:pt x="648" y="1296"/>
                    </a:lnTo>
                    <a:lnTo>
                      <a:pt x="648" y="1308"/>
                    </a:lnTo>
                    <a:lnTo>
                      <a:pt x="636" y="1308"/>
                    </a:lnTo>
                    <a:lnTo>
                      <a:pt x="630" y="1308"/>
                    </a:lnTo>
                    <a:lnTo>
                      <a:pt x="618" y="1320"/>
                    </a:lnTo>
                    <a:lnTo>
                      <a:pt x="612" y="1332"/>
                    </a:lnTo>
                    <a:lnTo>
                      <a:pt x="612" y="1344"/>
                    </a:lnTo>
                    <a:lnTo>
                      <a:pt x="612" y="1350"/>
                    </a:lnTo>
                    <a:lnTo>
                      <a:pt x="606" y="1362"/>
                    </a:lnTo>
                    <a:lnTo>
                      <a:pt x="594" y="1362"/>
                    </a:lnTo>
                    <a:lnTo>
                      <a:pt x="588" y="1368"/>
                    </a:lnTo>
                    <a:lnTo>
                      <a:pt x="588" y="1380"/>
                    </a:lnTo>
                    <a:lnTo>
                      <a:pt x="594" y="1380"/>
                    </a:lnTo>
                    <a:lnTo>
                      <a:pt x="606" y="1386"/>
                    </a:lnTo>
                    <a:lnTo>
                      <a:pt x="606" y="1392"/>
                    </a:lnTo>
                    <a:lnTo>
                      <a:pt x="606" y="1404"/>
                    </a:lnTo>
                    <a:lnTo>
                      <a:pt x="600" y="1410"/>
                    </a:lnTo>
                    <a:lnTo>
                      <a:pt x="606" y="1416"/>
                    </a:lnTo>
                    <a:lnTo>
                      <a:pt x="612" y="1422"/>
                    </a:lnTo>
                    <a:lnTo>
                      <a:pt x="606" y="1428"/>
                    </a:lnTo>
                    <a:lnTo>
                      <a:pt x="600" y="1434"/>
                    </a:lnTo>
                    <a:lnTo>
                      <a:pt x="600" y="1440"/>
                    </a:lnTo>
                    <a:lnTo>
                      <a:pt x="594" y="1446"/>
                    </a:lnTo>
                    <a:lnTo>
                      <a:pt x="582" y="1452"/>
                    </a:lnTo>
                    <a:lnTo>
                      <a:pt x="576" y="1452"/>
                    </a:lnTo>
                    <a:lnTo>
                      <a:pt x="576" y="1458"/>
                    </a:lnTo>
                    <a:lnTo>
                      <a:pt x="576" y="1464"/>
                    </a:lnTo>
                    <a:lnTo>
                      <a:pt x="576" y="1470"/>
                    </a:lnTo>
                    <a:lnTo>
                      <a:pt x="582" y="1476"/>
                    </a:lnTo>
                    <a:lnTo>
                      <a:pt x="588" y="1482"/>
                    </a:lnTo>
                    <a:lnTo>
                      <a:pt x="582" y="1488"/>
                    </a:lnTo>
                    <a:lnTo>
                      <a:pt x="582" y="1500"/>
                    </a:lnTo>
                    <a:lnTo>
                      <a:pt x="576" y="1506"/>
                    </a:lnTo>
                    <a:lnTo>
                      <a:pt x="570" y="1506"/>
                    </a:lnTo>
                    <a:lnTo>
                      <a:pt x="564" y="1518"/>
                    </a:lnTo>
                    <a:lnTo>
                      <a:pt x="552" y="1518"/>
                    </a:lnTo>
                    <a:lnTo>
                      <a:pt x="546" y="1530"/>
                    </a:lnTo>
                    <a:lnTo>
                      <a:pt x="546" y="1536"/>
                    </a:lnTo>
                    <a:lnTo>
                      <a:pt x="552" y="1548"/>
                    </a:lnTo>
                    <a:lnTo>
                      <a:pt x="552" y="1560"/>
                    </a:lnTo>
                    <a:lnTo>
                      <a:pt x="546" y="1572"/>
                    </a:lnTo>
                    <a:lnTo>
                      <a:pt x="540" y="1572"/>
                    </a:lnTo>
                    <a:lnTo>
                      <a:pt x="540" y="1584"/>
                    </a:lnTo>
                    <a:lnTo>
                      <a:pt x="546" y="1590"/>
                    </a:lnTo>
                    <a:lnTo>
                      <a:pt x="552" y="1590"/>
                    </a:lnTo>
                    <a:lnTo>
                      <a:pt x="558" y="1596"/>
                    </a:lnTo>
                    <a:lnTo>
                      <a:pt x="564" y="1602"/>
                    </a:lnTo>
                    <a:lnTo>
                      <a:pt x="564" y="1614"/>
                    </a:lnTo>
                    <a:lnTo>
                      <a:pt x="558" y="1620"/>
                    </a:lnTo>
                    <a:lnTo>
                      <a:pt x="558" y="1626"/>
                    </a:lnTo>
                    <a:lnTo>
                      <a:pt x="552" y="1638"/>
                    </a:lnTo>
                    <a:lnTo>
                      <a:pt x="540" y="1632"/>
                    </a:lnTo>
                    <a:lnTo>
                      <a:pt x="528" y="1638"/>
                    </a:lnTo>
                    <a:lnTo>
                      <a:pt x="516" y="1638"/>
                    </a:lnTo>
                    <a:lnTo>
                      <a:pt x="522" y="1644"/>
                    </a:lnTo>
                    <a:lnTo>
                      <a:pt x="522" y="1650"/>
                    </a:lnTo>
                    <a:lnTo>
                      <a:pt x="528" y="1656"/>
                    </a:lnTo>
                    <a:lnTo>
                      <a:pt x="540" y="1656"/>
                    </a:lnTo>
                    <a:lnTo>
                      <a:pt x="534" y="1668"/>
                    </a:lnTo>
                    <a:lnTo>
                      <a:pt x="522" y="1668"/>
                    </a:lnTo>
                    <a:lnTo>
                      <a:pt x="522" y="1674"/>
                    </a:lnTo>
                    <a:lnTo>
                      <a:pt x="516" y="1686"/>
                    </a:lnTo>
                    <a:lnTo>
                      <a:pt x="516" y="1692"/>
                    </a:lnTo>
                    <a:lnTo>
                      <a:pt x="510" y="1692"/>
                    </a:lnTo>
                    <a:lnTo>
                      <a:pt x="504" y="1692"/>
                    </a:lnTo>
                    <a:lnTo>
                      <a:pt x="498" y="1680"/>
                    </a:lnTo>
                    <a:lnTo>
                      <a:pt x="492" y="1686"/>
                    </a:lnTo>
                    <a:lnTo>
                      <a:pt x="492" y="1692"/>
                    </a:lnTo>
                    <a:lnTo>
                      <a:pt x="474" y="1692"/>
                    </a:lnTo>
                    <a:lnTo>
                      <a:pt x="474" y="1704"/>
                    </a:lnTo>
                    <a:lnTo>
                      <a:pt x="468" y="1716"/>
                    </a:lnTo>
                    <a:lnTo>
                      <a:pt x="480" y="1728"/>
                    </a:lnTo>
                    <a:lnTo>
                      <a:pt x="474" y="1740"/>
                    </a:lnTo>
                    <a:lnTo>
                      <a:pt x="474" y="1746"/>
                    </a:lnTo>
                    <a:lnTo>
                      <a:pt x="468" y="1752"/>
                    </a:lnTo>
                    <a:lnTo>
                      <a:pt x="462" y="1764"/>
                    </a:lnTo>
                    <a:lnTo>
                      <a:pt x="462" y="1770"/>
                    </a:lnTo>
                    <a:lnTo>
                      <a:pt x="462" y="1782"/>
                    </a:lnTo>
                    <a:lnTo>
                      <a:pt x="456" y="1788"/>
                    </a:lnTo>
                    <a:lnTo>
                      <a:pt x="462" y="1800"/>
                    </a:lnTo>
                    <a:lnTo>
                      <a:pt x="468" y="1806"/>
                    </a:lnTo>
                    <a:lnTo>
                      <a:pt x="474" y="1806"/>
                    </a:lnTo>
                    <a:lnTo>
                      <a:pt x="480" y="1812"/>
                    </a:lnTo>
                    <a:lnTo>
                      <a:pt x="486" y="1812"/>
                    </a:lnTo>
                    <a:lnTo>
                      <a:pt x="486" y="1818"/>
                    </a:lnTo>
                    <a:lnTo>
                      <a:pt x="492" y="1830"/>
                    </a:lnTo>
                    <a:lnTo>
                      <a:pt x="486" y="1842"/>
                    </a:lnTo>
                    <a:lnTo>
                      <a:pt x="480" y="1848"/>
                    </a:lnTo>
                    <a:lnTo>
                      <a:pt x="486" y="1854"/>
                    </a:lnTo>
                    <a:lnTo>
                      <a:pt x="474" y="1860"/>
                    </a:lnTo>
                    <a:lnTo>
                      <a:pt x="456" y="1860"/>
                    </a:lnTo>
                    <a:lnTo>
                      <a:pt x="450" y="1854"/>
                    </a:lnTo>
                    <a:lnTo>
                      <a:pt x="450" y="1866"/>
                    </a:lnTo>
                    <a:lnTo>
                      <a:pt x="444" y="1866"/>
                    </a:lnTo>
                    <a:lnTo>
                      <a:pt x="444" y="1890"/>
                    </a:lnTo>
                    <a:lnTo>
                      <a:pt x="444" y="1902"/>
                    </a:lnTo>
                    <a:lnTo>
                      <a:pt x="444" y="1908"/>
                    </a:lnTo>
                    <a:lnTo>
                      <a:pt x="432" y="1920"/>
                    </a:lnTo>
                    <a:lnTo>
                      <a:pt x="438" y="1932"/>
                    </a:lnTo>
                    <a:lnTo>
                      <a:pt x="438" y="1944"/>
                    </a:lnTo>
                    <a:lnTo>
                      <a:pt x="432" y="1944"/>
                    </a:lnTo>
                    <a:lnTo>
                      <a:pt x="420" y="1944"/>
                    </a:lnTo>
                    <a:lnTo>
                      <a:pt x="408" y="1950"/>
                    </a:lnTo>
                    <a:lnTo>
                      <a:pt x="408" y="1956"/>
                    </a:lnTo>
                    <a:lnTo>
                      <a:pt x="408" y="1968"/>
                    </a:lnTo>
                    <a:lnTo>
                      <a:pt x="408" y="1974"/>
                    </a:lnTo>
                    <a:lnTo>
                      <a:pt x="402" y="1980"/>
                    </a:lnTo>
                    <a:lnTo>
                      <a:pt x="396" y="1986"/>
                    </a:lnTo>
                    <a:lnTo>
                      <a:pt x="390" y="1992"/>
                    </a:lnTo>
                    <a:lnTo>
                      <a:pt x="378" y="1992"/>
                    </a:lnTo>
                    <a:lnTo>
                      <a:pt x="372" y="1980"/>
                    </a:lnTo>
                    <a:lnTo>
                      <a:pt x="366" y="1980"/>
                    </a:lnTo>
                    <a:lnTo>
                      <a:pt x="360" y="1986"/>
                    </a:lnTo>
                    <a:lnTo>
                      <a:pt x="348" y="1986"/>
                    </a:lnTo>
                    <a:lnTo>
                      <a:pt x="342" y="1986"/>
                    </a:lnTo>
                    <a:lnTo>
                      <a:pt x="336" y="1986"/>
                    </a:lnTo>
                    <a:lnTo>
                      <a:pt x="330" y="1980"/>
                    </a:lnTo>
                    <a:lnTo>
                      <a:pt x="324" y="1974"/>
                    </a:lnTo>
                    <a:lnTo>
                      <a:pt x="318" y="1980"/>
                    </a:lnTo>
                    <a:lnTo>
                      <a:pt x="318" y="1986"/>
                    </a:lnTo>
                    <a:lnTo>
                      <a:pt x="306" y="1986"/>
                    </a:lnTo>
                    <a:lnTo>
                      <a:pt x="300" y="1986"/>
                    </a:lnTo>
                    <a:lnTo>
                      <a:pt x="294" y="1980"/>
                    </a:lnTo>
                    <a:lnTo>
                      <a:pt x="294" y="1974"/>
                    </a:lnTo>
                    <a:lnTo>
                      <a:pt x="276" y="1986"/>
                    </a:lnTo>
                    <a:lnTo>
                      <a:pt x="258" y="1986"/>
                    </a:lnTo>
                    <a:lnTo>
                      <a:pt x="240" y="1992"/>
                    </a:lnTo>
                    <a:lnTo>
                      <a:pt x="234" y="2010"/>
                    </a:lnTo>
                    <a:lnTo>
                      <a:pt x="240" y="2028"/>
                    </a:lnTo>
                    <a:lnTo>
                      <a:pt x="246" y="2040"/>
                    </a:lnTo>
                    <a:lnTo>
                      <a:pt x="228" y="2046"/>
                    </a:lnTo>
                    <a:lnTo>
                      <a:pt x="228" y="2058"/>
                    </a:lnTo>
                    <a:lnTo>
                      <a:pt x="222" y="2064"/>
                    </a:lnTo>
                    <a:lnTo>
                      <a:pt x="222" y="2076"/>
                    </a:lnTo>
                    <a:close/>
                  </a:path>
                </a:pathLst>
              </a:custGeom>
              <a:solidFill>
                <a:srgbClr val="F2D68E"/>
              </a:solidFill>
              <a:ln w="3175">
                <a:solidFill>
                  <a:srgbClr val="256885"/>
                </a:solid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400">
                  <a:latin typeface="Arial Narrow" panose="020B0606020202030204" pitchFamily="34" charset="0"/>
                </a:endParaRPr>
              </a:p>
            </p:txBody>
          </p:sp>
          <p:grpSp>
            <p:nvGrpSpPr>
              <p:cNvPr id="30" name="Group 29"/>
              <p:cNvGrpSpPr/>
              <p:nvPr/>
            </p:nvGrpSpPr>
            <p:grpSpPr>
              <a:xfrm rot="250628">
                <a:off x="537393" y="2379767"/>
                <a:ext cx="3746179" cy="2796104"/>
                <a:chOff x="2220382" y="1380232"/>
                <a:chExt cx="4961146" cy="3702943"/>
              </a:xfrm>
              <a:solidFill>
                <a:srgbClr val="2BC6FF"/>
              </a:solidFill>
            </p:grpSpPr>
            <p:sp>
              <p:nvSpPr>
                <p:cNvPr id="77" name="Rectangle 176"/>
                <p:cNvSpPr>
                  <a:spLocks noChangeArrowheads="1"/>
                </p:cNvSpPr>
                <p:nvPr/>
              </p:nvSpPr>
              <p:spPr bwMode="auto">
                <a:xfrm rot="21349372">
                  <a:off x="3431217" y="4797589"/>
                  <a:ext cx="46037" cy="46037"/>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78" name="Rectangle 177"/>
                <p:cNvSpPr>
                  <a:spLocks noChangeArrowheads="1"/>
                </p:cNvSpPr>
                <p:nvPr/>
              </p:nvSpPr>
              <p:spPr bwMode="auto">
                <a:xfrm rot="21349372">
                  <a:off x="5214408" y="2268538"/>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79" name="Rectangle 179"/>
                <p:cNvSpPr>
                  <a:spLocks noChangeArrowheads="1"/>
                </p:cNvSpPr>
                <p:nvPr/>
              </p:nvSpPr>
              <p:spPr bwMode="auto">
                <a:xfrm rot="21349372">
                  <a:off x="4984220" y="1649413"/>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0" name="Rectangle 180"/>
                <p:cNvSpPr>
                  <a:spLocks noChangeArrowheads="1"/>
                </p:cNvSpPr>
                <p:nvPr/>
              </p:nvSpPr>
              <p:spPr bwMode="auto">
                <a:xfrm rot="21349372">
                  <a:off x="4311120" y="4173538"/>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1" name="Rectangle 181"/>
                <p:cNvSpPr>
                  <a:spLocks noChangeArrowheads="1"/>
                </p:cNvSpPr>
                <p:nvPr/>
              </p:nvSpPr>
              <p:spPr bwMode="auto">
                <a:xfrm rot="21349372">
                  <a:off x="2937932" y="1939925"/>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2" name="Rectangle 182"/>
                <p:cNvSpPr>
                  <a:spLocks noChangeArrowheads="1"/>
                </p:cNvSpPr>
                <p:nvPr/>
              </p:nvSpPr>
              <p:spPr bwMode="auto">
                <a:xfrm rot="21349372">
                  <a:off x="5325312" y="1380232"/>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3" name="Rectangle 183"/>
                <p:cNvSpPr>
                  <a:spLocks noChangeArrowheads="1"/>
                </p:cNvSpPr>
                <p:nvPr/>
              </p:nvSpPr>
              <p:spPr bwMode="auto">
                <a:xfrm rot="21349372">
                  <a:off x="5857346" y="3784600"/>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4" name="Rectangle 184"/>
                <p:cNvSpPr>
                  <a:spLocks noChangeArrowheads="1"/>
                </p:cNvSpPr>
                <p:nvPr/>
              </p:nvSpPr>
              <p:spPr bwMode="auto">
                <a:xfrm rot="21349372">
                  <a:off x="3385607" y="1978025"/>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5" name="Rectangle 185"/>
                <p:cNvSpPr>
                  <a:spLocks noChangeArrowheads="1"/>
                </p:cNvSpPr>
                <p:nvPr/>
              </p:nvSpPr>
              <p:spPr bwMode="auto">
                <a:xfrm rot="21349372">
                  <a:off x="4177770" y="2859088"/>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6" name="Rectangle 186"/>
                <p:cNvSpPr>
                  <a:spLocks noChangeArrowheads="1"/>
                </p:cNvSpPr>
                <p:nvPr/>
              </p:nvSpPr>
              <p:spPr bwMode="auto">
                <a:xfrm>
                  <a:off x="4057120" y="3590925"/>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7" name="Rectangle 187"/>
                <p:cNvSpPr>
                  <a:spLocks noChangeArrowheads="1"/>
                </p:cNvSpPr>
                <p:nvPr/>
              </p:nvSpPr>
              <p:spPr bwMode="auto">
                <a:xfrm rot="21349372">
                  <a:off x="4677833" y="4329113"/>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8" name="Rectangle 188"/>
                <p:cNvSpPr>
                  <a:spLocks noChangeArrowheads="1"/>
                </p:cNvSpPr>
                <p:nvPr/>
              </p:nvSpPr>
              <p:spPr bwMode="auto">
                <a:xfrm rot="21349372">
                  <a:off x="2220382" y="3546475"/>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89" name="Rectangle 189"/>
                <p:cNvSpPr>
                  <a:spLocks noChangeArrowheads="1"/>
                </p:cNvSpPr>
                <p:nvPr/>
              </p:nvSpPr>
              <p:spPr bwMode="auto">
                <a:xfrm rot="21349372">
                  <a:off x="5617633" y="2516188"/>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0" name="Rectangle 190"/>
                <p:cNvSpPr>
                  <a:spLocks noChangeArrowheads="1"/>
                </p:cNvSpPr>
                <p:nvPr/>
              </p:nvSpPr>
              <p:spPr bwMode="auto">
                <a:xfrm rot="21349372">
                  <a:off x="2410765" y="2990101"/>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1" name="Rectangle 191"/>
                <p:cNvSpPr>
                  <a:spLocks noChangeArrowheads="1"/>
                </p:cNvSpPr>
                <p:nvPr/>
              </p:nvSpPr>
              <p:spPr bwMode="auto">
                <a:xfrm rot="21349372">
                  <a:off x="6544733" y="3500438"/>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2" name="Rectangle 194"/>
                <p:cNvSpPr>
                  <a:spLocks noChangeArrowheads="1"/>
                </p:cNvSpPr>
                <p:nvPr/>
              </p:nvSpPr>
              <p:spPr bwMode="auto">
                <a:xfrm rot="21349372">
                  <a:off x="6559021" y="3344863"/>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3" name="Rectangle 195"/>
                <p:cNvSpPr>
                  <a:spLocks noChangeArrowheads="1"/>
                </p:cNvSpPr>
                <p:nvPr/>
              </p:nvSpPr>
              <p:spPr bwMode="auto">
                <a:xfrm rot="21349372">
                  <a:off x="7135490" y="4469284"/>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4" name="Rectangle 196"/>
                <p:cNvSpPr>
                  <a:spLocks noChangeArrowheads="1"/>
                </p:cNvSpPr>
                <p:nvPr/>
              </p:nvSpPr>
              <p:spPr bwMode="auto">
                <a:xfrm rot="21349372">
                  <a:off x="4103158" y="4949825"/>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5" name="Rectangle 197"/>
                <p:cNvSpPr>
                  <a:spLocks noChangeArrowheads="1"/>
                </p:cNvSpPr>
                <p:nvPr/>
              </p:nvSpPr>
              <p:spPr bwMode="auto">
                <a:xfrm rot="21349372">
                  <a:off x="2228320" y="3941763"/>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6" name="Rectangle 198"/>
                <p:cNvSpPr>
                  <a:spLocks noChangeArrowheads="1"/>
                </p:cNvSpPr>
                <p:nvPr/>
              </p:nvSpPr>
              <p:spPr bwMode="auto">
                <a:xfrm rot="21349372">
                  <a:off x="3542770" y="2776538"/>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7" name="Rectangle 199"/>
                <p:cNvSpPr>
                  <a:spLocks noChangeArrowheads="1"/>
                </p:cNvSpPr>
                <p:nvPr/>
              </p:nvSpPr>
              <p:spPr bwMode="auto">
                <a:xfrm>
                  <a:off x="5536670" y="4530725"/>
                  <a:ext cx="46038" cy="4603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8" name="Oval 233"/>
                <p:cNvSpPr>
                  <a:spLocks noChangeArrowheads="1"/>
                </p:cNvSpPr>
                <p:nvPr>
                  <p:custDataLst>
                    <p:tags r:id="rId23"/>
                  </p:custDataLst>
                </p:nvPr>
              </p:nvSpPr>
              <p:spPr bwMode="auto">
                <a:xfrm>
                  <a:off x="5596996" y="281463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99" name="Oval 234"/>
                <p:cNvSpPr>
                  <a:spLocks noChangeArrowheads="1"/>
                </p:cNvSpPr>
                <p:nvPr>
                  <p:custDataLst>
                    <p:tags r:id="rId24"/>
                  </p:custDataLst>
                </p:nvPr>
              </p:nvSpPr>
              <p:spPr bwMode="auto">
                <a:xfrm>
                  <a:off x="6336771" y="421798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0" name="Oval 235"/>
                <p:cNvSpPr>
                  <a:spLocks noChangeArrowheads="1"/>
                </p:cNvSpPr>
                <p:nvPr>
                  <p:custDataLst>
                    <p:tags r:id="rId25"/>
                  </p:custDataLst>
                </p:nvPr>
              </p:nvSpPr>
              <p:spPr bwMode="auto">
                <a:xfrm>
                  <a:off x="4119032" y="3224213"/>
                  <a:ext cx="44450" cy="46037"/>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1" name="Oval 236"/>
                <p:cNvSpPr>
                  <a:spLocks noChangeArrowheads="1"/>
                </p:cNvSpPr>
                <p:nvPr>
                  <p:custDataLst>
                    <p:tags r:id="rId26"/>
                  </p:custDataLst>
                </p:nvPr>
              </p:nvSpPr>
              <p:spPr bwMode="auto">
                <a:xfrm>
                  <a:off x="3699932" y="2933700"/>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2" name="Oval 237"/>
                <p:cNvSpPr>
                  <a:spLocks noChangeArrowheads="1"/>
                </p:cNvSpPr>
                <p:nvPr>
                  <p:custDataLst>
                    <p:tags r:id="rId27"/>
                  </p:custDataLst>
                </p:nvPr>
              </p:nvSpPr>
              <p:spPr bwMode="auto">
                <a:xfrm>
                  <a:off x="5058833" y="3298825"/>
                  <a:ext cx="46038" cy="46038"/>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3" name="Oval 238"/>
                <p:cNvSpPr>
                  <a:spLocks noChangeArrowheads="1"/>
                </p:cNvSpPr>
                <p:nvPr>
                  <p:custDataLst>
                    <p:tags r:id="rId28"/>
                  </p:custDataLst>
                </p:nvPr>
              </p:nvSpPr>
              <p:spPr bwMode="auto">
                <a:xfrm>
                  <a:off x="3155420" y="247173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4" name="Oval 239"/>
                <p:cNvSpPr>
                  <a:spLocks noChangeArrowheads="1"/>
                </p:cNvSpPr>
                <p:nvPr>
                  <p:custDataLst>
                    <p:tags r:id="rId29"/>
                  </p:custDataLst>
                </p:nvPr>
              </p:nvSpPr>
              <p:spPr bwMode="auto">
                <a:xfrm>
                  <a:off x="3655482" y="3397250"/>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5" name="Oval 240"/>
                <p:cNvSpPr>
                  <a:spLocks noChangeArrowheads="1"/>
                </p:cNvSpPr>
                <p:nvPr>
                  <p:custDataLst>
                    <p:tags r:id="rId30"/>
                  </p:custDataLst>
                </p:nvPr>
              </p:nvSpPr>
              <p:spPr bwMode="auto">
                <a:xfrm>
                  <a:off x="3266545" y="3649663"/>
                  <a:ext cx="44450" cy="46037"/>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6" name="Oval 241"/>
                <p:cNvSpPr>
                  <a:spLocks noChangeArrowheads="1"/>
                </p:cNvSpPr>
                <p:nvPr>
                  <p:custDataLst>
                    <p:tags r:id="rId31"/>
                  </p:custDataLst>
                </p:nvPr>
              </p:nvSpPr>
              <p:spPr bwMode="auto">
                <a:xfrm>
                  <a:off x="6149446" y="2701925"/>
                  <a:ext cx="46037" cy="46038"/>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7" name="Oval 242"/>
                <p:cNvSpPr>
                  <a:spLocks noChangeArrowheads="1"/>
                </p:cNvSpPr>
                <p:nvPr>
                  <p:custDataLst>
                    <p:tags r:id="rId32"/>
                  </p:custDataLst>
                </p:nvPr>
              </p:nvSpPr>
              <p:spPr bwMode="auto">
                <a:xfrm>
                  <a:off x="5552546" y="2195513"/>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8" name="Oval 243"/>
                <p:cNvSpPr>
                  <a:spLocks noChangeArrowheads="1"/>
                </p:cNvSpPr>
                <p:nvPr>
                  <p:custDataLst>
                    <p:tags r:id="rId33"/>
                  </p:custDataLst>
                </p:nvPr>
              </p:nvSpPr>
              <p:spPr bwMode="auto">
                <a:xfrm>
                  <a:off x="5566833" y="5038725"/>
                  <a:ext cx="46038"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09" name="Oval 244"/>
                <p:cNvSpPr>
                  <a:spLocks noChangeArrowheads="1"/>
                </p:cNvSpPr>
                <p:nvPr>
                  <p:custDataLst>
                    <p:tags r:id="rId34"/>
                  </p:custDataLst>
                </p:nvPr>
              </p:nvSpPr>
              <p:spPr bwMode="auto">
                <a:xfrm>
                  <a:off x="3282420" y="3762375"/>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0" name="Oval 245"/>
                <p:cNvSpPr>
                  <a:spLocks noChangeArrowheads="1"/>
                </p:cNvSpPr>
                <p:nvPr>
                  <p:custDataLst>
                    <p:tags r:id="rId35"/>
                  </p:custDataLst>
                </p:nvPr>
              </p:nvSpPr>
              <p:spPr bwMode="auto">
                <a:xfrm>
                  <a:off x="6381221" y="456088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1" name="Oval 247"/>
                <p:cNvSpPr>
                  <a:spLocks noChangeArrowheads="1"/>
                </p:cNvSpPr>
                <p:nvPr>
                  <p:custDataLst>
                    <p:tags r:id="rId36"/>
                  </p:custDataLst>
                </p:nvPr>
              </p:nvSpPr>
              <p:spPr bwMode="auto">
                <a:xfrm>
                  <a:off x="4439707" y="477678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2" name="Oval 248"/>
                <p:cNvSpPr>
                  <a:spLocks noChangeArrowheads="1"/>
                </p:cNvSpPr>
                <p:nvPr>
                  <p:custDataLst>
                    <p:tags r:id="rId37"/>
                  </p:custDataLst>
                </p:nvPr>
              </p:nvSpPr>
              <p:spPr bwMode="auto">
                <a:xfrm>
                  <a:off x="2714095" y="4292600"/>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3" name="Oval 249"/>
                <p:cNvSpPr>
                  <a:spLocks noChangeArrowheads="1"/>
                </p:cNvSpPr>
                <p:nvPr>
                  <p:custDataLst>
                    <p:tags r:id="rId38"/>
                  </p:custDataLst>
                </p:nvPr>
              </p:nvSpPr>
              <p:spPr bwMode="auto">
                <a:xfrm>
                  <a:off x="4028545" y="234473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4" name="Oval 250"/>
                <p:cNvSpPr>
                  <a:spLocks noChangeArrowheads="1"/>
                </p:cNvSpPr>
                <p:nvPr>
                  <p:custDataLst>
                    <p:tags r:id="rId39"/>
                  </p:custDataLst>
                </p:nvPr>
              </p:nvSpPr>
              <p:spPr bwMode="auto">
                <a:xfrm>
                  <a:off x="5044546" y="4179888"/>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5" name="Oval 251"/>
                <p:cNvSpPr>
                  <a:spLocks noChangeArrowheads="1"/>
                </p:cNvSpPr>
                <p:nvPr>
                  <p:custDataLst>
                    <p:tags r:id="rId40"/>
                  </p:custDataLst>
                </p:nvPr>
              </p:nvSpPr>
              <p:spPr bwMode="auto">
                <a:xfrm>
                  <a:off x="6901809" y="3572869"/>
                  <a:ext cx="44450"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16" name="Oval 252"/>
                <p:cNvSpPr>
                  <a:spLocks noChangeArrowheads="1"/>
                </p:cNvSpPr>
                <p:nvPr>
                  <p:custDataLst>
                    <p:tags r:id="rId41"/>
                  </p:custDataLst>
                </p:nvPr>
              </p:nvSpPr>
              <p:spPr bwMode="auto">
                <a:xfrm>
                  <a:off x="3639607" y="4367213"/>
                  <a:ext cx="46038" cy="44450"/>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grpSp>
          <p:grpSp>
            <p:nvGrpSpPr>
              <p:cNvPr id="31" name="Group 30"/>
              <p:cNvGrpSpPr/>
              <p:nvPr/>
            </p:nvGrpSpPr>
            <p:grpSpPr>
              <a:xfrm>
                <a:off x="416714" y="2289069"/>
                <a:ext cx="3841873" cy="2931044"/>
                <a:chOff x="2181947" y="1181450"/>
                <a:chExt cx="5087878" cy="3881649"/>
              </a:xfrm>
              <a:noFill/>
            </p:grpSpPr>
            <p:sp>
              <p:nvSpPr>
                <p:cNvPr id="32" name="Rectangle 200"/>
                <p:cNvSpPr>
                  <a:spLocks noChangeArrowheads="1"/>
                </p:cNvSpPr>
                <p:nvPr/>
              </p:nvSpPr>
              <p:spPr bwMode="auto">
                <a:xfrm>
                  <a:off x="2430065" y="3247296"/>
                  <a:ext cx="340974"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Arad</a:t>
                  </a:r>
                </a:p>
              </p:txBody>
            </p:sp>
            <p:sp>
              <p:nvSpPr>
                <p:cNvPr id="33" name="Rectangle 201"/>
                <p:cNvSpPr>
                  <a:spLocks noChangeArrowheads="1"/>
                </p:cNvSpPr>
                <p:nvPr/>
              </p:nvSpPr>
              <p:spPr bwMode="auto">
                <a:xfrm>
                  <a:off x="5697096" y="2568377"/>
                  <a:ext cx="423137" cy="198407"/>
                </a:xfrm>
                <a:prstGeom prst="rect">
                  <a:avLst/>
                </a:prstGeom>
                <a:grpFill/>
                <a:ln w="9525">
                  <a:noFill/>
                  <a:miter lim="800000"/>
                  <a:headEnd/>
                  <a:tailEnd/>
                </a:ln>
              </p:spPr>
              <p:txBody>
                <a:bodyPr wrap="none" lIns="0" tIns="0" rIns="0" bIns="0">
                  <a:spAutoFit/>
                </a:bodyPr>
                <a:lstStyle/>
                <a:p>
                  <a:r>
                    <a:rPr lang="de-DE" sz="1000" dirty="0">
                      <a:solidFill>
                        <a:srgbClr val="461450"/>
                      </a:solidFill>
                      <a:latin typeface="Cambria" panose="02040503050406030204" pitchFamily="18" charset="0"/>
                    </a:rPr>
                    <a:t>Bacau</a:t>
                  </a:r>
                </a:p>
              </p:txBody>
            </p:sp>
            <p:sp>
              <p:nvSpPr>
                <p:cNvPr id="34" name="Rectangle 202"/>
                <p:cNvSpPr>
                  <a:spLocks noChangeArrowheads="1"/>
                </p:cNvSpPr>
                <p:nvPr/>
              </p:nvSpPr>
              <p:spPr bwMode="auto">
                <a:xfrm>
                  <a:off x="3677856" y="1654336"/>
                  <a:ext cx="704545"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Baia Mare</a:t>
                  </a:r>
                </a:p>
              </p:txBody>
            </p:sp>
            <p:sp>
              <p:nvSpPr>
                <p:cNvPr id="35" name="Rectangle 203"/>
                <p:cNvSpPr>
                  <a:spLocks noChangeArrowheads="1"/>
                </p:cNvSpPr>
                <p:nvPr/>
              </p:nvSpPr>
              <p:spPr bwMode="auto">
                <a:xfrm>
                  <a:off x="5268013" y="1181450"/>
                  <a:ext cx="616219"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Botosani</a:t>
                  </a:r>
                </a:p>
              </p:txBody>
            </p:sp>
            <p:sp>
              <p:nvSpPr>
                <p:cNvPr id="36" name="Rectangle 204"/>
                <p:cNvSpPr>
                  <a:spLocks noChangeArrowheads="1"/>
                </p:cNvSpPr>
                <p:nvPr/>
              </p:nvSpPr>
              <p:spPr bwMode="auto">
                <a:xfrm>
                  <a:off x="6425622" y="3603476"/>
                  <a:ext cx="419029"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Braila</a:t>
                  </a:r>
                </a:p>
              </p:txBody>
            </p:sp>
            <p:sp>
              <p:nvSpPr>
                <p:cNvPr id="37" name="Rectangle 205"/>
                <p:cNvSpPr>
                  <a:spLocks noChangeArrowheads="1"/>
                </p:cNvSpPr>
                <p:nvPr/>
              </p:nvSpPr>
              <p:spPr bwMode="auto">
                <a:xfrm>
                  <a:off x="4863671" y="3494752"/>
                  <a:ext cx="486813" cy="198407"/>
                </a:xfrm>
                <a:prstGeom prst="rect">
                  <a:avLst/>
                </a:prstGeom>
                <a:grpFill/>
                <a:ln w="9525">
                  <a:noFill/>
                  <a:miter lim="800000"/>
                  <a:headEnd/>
                  <a:tailEnd/>
                </a:ln>
              </p:spPr>
              <p:txBody>
                <a:bodyPr wrap="none" lIns="0" tIns="0" rIns="0" bIns="0">
                  <a:spAutoFit/>
                </a:bodyPr>
                <a:lstStyle/>
                <a:p>
                  <a:r>
                    <a:rPr lang="de-DE" sz="1000" dirty="0">
                      <a:solidFill>
                        <a:srgbClr val="461450"/>
                      </a:solidFill>
                      <a:latin typeface="Cambria" panose="02040503050406030204" pitchFamily="18" charset="0"/>
                    </a:rPr>
                    <a:t>Brasov</a:t>
                  </a:r>
                </a:p>
              </p:txBody>
            </p:sp>
            <p:sp>
              <p:nvSpPr>
                <p:cNvPr id="38" name="Rectangle 206"/>
                <p:cNvSpPr>
                  <a:spLocks noChangeArrowheads="1"/>
                </p:cNvSpPr>
                <p:nvPr/>
              </p:nvSpPr>
              <p:spPr bwMode="auto">
                <a:xfrm>
                  <a:off x="5229686" y="4568057"/>
                  <a:ext cx="706597" cy="198407"/>
                </a:xfrm>
                <a:prstGeom prst="rect">
                  <a:avLst/>
                </a:prstGeom>
                <a:grpFill/>
                <a:ln w="9525">
                  <a:noFill/>
                  <a:miter lim="800000"/>
                  <a:headEnd/>
                  <a:tailEnd/>
                </a:ln>
              </p:spPr>
              <p:txBody>
                <a:bodyPr wrap="none" lIns="0" tIns="0" rIns="0" bIns="0">
                  <a:spAutoFit/>
                </a:bodyPr>
                <a:lstStyle/>
                <a:p>
                  <a:r>
                    <a:rPr lang="de-DE" sz="1000" dirty="0">
                      <a:solidFill>
                        <a:srgbClr val="FF0000"/>
                      </a:solidFill>
                      <a:latin typeface="Cambria" panose="02040503050406030204" pitchFamily="18" charset="0"/>
                    </a:rPr>
                    <a:t>Bucharest</a:t>
                  </a:r>
                </a:p>
              </p:txBody>
            </p:sp>
            <p:sp>
              <p:nvSpPr>
                <p:cNvPr id="39" name="Rectangle 207"/>
                <p:cNvSpPr>
                  <a:spLocks noChangeArrowheads="1"/>
                </p:cNvSpPr>
                <p:nvPr/>
              </p:nvSpPr>
              <p:spPr bwMode="auto">
                <a:xfrm>
                  <a:off x="6002046" y="3805274"/>
                  <a:ext cx="435462"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Buzau</a:t>
                  </a:r>
                </a:p>
              </p:txBody>
            </p:sp>
            <p:sp>
              <p:nvSpPr>
                <p:cNvPr id="40" name="Rectangle 208"/>
                <p:cNvSpPr>
                  <a:spLocks noChangeArrowheads="1"/>
                </p:cNvSpPr>
                <p:nvPr/>
              </p:nvSpPr>
              <p:spPr bwMode="auto">
                <a:xfrm>
                  <a:off x="3221022" y="2622595"/>
                  <a:ext cx="814930" cy="188486"/>
                </a:xfrm>
                <a:prstGeom prst="rect">
                  <a:avLst/>
                </a:prstGeom>
                <a:grpFill/>
                <a:ln w="9525">
                  <a:noFill/>
                  <a:miter lim="800000"/>
                  <a:headEnd/>
                  <a:tailEnd/>
                </a:ln>
              </p:spPr>
              <p:txBody>
                <a:bodyPr wrap="none" lIns="0" tIns="0" rIns="0" bIns="0">
                  <a:spAutoFit/>
                </a:bodyPr>
                <a:lstStyle/>
                <a:p>
                  <a:r>
                    <a:rPr lang="de-DE" sz="1000" dirty="0">
                      <a:solidFill>
                        <a:srgbClr val="FF0000"/>
                      </a:solidFill>
                      <a:latin typeface="Cambria" panose="02040503050406030204" pitchFamily="18" charset="0"/>
                    </a:rPr>
                    <a:t>Cluj-Napoca</a:t>
                  </a:r>
                </a:p>
              </p:txBody>
            </p:sp>
            <p:sp>
              <p:nvSpPr>
                <p:cNvPr id="41" name="Rectangle 209"/>
                <p:cNvSpPr>
                  <a:spLocks noChangeArrowheads="1"/>
                </p:cNvSpPr>
                <p:nvPr/>
              </p:nvSpPr>
              <p:spPr bwMode="auto">
                <a:xfrm>
                  <a:off x="6578842" y="4582425"/>
                  <a:ext cx="678450" cy="188486"/>
                </a:xfrm>
                <a:prstGeom prst="rect">
                  <a:avLst/>
                </a:prstGeom>
                <a:grpFill/>
                <a:ln w="9525">
                  <a:noFill/>
                  <a:miter lim="800000"/>
                  <a:headEnd/>
                  <a:tailEnd/>
                </a:ln>
              </p:spPr>
              <p:txBody>
                <a:bodyPr wrap="none" lIns="0" tIns="0" rIns="0" bIns="0">
                  <a:spAutoFit/>
                </a:bodyPr>
                <a:lstStyle/>
                <a:p>
                  <a:pPr algn="r"/>
                  <a:r>
                    <a:rPr lang="de-DE" sz="1000" dirty="0">
                      <a:solidFill>
                        <a:srgbClr val="FF0000"/>
                      </a:solidFill>
                      <a:latin typeface="Cambria" panose="02040503050406030204" pitchFamily="18" charset="0"/>
                    </a:rPr>
                    <a:t>Constanta</a:t>
                  </a:r>
                </a:p>
              </p:txBody>
            </p:sp>
            <p:sp>
              <p:nvSpPr>
                <p:cNvPr id="42" name="Rectangle 210"/>
                <p:cNvSpPr>
                  <a:spLocks noChangeArrowheads="1"/>
                </p:cNvSpPr>
                <p:nvPr/>
              </p:nvSpPr>
              <p:spPr bwMode="auto">
                <a:xfrm>
                  <a:off x="3928697" y="4864692"/>
                  <a:ext cx="534056"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Craiova</a:t>
                  </a:r>
                </a:p>
              </p:txBody>
            </p:sp>
            <p:sp>
              <p:nvSpPr>
                <p:cNvPr id="43" name="Rectangle 211"/>
                <p:cNvSpPr>
                  <a:spLocks noChangeArrowheads="1"/>
                </p:cNvSpPr>
                <p:nvPr/>
              </p:nvSpPr>
              <p:spPr bwMode="auto">
                <a:xfrm>
                  <a:off x="3279363" y="4457836"/>
                  <a:ext cx="1628872"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Drobeta-Turnu Severin</a:t>
                  </a:r>
                </a:p>
              </p:txBody>
            </p:sp>
            <p:sp>
              <p:nvSpPr>
                <p:cNvPr id="44" name="Rectangle 212"/>
                <p:cNvSpPr>
                  <a:spLocks noChangeArrowheads="1"/>
                </p:cNvSpPr>
                <p:nvPr/>
              </p:nvSpPr>
              <p:spPr bwMode="auto">
                <a:xfrm>
                  <a:off x="5393085" y="3258101"/>
                  <a:ext cx="534056" cy="198407"/>
                </a:xfrm>
                <a:prstGeom prst="rect">
                  <a:avLst/>
                </a:prstGeom>
                <a:grpFill/>
                <a:ln w="9525">
                  <a:noFill/>
                  <a:miter lim="800000"/>
                  <a:headEnd/>
                  <a:tailEnd/>
                </a:ln>
              </p:spPr>
              <p:txBody>
                <a:bodyPr wrap="none" lIns="0" tIns="0" rIns="0" bIns="0">
                  <a:spAutoFit/>
                </a:bodyPr>
                <a:lstStyle/>
                <a:p>
                  <a:pPr algn="r"/>
                  <a:r>
                    <a:rPr lang="de-DE" sz="1000" b="0" dirty="0">
                      <a:solidFill>
                        <a:srgbClr val="461450"/>
                      </a:solidFill>
                      <a:latin typeface="Cambria" panose="02040503050406030204" pitchFamily="18" charset="0"/>
                    </a:rPr>
                    <a:t>Focsani</a:t>
                  </a:r>
                </a:p>
              </p:txBody>
            </p:sp>
            <p:sp>
              <p:nvSpPr>
                <p:cNvPr id="45" name="Rectangle 213"/>
                <p:cNvSpPr>
                  <a:spLocks noChangeArrowheads="1"/>
                </p:cNvSpPr>
                <p:nvPr/>
              </p:nvSpPr>
              <p:spPr bwMode="auto">
                <a:xfrm>
                  <a:off x="6222577" y="3271916"/>
                  <a:ext cx="406705" cy="198407"/>
                </a:xfrm>
                <a:prstGeom prst="rect">
                  <a:avLst/>
                </a:prstGeom>
                <a:grpFill/>
                <a:ln w="9525">
                  <a:noFill/>
                  <a:miter lim="800000"/>
                  <a:headEnd/>
                  <a:tailEnd/>
                </a:ln>
              </p:spPr>
              <p:txBody>
                <a:bodyPr wrap="none" lIns="0" tIns="0" rIns="0" bIns="0">
                  <a:spAutoFit/>
                </a:bodyPr>
                <a:lstStyle/>
                <a:p>
                  <a:pPr algn="r"/>
                  <a:r>
                    <a:rPr lang="de-DE" sz="1000" b="0" dirty="0">
                      <a:solidFill>
                        <a:srgbClr val="461450"/>
                      </a:solidFill>
                      <a:latin typeface="Cambria" panose="02040503050406030204" pitchFamily="18" charset="0"/>
                    </a:rPr>
                    <a:t>Galati</a:t>
                  </a:r>
                </a:p>
              </p:txBody>
            </p:sp>
            <p:sp>
              <p:nvSpPr>
                <p:cNvPr id="46" name="Rectangle 214"/>
                <p:cNvSpPr>
                  <a:spLocks noChangeArrowheads="1"/>
                </p:cNvSpPr>
                <p:nvPr/>
              </p:nvSpPr>
              <p:spPr bwMode="auto">
                <a:xfrm>
                  <a:off x="2478551" y="2824616"/>
                  <a:ext cx="505300"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Oradea</a:t>
                  </a:r>
                </a:p>
              </p:txBody>
            </p:sp>
            <p:sp>
              <p:nvSpPr>
                <p:cNvPr id="47" name="Rectangle 215"/>
                <p:cNvSpPr>
                  <a:spLocks noChangeArrowheads="1"/>
                </p:cNvSpPr>
                <p:nvPr/>
              </p:nvSpPr>
              <p:spPr bwMode="auto">
                <a:xfrm>
                  <a:off x="4766531" y="2034219"/>
                  <a:ext cx="920351" cy="198407"/>
                </a:xfrm>
                <a:prstGeom prst="rect">
                  <a:avLst/>
                </a:prstGeom>
                <a:grpFill/>
                <a:ln w="9525">
                  <a:noFill/>
                  <a:miter lim="800000"/>
                  <a:headEnd/>
                  <a:tailEnd/>
                </a:ln>
              </p:spPr>
              <p:txBody>
                <a:bodyPr wrap="square" lIns="0" tIns="0" rIns="0" bIns="0">
                  <a:spAutoFit/>
                </a:bodyPr>
                <a:lstStyle/>
                <a:p>
                  <a:r>
                    <a:rPr lang="de-DE" sz="1000" b="0" dirty="0">
                      <a:solidFill>
                        <a:srgbClr val="461450"/>
                      </a:solidFill>
                      <a:latin typeface="Cambria" panose="02040503050406030204" pitchFamily="18" charset="0"/>
                    </a:rPr>
                    <a:t>Piatra Neamt</a:t>
                  </a:r>
                </a:p>
              </p:txBody>
            </p:sp>
            <p:sp>
              <p:nvSpPr>
                <p:cNvPr id="48" name="Rectangle 216"/>
                <p:cNvSpPr>
                  <a:spLocks noChangeArrowheads="1"/>
                </p:cNvSpPr>
                <p:nvPr/>
              </p:nvSpPr>
              <p:spPr bwMode="auto">
                <a:xfrm>
                  <a:off x="4682807" y="4309760"/>
                  <a:ext cx="443678"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Pitesti</a:t>
                  </a:r>
                </a:p>
              </p:txBody>
            </p:sp>
            <p:sp>
              <p:nvSpPr>
                <p:cNvPr id="49" name="Rectangle 217"/>
                <p:cNvSpPr>
                  <a:spLocks noChangeArrowheads="1"/>
                </p:cNvSpPr>
                <p:nvPr/>
              </p:nvSpPr>
              <p:spPr bwMode="auto">
                <a:xfrm>
                  <a:off x="5481250" y="3897257"/>
                  <a:ext cx="519678"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Ploiesti</a:t>
                  </a:r>
                </a:p>
              </p:txBody>
            </p:sp>
            <p:sp>
              <p:nvSpPr>
                <p:cNvPr id="50" name="Rectangle 218"/>
                <p:cNvSpPr>
                  <a:spLocks noChangeArrowheads="1"/>
                </p:cNvSpPr>
                <p:nvPr/>
              </p:nvSpPr>
              <p:spPr bwMode="auto">
                <a:xfrm>
                  <a:off x="3962273" y="3851499"/>
                  <a:ext cx="1113302"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Ramnicu Valcea</a:t>
                  </a:r>
                </a:p>
              </p:txBody>
            </p:sp>
            <p:sp>
              <p:nvSpPr>
                <p:cNvPr id="51" name="Rectangle 219"/>
                <p:cNvSpPr>
                  <a:spLocks noChangeArrowheads="1"/>
                </p:cNvSpPr>
                <p:nvPr/>
              </p:nvSpPr>
              <p:spPr bwMode="auto">
                <a:xfrm>
                  <a:off x="2969129" y="1823328"/>
                  <a:ext cx="706597"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Satu Mare</a:t>
                  </a:r>
                </a:p>
              </p:txBody>
            </p:sp>
            <p:sp>
              <p:nvSpPr>
                <p:cNvPr id="52" name="Rectangle 220"/>
                <p:cNvSpPr>
                  <a:spLocks noChangeArrowheads="1"/>
                </p:cNvSpPr>
                <p:nvPr/>
              </p:nvSpPr>
              <p:spPr bwMode="auto">
                <a:xfrm>
                  <a:off x="4023732" y="3528756"/>
                  <a:ext cx="353299" cy="198407"/>
                </a:xfrm>
                <a:prstGeom prst="rect">
                  <a:avLst/>
                </a:prstGeom>
                <a:grpFill/>
                <a:ln w="9525">
                  <a:noFill/>
                  <a:miter lim="800000"/>
                  <a:headEnd/>
                  <a:tailEnd/>
                </a:ln>
              </p:spPr>
              <p:txBody>
                <a:bodyPr wrap="none" lIns="0" tIns="0" rIns="0" bIns="0">
                  <a:spAutoFit/>
                </a:bodyPr>
                <a:lstStyle/>
                <a:p>
                  <a:r>
                    <a:rPr lang="de-DE" sz="1000" dirty="0">
                      <a:solidFill>
                        <a:srgbClr val="461450"/>
                      </a:solidFill>
                      <a:latin typeface="Cambria" panose="02040503050406030204" pitchFamily="18" charset="0"/>
                    </a:rPr>
                    <a:t>Sibiu</a:t>
                  </a:r>
                </a:p>
              </p:txBody>
            </p:sp>
            <p:sp>
              <p:nvSpPr>
                <p:cNvPr id="53" name="Rectangle 221"/>
                <p:cNvSpPr>
                  <a:spLocks noChangeArrowheads="1"/>
                </p:cNvSpPr>
                <p:nvPr/>
              </p:nvSpPr>
              <p:spPr bwMode="auto">
                <a:xfrm>
                  <a:off x="4927387" y="1660122"/>
                  <a:ext cx="566921"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Suceava</a:t>
                  </a:r>
                </a:p>
              </p:txBody>
            </p:sp>
            <p:sp>
              <p:nvSpPr>
                <p:cNvPr id="54" name="Rectangle 222"/>
                <p:cNvSpPr>
                  <a:spLocks noChangeArrowheads="1"/>
                </p:cNvSpPr>
                <p:nvPr/>
              </p:nvSpPr>
              <p:spPr bwMode="auto">
                <a:xfrm>
                  <a:off x="4196928" y="2532034"/>
                  <a:ext cx="893666" cy="198407"/>
                </a:xfrm>
                <a:prstGeom prst="rect">
                  <a:avLst/>
                </a:prstGeom>
                <a:grpFill/>
                <a:ln w="9525">
                  <a:noFill/>
                  <a:miter lim="800000"/>
                  <a:headEnd/>
                  <a:tailEnd/>
                </a:ln>
              </p:spPr>
              <p:txBody>
                <a:bodyPr wrap="square" lIns="0" tIns="0" rIns="0" bIns="0">
                  <a:spAutoFit/>
                </a:bodyPr>
                <a:lstStyle/>
                <a:p>
                  <a:r>
                    <a:rPr lang="de-DE" sz="1000" b="0" dirty="0">
                      <a:solidFill>
                        <a:srgbClr val="461450"/>
                      </a:solidFill>
                      <a:latin typeface="Cambria" panose="02040503050406030204" pitchFamily="18" charset="0"/>
                    </a:rPr>
                    <a:t>Targu Mures</a:t>
                  </a:r>
                </a:p>
              </p:txBody>
            </p:sp>
            <p:sp>
              <p:nvSpPr>
                <p:cNvPr id="55" name="Rectangle 223"/>
                <p:cNvSpPr>
                  <a:spLocks noChangeArrowheads="1"/>
                </p:cNvSpPr>
                <p:nvPr/>
              </p:nvSpPr>
              <p:spPr bwMode="auto">
                <a:xfrm>
                  <a:off x="2181947" y="3717366"/>
                  <a:ext cx="682407" cy="188486"/>
                </a:xfrm>
                <a:prstGeom prst="rect">
                  <a:avLst/>
                </a:prstGeom>
                <a:grpFill/>
                <a:ln w="9525">
                  <a:noFill/>
                  <a:miter lim="800000"/>
                  <a:headEnd/>
                  <a:tailEnd/>
                </a:ln>
              </p:spPr>
              <p:txBody>
                <a:bodyPr wrap="none" lIns="0" tIns="0" rIns="0" bIns="0">
                  <a:spAutoFit/>
                </a:bodyPr>
                <a:lstStyle/>
                <a:p>
                  <a:r>
                    <a:rPr lang="de-DE" sz="1000" dirty="0">
                      <a:solidFill>
                        <a:srgbClr val="FF0000"/>
                      </a:solidFill>
                      <a:latin typeface="Cambria" panose="02040503050406030204" pitchFamily="18" charset="0"/>
                    </a:rPr>
                    <a:t>Timisoara</a:t>
                  </a:r>
                </a:p>
              </p:txBody>
            </p:sp>
            <p:sp>
              <p:nvSpPr>
                <p:cNvPr id="56" name="Rectangle 253"/>
                <p:cNvSpPr>
                  <a:spLocks noChangeArrowheads="1"/>
                </p:cNvSpPr>
                <p:nvPr>
                  <p:custDataLst>
                    <p:tags r:id="rId3"/>
                  </p:custDataLst>
                </p:nvPr>
              </p:nvSpPr>
              <p:spPr bwMode="auto">
                <a:xfrm>
                  <a:off x="3481874" y="3087281"/>
                  <a:ext cx="540219" cy="198407"/>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Alba</a:t>
                  </a:r>
                  <a:r>
                    <a:rPr lang="de-DE" sz="1000" b="0" dirty="0">
                      <a:solidFill>
                        <a:srgbClr val="461450"/>
                      </a:solidFill>
                      <a:latin typeface="Cambria" panose="02040503050406030204" pitchFamily="18" charset="0"/>
                    </a:rPr>
                    <a:t> </a:t>
                  </a:r>
                  <a:r>
                    <a:rPr lang="de-DE" sz="800" b="0" dirty="0">
                      <a:solidFill>
                        <a:srgbClr val="461450"/>
                      </a:solidFill>
                      <a:latin typeface="Cambria" panose="02040503050406030204" pitchFamily="18" charset="0"/>
                    </a:rPr>
                    <a:t>Iulia</a:t>
                  </a:r>
                </a:p>
              </p:txBody>
            </p:sp>
            <p:sp>
              <p:nvSpPr>
                <p:cNvPr id="57" name="Rectangle 254"/>
                <p:cNvSpPr>
                  <a:spLocks noChangeArrowheads="1"/>
                </p:cNvSpPr>
                <p:nvPr>
                  <p:custDataLst>
                    <p:tags r:id="rId4"/>
                  </p:custDataLst>
                </p:nvPr>
              </p:nvSpPr>
              <p:spPr bwMode="auto">
                <a:xfrm>
                  <a:off x="6249617" y="2584858"/>
                  <a:ext cx="343029"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Birlad</a:t>
                  </a:r>
                </a:p>
              </p:txBody>
            </p:sp>
            <p:sp>
              <p:nvSpPr>
                <p:cNvPr id="58" name="Rectangle 255"/>
                <p:cNvSpPr>
                  <a:spLocks noChangeArrowheads="1"/>
                </p:cNvSpPr>
                <p:nvPr>
                  <p:custDataLst>
                    <p:tags r:id="rId5"/>
                  </p:custDataLst>
                </p:nvPr>
              </p:nvSpPr>
              <p:spPr bwMode="auto">
                <a:xfrm>
                  <a:off x="4067220" y="2043131"/>
                  <a:ext cx="419029"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Bistrita</a:t>
                  </a:r>
                </a:p>
              </p:txBody>
            </p:sp>
            <p:sp>
              <p:nvSpPr>
                <p:cNvPr id="59" name="Rectangle 256"/>
                <p:cNvSpPr>
                  <a:spLocks noChangeArrowheads="1"/>
                </p:cNvSpPr>
                <p:nvPr>
                  <p:custDataLst>
                    <p:tags r:id="rId6"/>
                  </p:custDataLst>
                </p:nvPr>
              </p:nvSpPr>
              <p:spPr bwMode="auto">
                <a:xfrm>
                  <a:off x="6279519" y="4451344"/>
                  <a:ext cx="447786"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Calarasi</a:t>
                  </a:r>
                </a:p>
              </p:txBody>
            </p:sp>
            <p:sp>
              <p:nvSpPr>
                <p:cNvPr id="60" name="Rectangle 257"/>
                <p:cNvSpPr>
                  <a:spLocks noChangeArrowheads="1"/>
                </p:cNvSpPr>
                <p:nvPr>
                  <p:custDataLst>
                    <p:tags r:id="rId7"/>
                  </p:custDataLst>
                </p:nvPr>
              </p:nvSpPr>
              <p:spPr bwMode="auto">
                <a:xfrm>
                  <a:off x="3183651" y="3294205"/>
                  <a:ext cx="279352"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Deva</a:t>
                  </a:r>
                </a:p>
              </p:txBody>
            </p:sp>
            <p:sp>
              <p:nvSpPr>
                <p:cNvPr id="61" name="Rectangle 258"/>
                <p:cNvSpPr>
                  <a:spLocks noChangeArrowheads="1"/>
                </p:cNvSpPr>
                <p:nvPr>
                  <p:custDataLst>
                    <p:tags r:id="rId8"/>
                  </p:custDataLst>
                </p:nvPr>
              </p:nvSpPr>
              <p:spPr bwMode="auto">
                <a:xfrm>
                  <a:off x="5261147" y="4841401"/>
                  <a:ext cx="416975"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Giurgiu</a:t>
                  </a:r>
                </a:p>
              </p:txBody>
            </p:sp>
            <p:sp>
              <p:nvSpPr>
                <p:cNvPr id="62" name="Rectangle 259"/>
                <p:cNvSpPr>
                  <a:spLocks noChangeArrowheads="1"/>
                </p:cNvSpPr>
                <p:nvPr>
                  <p:custDataLst>
                    <p:tags r:id="rId9"/>
                  </p:custDataLst>
                </p:nvPr>
              </p:nvSpPr>
              <p:spPr bwMode="auto">
                <a:xfrm>
                  <a:off x="3389462" y="3658985"/>
                  <a:ext cx="624435"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Hunedoara</a:t>
                  </a:r>
                </a:p>
              </p:txBody>
            </p:sp>
            <p:sp>
              <p:nvSpPr>
                <p:cNvPr id="63" name="Rectangle 260"/>
                <p:cNvSpPr>
                  <a:spLocks noChangeArrowheads="1"/>
                </p:cNvSpPr>
                <p:nvPr>
                  <p:custDataLst>
                    <p:tags r:id="rId10"/>
                  </p:custDataLst>
                </p:nvPr>
              </p:nvSpPr>
              <p:spPr bwMode="auto">
                <a:xfrm>
                  <a:off x="4181567" y="2944283"/>
                  <a:ext cx="402597"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Medias</a:t>
                  </a:r>
                </a:p>
              </p:txBody>
            </p:sp>
            <p:sp>
              <p:nvSpPr>
                <p:cNvPr id="64" name="Rectangle 261"/>
                <p:cNvSpPr>
                  <a:spLocks noChangeArrowheads="1"/>
                </p:cNvSpPr>
                <p:nvPr>
                  <p:custDataLst>
                    <p:tags r:id="rId11"/>
                  </p:custDataLst>
                </p:nvPr>
              </p:nvSpPr>
              <p:spPr bwMode="auto">
                <a:xfrm>
                  <a:off x="5667745" y="2847148"/>
                  <a:ext cx="363570"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Onesti</a:t>
                  </a:r>
                </a:p>
              </p:txBody>
            </p:sp>
            <p:sp>
              <p:nvSpPr>
                <p:cNvPr id="65" name="Rectangle 262"/>
                <p:cNvSpPr>
                  <a:spLocks noChangeArrowheads="1"/>
                </p:cNvSpPr>
                <p:nvPr>
                  <p:custDataLst>
                    <p:tags r:id="rId12"/>
                  </p:custDataLst>
                </p:nvPr>
              </p:nvSpPr>
              <p:spPr bwMode="auto">
                <a:xfrm>
                  <a:off x="2699811" y="4096940"/>
                  <a:ext cx="349190"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Resita</a:t>
                  </a:r>
                </a:p>
              </p:txBody>
            </p:sp>
            <p:sp>
              <p:nvSpPr>
                <p:cNvPr id="66" name="Rectangle 263"/>
                <p:cNvSpPr>
                  <a:spLocks noChangeArrowheads="1"/>
                </p:cNvSpPr>
                <p:nvPr>
                  <p:custDataLst>
                    <p:tags r:id="rId13"/>
                  </p:custDataLst>
                </p:nvPr>
              </p:nvSpPr>
              <p:spPr bwMode="auto">
                <a:xfrm>
                  <a:off x="5704329" y="2036345"/>
                  <a:ext cx="425070" cy="158726"/>
                </a:xfrm>
                <a:prstGeom prst="rect">
                  <a:avLst/>
                </a:prstGeom>
                <a:grpFill/>
                <a:ln w="9525">
                  <a:noFill/>
                  <a:miter lim="800000"/>
                  <a:headEnd/>
                  <a:tailEnd/>
                </a:ln>
              </p:spPr>
              <p:txBody>
                <a:bodyPr wrap="square" lIns="0" tIns="0" rIns="0" bIns="0">
                  <a:spAutoFit/>
                </a:bodyPr>
                <a:lstStyle/>
                <a:p>
                  <a:r>
                    <a:rPr lang="de-DE" sz="800" b="0" dirty="0">
                      <a:solidFill>
                        <a:srgbClr val="461450"/>
                      </a:solidFill>
                      <a:latin typeface="Cambria" panose="02040503050406030204" pitchFamily="18" charset="0"/>
                    </a:rPr>
                    <a:t>Roman</a:t>
                  </a:r>
                </a:p>
              </p:txBody>
            </p:sp>
            <p:sp>
              <p:nvSpPr>
                <p:cNvPr id="67" name="Rectangle 264"/>
                <p:cNvSpPr>
                  <a:spLocks noChangeArrowheads="1"/>
                </p:cNvSpPr>
                <p:nvPr>
                  <p:custDataLst>
                    <p:tags r:id="rId14"/>
                  </p:custDataLst>
                </p:nvPr>
              </p:nvSpPr>
              <p:spPr bwMode="auto">
                <a:xfrm>
                  <a:off x="4719808" y="3059322"/>
                  <a:ext cx="1209843" cy="198407"/>
                </a:xfrm>
                <a:prstGeom prst="rect">
                  <a:avLst/>
                </a:prstGeom>
                <a:grpFill/>
                <a:ln w="9525">
                  <a:noFill/>
                  <a:miter lim="800000"/>
                  <a:headEnd/>
                  <a:tailEnd/>
                </a:ln>
              </p:spPr>
              <p:txBody>
                <a:bodyPr wrap="none" lIns="0" tIns="0" rIns="0" bIns="0">
                  <a:spAutoFit/>
                </a:bodyPr>
                <a:lstStyle/>
                <a:p>
                  <a:r>
                    <a:rPr lang="de-DE" sz="1000" b="0" dirty="0">
                      <a:solidFill>
                        <a:srgbClr val="461450"/>
                      </a:solidFill>
                      <a:latin typeface="Cambria" panose="02040503050406030204" pitchFamily="18" charset="0"/>
                    </a:rPr>
                    <a:t>Sfantul Gheorghe</a:t>
                  </a:r>
                </a:p>
              </p:txBody>
            </p:sp>
            <p:sp>
              <p:nvSpPr>
                <p:cNvPr id="68" name="Rectangle 265"/>
                <p:cNvSpPr>
                  <a:spLocks noChangeArrowheads="1"/>
                </p:cNvSpPr>
                <p:nvPr>
                  <p:custDataLst>
                    <p:tags r:id="rId15"/>
                  </p:custDataLst>
                </p:nvPr>
              </p:nvSpPr>
              <p:spPr bwMode="auto">
                <a:xfrm>
                  <a:off x="4362714" y="4733011"/>
                  <a:ext cx="384110"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Slatina</a:t>
                  </a:r>
                </a:p>
              </p:txBody>
            </p:sp>
            <p:sp>
              <p:nvSpPr>
                <p:cNvPr id="69" name="Rectangle 266"/>
                <p:cNvSpPr>
                  <a:spLocks noChangeArrowheads="1"/>
                </p:cNvSpPr>
                <p:nvPr>
                  <p:custDataLst>
                    <p:tags r:id="rId16"/>
                  </p:custDataLst>
                </p:nvPr>
              </p:nvSpPr>
              <p:spPr bwMode="auto">
                <a:xfrm>
                  <a:off x="6286570" y="4096940"/>
                  <a:ext cx="472435"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Slobozia</a:t>
                  </a:r>
                </a:p>
              </p:txBody>
            </p:sp>
            <p:sp>
              <p:nvSpPr>
                <p:cNvPr id="70" name="Rectangle 267"/>
                <p:cNvSpPr>
                  <a:spLocks noChangeArrowheads="1"/>
                </p:cNvSpPr>
                <p:nvPr>
                  <p:custDataLst>
                    <p:tags r:id="rId17"/>
                  </p:custDataLst>
                </p:nvPr>
              </p:nvSpPr>
              <p:spPr bwMode="auto">
                <a:xfrm>
                  <a:off x="4840839" y="4001055"/>
                  <a:ext cx="599786"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Targoviste</a:t>
                  </a:r>
                </a:p>
              </p:txBody>
            </p:sp>
            <p:sp>
              <p:nvSpPr>
                <p:cNvPr id="71" name="Rectangle 268"/>
                <p:cNvSpPr>
                  <a:spLocks noChangeArrowheads="1"/>
                </p:cNvSpPr>
                <p:nvPr>
                  <p:custDataLst>
                    <p:tags r:id="rId18"/>
                  </p:custDataLst>
                </p:nvPr>
              </p:nvSpPr>
              <p:spPr bwMode="auto">
                <a:xfrm>
                  <a:off x="3500362" y="4027633"/>
                  <a:ext cx="519678" cy="198407"/>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Targu</a:t>
                  </a:r>
                  <a:r>
                    <a:rPr lang="de-DE" sz="1000" b="0" dirty="0">
                      <a:solidFill>
                        <a:srgbClr val="461450"/>
                      </a:solidFill>
                      <a:latin typeface="Cambria" panose="02040503050406030204" pitchFamily="18" charset="0"/>
                    </a:rPr>
                    <a:t> </a:t>
                  </a:r>
                  <a:r>
                    <a:rPr lang="de-DE" sz="800" b="0" dirty="0">
                      <a:solidFill>
                        <a:srgbClr val="461450"/>
                      </a:solidFill>
                      <a:latin typeface="Cambria" panose="02040503050406030204" pitchFamily="18" charset="0"/>
                    </a:rPr>
                    <a:t>Jiu</a:t>
                  </a:r>
                </a:p>
              </p:txBody>
            </p:sp>
            <p:sp>
              <p:nvSpPr>
                <p:cNvPr id="72" name="Rectangle 269"/>
                <p:cNvSpPr>
                  <a:spLocks noChangeArrowheads="1"/>
                </p:cNvSpPr>
                <p:nvPr>
                  <p:custDataLst>
                    <p:tags r:id="rId19"/>
                  </p:custDataLst>
                </p:nvPr>
              </p:nvSpPr>
              <p:spPr bwMode="auto">
                <a:xfrm>
                  <a:off x="6862301" y="3695143"/>
                  <a:ext cx="407524" cy="158726"/>
                </a:xfrm>
                <a:prstGeom prst="rect">
                  <a:avLst/>
                </a:prstGeom>
                <a:grpFill/>
                <a:ln w="9525">
                  <a:noFill/>
                  <a:miter lim="800000"/>
                  <a:headEnd/>
                  <a:tailEnd/>
                </a:ln>
              </p:spPr>
              <p:txBody>
                <a:bodyPr wrap="square" lIns="0" tIns="0" rIns="0" bIns="0">
                  <a:spAutoFit/>
                </a:bodyPr>
                <a:lstStyle/>
                <a:p>
                  <a:r>
                    <a:rPr lang="de-DE" sz="800" b="0" dirty="0">
                      <a:solidFill>
                        <a:srgbClr val="461450"/>
                      </a:solidFill>
                      <a:latin typeface="Cambria" panose="02040503050406030204" pitchFamily="18" charset="0"/>
                    </a:rPr>
                    <a:t>Tulcea</a:t>
                  </a:r>
                </a:p>
              </p:txBody>
            </p:sp>
            <p:sp>
              <p:nvSpPr>
                <p:cNvPr id="73" name="Rectangle 270"/>
                <p:cNvSpPr>
                  <a:spLocks noChangeArrowheads="1"/>
                </p:cNvSpPr>
                <p:nvPr>
                  <p:custDataLst>
                    <p:tags r:id="rId20"/>
                  </p:custDataLst>
                </p:nvPr>
              </p:nvSpPr>
              <p:spPr bwMode="auto">
                <a:xfrm>
                  <a:off x="3850946" y="2826272"/>
                  <a:ext cx="340974"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Turda</a:t>
                  </a:r>
                </a:p>
              </p:txBody>
            </p:sp>
            <p:sp>
              <p:nvSpPr>
                <p:cNvPr id="74" name="Rectangle 271"/>
                <p:cNvSpPr>
                  <a:spLocks noChangeArrowheads="1"/>
                </p:cNvSpPr>
                <p:nvPr>
                  <p:custDataLst>
                    <p:tags r:id="rId21"/>
                  </p:custDataLst>
                </p:nvPr>
              </p:nvSpPr>
              <p:spPr bwMode="auto">
                <a:xfrm>
                  <a:off x="6100644" y="2198712"/>
                  <a:ext cx="345082"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Vaslui</a:t>
                  </a:r>
                </a:p>
              </p:txBody>
            </p:sp>
            <p:sp>
              <p:nvSpPr>
                <p:cNvPr id="75" name="Rectangle 272"/>
                <p:cNvSpPr>
                  <a:spLocks noChangeArrowheads="1"/>
                </p:cNvSpPr>
                <p:nvPr>
                  <p:custDataLst>
                    <p:tags r:id="rId22"/>
                  </p:custDataLst>
                </p:nvPr>
              </p:nvSpPr>
              <p:spPr bwMode="auto">
                <a:xfrm>
                  <a:off x="3032592" y="2216091"/>
                  <a:ext cx="304001" cy="158726"/>
                </a:xfrm>
                <a:prstGeom prst="rect">
                  <a:avLst/>
                </a:prstGeom>
                <a:grpFill/>
                <a:ln w="9525">
                  <a:noFill/>
                  <a:miter lim="800000"/>
                  <a:headEnd/>
                  <a:tailEnd/>
                </a:ln>
              </p:spPr>
              <p:txBody>
                <a:bodyPr wrap="none" lIns="0" tIns="0" rIns="0" bIns="0">
                  <a:spAutoFit/>
                </a:bodyPr>
                <a:lstStyle/>
                <a:p>
                  <a:r>
                    <a:rPr lang="de-DE" sz="800" b="0" dirty="0">
                      <a:solidFill>
                        <a:srgbClr val="461450"/>
                      </a:solidFill>
                      <a:latin typeface="Cambria" panose="02040503050406030204" pitchFamily="18" charset="0"/>
                    </a:rPr>
                    <a:t>Zalau</a:t>
                  </a:r>
                </a:p>
              </p:txBody>
            </p:sp>
            <p:sp>
              <p:nvSpPr>
                <p:cNvPr id="76" name="Rectangle 221"/>
                <p:cNvSpPr>
                  <a:spLocks noChangeArrowheads="1"/>
                </p:cNvSpPr>
                <p:nvPr/>
              </p:nvSpPr>
              <p:spPr bwMode="auto">
                <a:xfrm>
                  <a:off x="5629880" y="1724327"/>
                  <a:ext cx="239337" cy="188486"/>
                </a:xfrm>
                <a:prstGeom prst="rect">
                  <a:avLst/>
                </a:prstGeom>
                <a:grpFill/>
                <a:ln w="9525">
                  <a:noFill/>
                  <a:miter lim="800000"/>
                  <a:headEnd/>
                  <a:tailEnd/>
                </a:ln>
              </p:spPr>
              <p:txBody>
                <a:bodyPr wrap="none" lIns="0" tIns="0" rIns="0" bIns="0">
                  <a:spAutoFit/>
                </a:bodyPr>
                <a:lstStyle/>
                <a:p>
                  <a:r>
                    <a:rPr lang="de-DE" sz="1000" dirty="0">
                      <a:solidFill>
                        <a:srgbClr val="FF0000"/>
                      </a:solidFill>
                      <a:latin typeface="Cambria" panose="02040503050406030204" pitchFamily="18" charset="0"/>
                    </a:rPr>
                    <a:t>Iasi</a:t>
                  </a:r>
                </a:p>
              </p:txBody>
            </p:sp>
          </p:grpSp>
        </p:grpSp>
        <p:grpSp>
          <p:nvGrpSpPr>
            <p:cNvPr id="21" name="Group 20"/>
            <p:cNvGrpSpPr/>
            <p:nvPr/>
          </p:nvGrpSpPr>
          <p:grpSpPr>
            <a:xfrm>
              <a:off x="934345" y="2339812"/>
              <a:ext cx="4034100" cy="2521319"/>
              <a:chOff x="329326" y="2238872"/>
              <a:chExt cx="3861003" cy="2393368"/>
            </a:xfrm>
          </p:grpSpPr>
          <p:pic>
            <p:nvPicPr>
              <p:cNvPr id="22" name="Picture 21"/>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2702666" y="4253340"/>
                <a:ext cx="332069" cy="332068"/>
              </a:xfrm>
              <a:prstGeom prst="rect">
                <a:avLst/>
              </a:prstGeom>
            </p:spPr>
          </p:pic>
          <p:pic>
            <p:nvPicPr>
              <p:cNvPr id="23" name="Picture 22"/>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383869" y="2903512"/>
                <a:ext cx="249051" cy="249051"/>
              </a:xfrm>
              <a:prstGeom prst="rect">
                <a:avLst/>
              </a:prstGeom>
            </p:spPr>
          </p:pic>
          <p:pic>
            <p:nvPicPr>
              <p:cNvPr id="24" name="Picture 23"/>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938071" y="2238872"/>
                <a:ext cx="249052" cy="249051"/>
              </a:xfrm>
              <a:prstGeom prst="rect">
                <a:avLst/>
              </a:prstGeom>
            </p:spPr>
          </p:pic>
          <p:pic>
            <p:nvPicPr>
              <p:cNvPr id="25" name="Picture 24"/>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329326" y="3722973"/>
                <a:ext cx="249051" cy="249051"/>
              </a:xfrm>
              <a:prstGeom prst="rect">
                <a:avLst/>
              </a:prstGeom>
            </p:spPr>
          </p:pic>
          <p:pic>
            <p:nvPicPr>
              <p:cNvPr id="26" name="Picture 25"/>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2326211" y="3638113"/>
                <a:ext cx="181319" cy="181319"/>
              </a:xfrm>
              <a:prstGeom prst="rect">
                <a:avLst/>
              </a:prstGeom>
            </p:spPr>
          </p:pic>
          <p:pic>
            <p:nvPicPr>
              <p:cNvPr id="27" name="Picture 26"/>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1763350" y="3624014"/>
                <a:ext cx="181319" cy="181319"/>
              </a:xfrm>
              <a:prstGeom prst="rect">
                <a:avLst/>
              </a:prstGeom>
            </p:spPr>
          </p:pic>
          <p:pic>
            <p:nvPicPr>
              <p:cNvPr id="28" name="Picture 27"/>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3941278" y="4383189"/>
                <a:ext cx="249051" cy="249051"/>
              </a:xfrm>
              <a:prstGeom prst="rect">
                <a:avLst/>
              </a:prstGeom>
            </p:spPr>
          </p:pic>
        </p:grpSp>
      </p:grpSp>
      <p:sp>
        <p:nvSpPr>
          <p:cNvPr id="117" name="TextBox 116"/>
          <p:cNvSpPr txBox="1"/>
          <p:nvPr/>
        </p:nvSpPr>
        <p:spPr>
          <a:xfrm>
            <a:off x="564614" y="1527897"/>
            <a:ext cx="3152038" cy="553998"/>
          </a:xfrm>
          <a:prstGeom prst="rect">
            <a:avLst/>
          </a:prstGeom>
          <a:noFill/>
          <a:ln w="9525">
            <a:noFill/>
          </a:ln>
        </p:spPr>
        <p:txBody>
          <a:bodyPr wrap="square" lIns="0" tIns="0" rIns="0" bIns="0" rtlCol="0">
            <a:spAutoFit/>
          </a:bodyPr>
          <a:lstStyle/>
          <a:p>
            <a:pPr lvl="1" algn="ctr"/>
            <a:r>
              <a:rPr lang="en-US" sz="1200" b="1" dirty="0">
                <a:solidFill>
                  <a:srgbClr val="2846A8"/>
                </a:solidFill>
                <a:latin typeface="Cambria" panose="02040503050406030204" pitchFamily="18" charset="0"/>
                <a:cs typeface="Arial" pitchFamily="34" charset="0"/>
              </a:rPr>
              <a:t>Cluj-Napoca</a:t>
            </a:r>
            <a:r>
              <a:rPr lang="en-US" sz="1200" dirty="0">
                <a:solidFill>
                  <a:srgbClr val="2846A8"/>
                </a:solidFill>
                <a:latin typeface="Cambria" panose="02040503050406030204" pitchFamily="18" charset="0"/>
                <a:cs typeface="Arial" pitchFamily="34" charset="0"/>
              </a:rPr>
              <a:t> - 9 Universities</a:t>
            </a:r>
          </a:p>
          <a:p>
            <a:pPr lvl="1" algn="ctr"/>
            <a:r>
              <a:rPr lang="en-US" sz="1200" dirty="0">
                <a:solidFill>
                  <a:srgbClr val="2846A8"/>
                </a:solidFill>
                <a:latin typeface="Cambria" panose="02040503050406030204" pitchFamily="18" charset="0"/>
                <a:cs typeface="Arial" pitchFamily="34" charset="0"/>
              </a:rPr>
              <a:t>68</a:t>
            </a:r>
            <a:r>
              <a:rPr lang="ro-RO" sz="1200" dirty="0">
                <a:solidFill>
                  <a:srgbClr val="2846A8"/>
                </a:solidFill>
                <a:latin typeface="Cambria" panose="02040503050406030204" pitchFamily="18" charset="0"/>
                <a:cs typeface="Arial" pitchFamily="34" charset="0"/>
              </a:rPr>
              <a:t>,</a:t>
            </a:r>
            <a:r>
              <a:rPr lang="en-US" sz="1200" dirty="0">
                <a:solidFill>
                  <a:srgbClr val="2846A8"/>
                </a:solidFill>
                <a:latin typeface="Cambria" panose="02040503050406030204" pitchFamily="18" charset="0"/>
                <a:cs typeface="Arial" pitchFamily="34" charset="0"/>
              </a:rPr>
              <a:t>91</a:t>
            </a:r>
            <a:r>
              <a:rPr lang="ro-RO" sz="1200" dirty="0">
                <a:solidFill>
                  <a:srgbClr val="2846A8"/>
                </a:solidFill>
                <a:latin typeface="Cambria" panose="02040503050406030204" pitchFamily="18" charset="0"/>
                <a:cs typeface="Arial" pitchFamily="34" charset="0"/>
              </a:rPr>
              <a:t>8</a:t>
            </a:r>
            <a:r>
              <a:rPr lang="en-US" sz="1200" dirty="0">
                <a:solidFill>
                  <a:srgbClr val="2846A8"/>
                </a:solidFill>
                <a:latin typeface="Cambria" panose="02040503050406030204" pitchFamily="18" charset="0"/>
                <a:cs typeface="Arial" pitchFamily="34" charset="0"/>
              </a:rPr>
              <a:t> enrolled students</a:t>
            </a:r>
          </a:p>
          <a:p>
            <a:pPr lvl="1" algn="ctr"/>
            <a:r>
              <a:rPr lang="ro-RO" sz="1200" dirty="0">
                <a:solidFill>
                  <a:srgbClr val="2846A8"/>
                </a:solidFill>
                <a:latin typeface="Cambria" panose="02040503050406030204" pitchFamily="18" charset="0"/>
                <a:cs typeface="Arial" pitchFamily="34" charset="0"/>
              </a:rPr>
              <a:t>15,</a:t>
            </a:r>
            <a:r>
              <a:rPr lang="en-US" sz="1200" dirty="0">
                <a:solidFill>
                  <a:srgbClr val="2846A8"/>
                </a:solidFill>
                <a:latin typeface="Cambria" panose="02040503050406030204" pitchFamily="18" charset="0"/>
                <a:cs typeface="Arial" pitchFamily="34" charset="0"/>
              </a:rPr>
              <a:t>1</a:t>
            </a:r>
            <a:r>
              <a:rPr lang="ro-RO" sz="1200" dirty="0">
                <a:solidFill>
                  <a:srgbClr val="2846A8"/>
                </a:solidFill>
                <a:latin typeface="Cambria" panose="02040503050406030204" pitchFamily="18" charset="0"/>
                <a:cs typeface="Arial" pitchFamily="34" charset="0"/>
              </a:rPr>
              <a:t>74 </a:t>
            </a:r>
            <a:r>
              <a:rPr lang="en-US" sz="1200" dirty="0">
                <a:solidFill>
                  <a:srgbClr val="2846A8"/>
                </a:solidFill>
                <a:latin typeface="Cambria" panose="02040503050406030204" pitchFamily="18" charset="0"/>
                <a:cs typeface="Arial" pitchFamily="34" charset="0"/>
              </a:rPr>
              <a:t>graduate</a:t>
            </a:r>
            <a:r>
              <a:rPr lang="ro-RO" sz="1200" dirty="0">
                <a:solidFill>
                  <a:srgbClr val="2846A8"/>
                </a:solidFill>
                <a:latin typeface="Cambria" panose="02040503050406030204" pitchFamily="18" charset="0"/>
                <a:cs typeface="Arial" pitchFamily="34" charset="0"/>
              </a:rPr>
              <a:t>s</a:t>
            </a:r>
            <a:endParaRPr lang="en-US" sz="1200" dirty="0">
              <a:solidFill>
                <a:srgbClr val="2846A8"/>
              </a:solidFill>
              <a:latin typeface="Cambria" panose="02040503050406030204" pitchFamily="18" charset="0"/>
              <a:cs typeface="Arial" pitchFamily="34" charset="0"/>
            </a:endParaRPr>
          </a:p>
        </p:txBody>
      </p:sp>
      <p:sp>
        <p:nvSpPr>
          <p:cNvPr id="118" name="Rectangle 117"/>
          <p:cNvSpPr/>
          <p:nvPr/>
        </p:nvSpPr>
        <p:spPr>
          <a:xfrm>
            <a:off x="6861968" y="6362255"/>
            <a:ext cx="2577950" cy="246221"/>
          </a:xfrm>
          <a:prstGeom prst="rect">
            <a:avLst/>
          </a:prstGeom>
        </p:spPr>
        <p:txBody>
          <a:bodyPr wrap="none">
            <a:spAutoFit/>
          </a:bodyPr>
          <a:lstStyle/>
          <a:p>
            <a:r>
              <a:rPr lang="en-US" sz="1000" dirty="0">
                <a:solidFill>
                  <a:schemeClr val="tx2">
                    <a:lumMod val="65000"/>
                    <a:lumOff val="35000"/>
                  </a:schemeClr>
                </a:solidFill>
                <a:latin typeface="Cambria" panose="02040503050406030204" pitchFamily="18" charset="0"/>
                <a:cs typeface="Arial" pitchFamily="34" charset="0"/>
              </a:rPr>
              <a:t>Academic year </a:t>
            </a:r>
            <a:r>
              <a:rPr lang="en-US" sz="1000" baseline="30000" dirty="0">
                <a:solidFill>
                  <a:schemeClr val="tx2">
                    <a:lumMod val="65000"/>
                    <a:lumOff val="35000"/>
                  </a:schemeClr>
                </a:solidFill>
                <a:latin typeface="Cambria" panose="02040503050406030204" pitchFamily="18" charset="0"/>
                <a:cs typeface="Arial" pitchFamily="34" charset="0"/>
              </a:rPr>
              <a:t>*</a:t>
            </a:r>
            <a:r>
              <a:rPr lang="en-US" sz="1000" dirty="0">
                <a:solidFill>
                  <a:schemeClr val="tx2">
                    <a:lumMod val="65000"/>
                    <a:lumOff val="35000"/>
                  </a:schemeClr>
                </a:solidFill>
                <a:latin typeface="Cambria" panose="02040503050406030204" pitchFamily="18" charset="0"/>
                <a:cs typeface="Arial" pitchFamily="34" charset="0"/>
              </a:rPr>
              <a:t>20</a:t>
            </a:r>
            <a:r>
              <a:rPr lang="ro-RO" sz="1000" dirty="0">
                <a:solidFill>
                  <a:schemeClr val="tx2">
                    <a:lumMod val="65000"/>
                    <a:lumOff val="35000"/>
                  </a:schemeClr>
                </a:solidFill>
                <a:latin typeface="Cambria" panose="02040503050406030204" pitchFamily="18" charset="0"/>
                <a:cs typeface="Arial" pitchFamily="34" charset="0"/>
              </a:rPr>
              <a:t>2</a:t>
            </a:r>
            <a:r>
              <a:rPr lang="en-US" sz="1000" dirty="0">
                <a:solidFill>
                  <a:schemeClr val="tx2">
                    <a:lumMod val="65000"/>
                    <a:lumOff val="35000"/>
                  </a:schemeClr>
                </a:solidFill>
                <a:latin typeface="Cambria" panose="02040503050406030204" pitchFamily="18" charset="0"/>
                <a:cs typeface="Arial" pitchFamily="34" charset="0"/>
              </a:rPr>
              <a:t>1-2022; </a:t>
            </a:r>
            <a:r>
              <a:rPr lang="en-US" sz="1000" baseline="30000" dirty="0">
                <a:solidFill>
                  <a:schemeClr val="tx2">
                    <a:lumMod val="65000"/>
                    <a:lumOff val="35000"/>
                  </a:schemeClr>
                </a:solidFill>
                <a:latin typeface="Cambria" panose="02040503050406030204" pitchFamily="18" charset="0"/>
                <a:cs typeface="Arial" pitchFamily="34" charset="0"/>
              </a:rPr>
              <a:t>**</a:t>
            </a:r>
            <a:r>
              <a:rPr lang="en-US" sz="1000" dirty="0">
                <a:solidFill>
                  <a:schemeClr val="tx2">
                    <a:lumMod val="65000"/>
                    <a:lumOff val="35000"/>
                  </a:schemeClr>
                </a:solidFill>
                <a:latin typeface="Cambria" panose="02040503050406030204" pitchFamily="18" charset="0"/>
                <a:cs typeface="Arial" pitchFamily="34" charset="0"/>
              </a:rPr>
              <a:t>2020-2021 </a:t>
            </a:r>
          </a:p>
        </p:txBody>
      </p:sp>
      <p:sp>
        <p:nvSpPr>
          <p:cNvPr id="119" name="TextBox 118"/>
          <p:cNvSpPr txBox="1"/>
          <p:nvPr/>
        </p:nvSpPr>
        <p:spPr>
          <a:xfrm>
            <a:off x="4780139" y="4404261"/>
            <a:ext cx="3152038" cy="553998"/>
          </a:xfrm>
          <a:prstGeom prst="rect">
            <a:avLst/>
          </a:prstGeom>
          <a:noFill/>
          <a:ln w="9525">
            <a:noFill/>
          </a:ln>
        </p:spPr>
        <p:txBody>
          <a:bodyPr wrap="square" lIns="0" tIns="0" rIns="0" bIns="0" rtlCol="0">
            <a:spAutoFit/>
          </a:bodyPr>
          <a:lstStyle/>
          <a:p>
            <a:pPr lvl="1" algn="ctr"/>
            <a:r>
              <a:rPr lang="en-US" sz="1200" b="1" dirty="0">
                <a:solidFill>
                  <a:srgbClr val="2846A8"/>
                </a:solidFill>
                <a:latin typeface="Cambria" panose="02040503050406030204" pitchFamily="18" charset="0"/>
                <a:cs typeface="Arial" pitchFamily="34" charset="0"/>
              </a:rPr>
              <a:t>Bucharest</a:t>
            </a:r>
            <a:r>
              <a:rPr lang="en-US" sz="1200" dirty="0">
                <a:solidFill>
                  <a:srgbClr val="2846A8"/>
                </a:solidFill>
                <a:latin typeface="Cambria" panose="02040503050406030204" pitchFamily="18" charset="0"/>
                <a:cs typeface="Arial" pitchFamily="34" charset="0"/>
              </a:rPr>
              <a:t> - 30 Universities</a:t>
            </a:r>
          </a:p>
          <a:p>
            <a:pPr lvl="1" algn="ctr"/>
            <a:r>
              <a:rPr lang="en-US" sz="1200" dirty="0">
                <a:solidFill>
                  <a:srgbClr val="2846A8"/>
                </a:solidFill>
                <a:latin typeface="Cambria" panose="02040503050406030204" pitchFamily="18" charset="0"/>
                <a:cs typeface="Arial" pitchFamily="34" charset="0"/>
              </a:rPr>
              <a:t>169</a:t>
            </a:r>
            <a:r>
              <a:rPr lang="ro-RO" sz="1200" dirty="0">
                <a:solidFill>
                  <a:srgbClr val="2846A8"/>
                </a:solidFill>
                <a:latin typeface="Cambria" panose="02040503050406030204" pitchFamily="18" charset="0"/>
                <a:cs typeface="Arial" pitchFamily="34" charset="0"/>
              </a:rPr>
              <a:t>,</a:t>
            </a:r>
            <a:r>
              <a:rPr lang="en-US" sz="1200" dirty="0">
                <a:solidFill>
                  <a:srgbClr val="2846A8"/>
                </a:solidFill>
                <a:latin typeface="Cambria" panose="02040503050406030204" pitchFamily="18" charset="0"/>
                <a:cs typeface="Arial" pitchFamily="34" charset="0"/>
              </a:rPr>
              <a:t>493 enrolled students</a:t>
            </a:r>
          </a:p>
          <a:p>
            <a:pPr lvl="1" algn="ctr"/>
            <a:r>
              <a:rPr lang="ro-RO" sz="1200" dirty="0">
                <a:solidFill>
                  <a:srgbClr val="2846A8"/>
                </a:solidFill>
                <a:latin typeface="Cambria" panose="02040503050406030204" pitchFamily="18" charset="0"/>
                <a:cs typeface="Arial" pitchFamily="34" charset="0"/>
              </a:rPr>
              <a:t>4</a:t>
            </a:r>
            <a:r>
              <a:rPr lang="en-US" sz="1200" dirty="0">
                <a:solidFill>
                  <a:srgbClr val="2846A8"/>
                </a:solidFill>
                <a:latin typeface="Cambria" panose="02040503050406030204" pitchFamily="18" charset="0"/>
                <a:cs typeface="Arial" pitchFamily="34" charset="0"/>
              </a:rPr>
              <a:t>1</a:t>
            </a:r>
            <a:r>
              <a:rPr lang="ro-RO" sz="1200" dirty="0">
                <a:solidFill>
                  <a:srgbClr val="2846A8"/>
                </a:solidFill>
                <a:latin typeface="Cambria" panose="02040503050406030204" pitchFamily="18" charset="0"/>
                <a:cs typeface="Arial" pitchFamily="34" charset="0"/>
              </a:rPr>
              <a:t>,713</a:t>
            </a:r>
            <a:r>
              <a:rPr lang="en-US" sz="1200" dirty="0">
                <a:solidFill>
                  <a:srgbClr val="2846A8"/>
                </a:solidFill>
                <a:latin typeface="Cambria" panose="02040503050406030204" pitchFamily="18" charset="0"/>
                <a:cs typeface="Arial" pitchFamily="34" charset="0"/>
              </a:rPr>
              <a:t> graduate</a:t>
            </a:r>
            <a:r>
              <a:rPr lang="ro-RO" sz="1200" dirty="0">
                <a:solidFill>
                  <a:srgbClr val="2846A8"/>
                </a:solidFill>
                <a:latin typeface="Cambria" panose="02040503050406030204" pitchFamily="18" charset="0"/>
                <a:cs typeface="Arial" pitchFamily="34" charset="0"/>
              </a:rPr>
              <a:t>s</a:t>
            </a:r>
            <a:endParaRPr lang="en-US" sz="1200" b="0" dirty="0">
              <a:solidFill>
                <a:srgbClr val="2846A8"/>
              </a:solidFill>
              <a:latin typeface="Cambria" panose="02040503050406030204" pitchFamily="18" charset="0"/>
              <a:cs typeface="Arial" pitchFamily="34" charset="0"/>
            </a:endParaRPr>
          </a:p>
        </p:txBody>
      </p:sp>
      <p:sp>
        <p:nvSpPr>
          <p:cNvPr id="120" name="TextBox 119"/>
          <p:cNvSpPr txBox="1"/>
          <p:nvPr/>
        </p:nvSpPr>
        <p:spPr>
          <a:xfrm>
            <a:off x="5946107" y="1431647"/>
            <a:ext cx="1981361" cy="553998"/>
          </a:xfrm>
          <a:prstGeom prst="rect">
            <a:avLst/>
          </a:prstGeom>
          <a:noFill/>
          <a:ln w="9525">
            <a:noFill/>
          </a:ln>
        </p:spPr>
        <p:txBody>
          <a:bodyPr wrap="square" lIns="0" tIns="0" rIns="0" bIns="0" rtlCol="0">
            <a:spAutoFit/>
          </a:bodyPr>
          <a:lstStyle/>
          <a:p>
            <a:pPr lvl="1" algn="ctr"/>
            <a:r>
              <a:rPr lang="en-US" sz="1200" b="1" dirty="0">
                <a:solidFill>
                  <a:srgbClr val="2846A8"/>
                </a:solidFill>
                <a:latin typeface="Cambria" panose="02040503050406030204" pitchFamily="18" charset="0"/>
                <a:cs typeface="Arial" pitchFamily="34" charset="0"/>
              </a:rPr>
              <a:t>Iasi</a:t>
            </a:r>
            <a:r>
              <a:rPr lang="en-US" sz="1200" dirty="0">
                <a:solidFill>
                  <a:srgbClr val="2846A8"/>
                </a:solidFill>
                <a:latin typeface="Cambria" panose="02040503050406030204" pitchFamily="18" charset="0"/>
                <a:cs typeface="Arial" pitchFamily="34" charset="0"/>
              </a:rPr>
              <a:t> - 7 Universities</a:t>
            </a:r>
          </a:p>
          <a:p>
            <a:pPr lvl="1" algn="ctr"/>
            <a:r>
              <a:rPr lang="ro-RO" sz="1200" dirty="0">
                <a:solidFill>
                  <a:srgbClr val="2846A8"/>
                </a:solidFill>
                <a:latin typeface="Cambria" panose="02040503050406030204" pitchFamily="18" charset="0"/>
                <a:cs typeface="Arial" pitchFamily="34" charset="0"/>
              </a:rPr>
              <a:t>5</a:t>
            </a:r>
            <a:r>
              <a:rPr lang="en-US" sz="1200" dirty="0">
                <a:solidFill>
                  <a:srgbClr val="2846A8"/>
                </a:solidFill>
                <a:latin typeface="Cambria" panose="02040503050406030204" pitchFamily="18" charset="0"/>
                <a:cs typeface="Arial" pitchFamily="34" charset="0"/>
              </a:rPr>
              <a:t>4</a:t>
            </a:r>
            <a:r>
              <a:rPr lang="ro-RO" sz="1200" dirty="0">
                <a:solidFill>
                  <a:srgbClr val="2846A8"/>
                </a:solidFill>
                <a:latin typeface="Cambria" panose="02040503050406030204" pitchFamily="18" charset="0"/>
                <a:cs typeface="Arial" pitchFamily="34" charset="0"/>
              </a:rPr>
              <a:t>,</a:t>
            </a:r>
            <a:r>
              <a:rPr lang="en-US" sz="1200" dirty="0">
                <a:solidFill>
                  <a:srgbClr val="2846A8"/>
                </a:solidFill>
                <a:latin typeface="Cambria" panose="02040503050406030204" pitchFamily="18" charset="0"/>
                <a:cs typeface="Arial" pitchFamily="34" charset="0"/>
              </a:rPr>
              <a:t>672 enrolled students</a:t>
            </a:r>
          </a:p>
          <a:p>
            <a:pPr lvl="1" algn="ctr"/>
            <a:r>
              <a:rPr lang="ro-RO" sz="1200" dirty="0">
                <a:solidFill>
                  <a:srgbClr val="2846A8"/>
                </a:solidFill>
                <a:latin typeface="Cambria" panose="02040503050406030204" pitchFamily="18" charset="0"/>
                <a:cs typeface="Arial" pitchFamily="34" charset="0"/>
              </a:rPr>
              <a:t>1</a:t>
            </a:r>
            <a:r>
              <a:rPr lang="en-US" sz="1200" dirty="0">
                <a:solidFill>
                  <a:srgbClr val="2846A8"/>
                </a:solidFill>
                <a:latin typeface="Cambria" panose="02040503050406030204" pitchFamily="18" charset="0"/>
                <a:cs typeface="Arial" pitchFamily="34" charset="0"/>
              </a:rPr>
              <a:t>1,</a:t>
            </a:r>
            <a:r>
              <a:rPr lang="ro-RO" sz="1200" dirty="0">
                <a:solidFill>
                  <a:srgbClr val="2846A8"/>
                </a:solidFill>
                <a:latin typeface="Cambria" panose="02040503050406030204" pitchFamily="18" charset="0"/>
                <a:cs typeface="Arial" pitchFamily="34" charset="0"/>
              </a:rPr>
              <a:t>38</a:t>
            </a:r>
            <a:r>
              <a:rPr lang="en-US" sz="1200" dirty="0">
                <a:solidFill>
                  <a:srgbClr val="2846A8"/>
                </a:solidFill>
                <a:latin typeface="Cambria" panose="02040503050406030204" pitchFamily="18" charset="0"/>
                <a:cs typeface="Arial" pitchFamily="34" charset="0"/>
              </a:rPr>
              <a:t>2 graduate</a:t>
            </a:r>
            <a:r>
              <a:rPr lang="ro-RO" sz="1200" dirty="0">
                <a:solidFill>
                  <a:srgbClr val="2846A8"/>
                </a:solidFill>
                <a:latin typeface="Cambria" panose="02040503050406030204" pitchFamily="18" charset="0"/>
                <a:cs typeface="Arial" pitchFamily="34" charset="0"/>
              </a:rPr>
              <a:t>s</a:t>
            </a:r>
            <a:endParaRPr lang="en-US" sz="1200" dirty="0">
              <a:solidFill>
                <a:srgbClr val="2846A8"/>
              </a:solidFill>
              <a:latin typeface="Cambria" panose="02040503050406030204" pitchFamily="18" charset="0"/>
              <a:cs typeface="Arial" pitchFamily="34" charset="0"/>
            </a:endParaRPr>
          </a:p>
        </p:txBody>
      </p:sp>
      <p:sp>
        <p:nvSpPr>
          <p:cNvPr id="121" name="TextBox 120"/>
          <p:cNvSpPr txBox="1"/>
          <p:nvPr/>
        </p:nvSpPr>
        <p:spPr>
          <a:xfrm>
            <a:off x="-65265" y="2494837"/>
            <a:ext cx="3152038" cy="553998"/>
          </a:xfrm>
          <a:prstGeom prst="rect">
            <a:avLst/>
          </a:prstGeom>
          <a:noFill/>
          <a:ln w="9525">
            <a:noFill/>
          </a:ln>
        </p:spPr>
        <p:txBody>
          <a:bodyPr wrap="square" lIns="0" tIns="0" rIns="0" bIns="0" rtlCol="0">
            <a:spAutoFit/>
          </a:bodyPr>
          <a:lstStyle/>
          <a:p>
            <a:pPr lvl="1" algn="ctr"/>
            <a:r>
              <a:rPr lang="en-US" sz="1200" b="1" dirty="0">
                <a:solidFill>
                  <a:srgbClr val="2846A8"/>
                </a:solidFill>
                <a:latin typeface="Cambria" panose="02040503050406030204" pitchFamily="18" charset="0"/>
                <a:cs typeface="Arial" pitchFamily="34" charset="0"/>
              </a:rPr>
              <a:t>Timisoara</a:t>
            </a:r>
            <a:r>
              <a:rPr lang="en-US" sz="1200" dirty="0">
                <a:solidFill>
                  <a:srgbClr val="2846A8"/>
                </a:solidFill>
                <a:latin typeface="Cambria" panose="02040503050406030204" pitchFamily="18" charset="0"/>
                <a:cs typeface="Arial" pitchFamily="34" charset="0"/>
              </a:rPr>
              <a:t> - 7 Universities</a:t>
            </a:r>
          </a:p>
          <a:p>
            <a:pPr lvl="1" algn="ctr"/>
            <a:r>
              <a:rPr lang="ro-RO" sz="1200" dirty="0">
                <a:solidFill>
                  <a:srgbClr val="2846A8"/>
                </a:solidFill>
                <a:latin typeface="Cambria" panose="02040503050406030204" pitchFamily="18" charset="0"/>
                <a:cs typeface="Arial" pitchFamily="34" charset="0"/>
              </a:rPr>
              <a:t>4</a:t>
            </a:r>
            <a:r>
              <a:rPr lang="en-US" sz="1200" dirty="0">
                <a:solidFill>
                  <a:srgbClr val="2846A8"/>
                </a:solidFill>
                <a:latin typeface="Cambria" panose="02040503050406030204" pitchFamily="18" charset="0"/>
                <a:cs typeface="Arial" pitchFamily="34" charset="0"/>
              </a:rPr>
              <a:t>3</a:t>
            </a:r>
            <a:r>
              <a:rPr lang="ro-RO" sz="1200" dirty="0">
                <a:solidFill>
                  <a:srgbClr val="2846A8"/>
                </a:solidFill>
                <a:latin typeface="Cambria" panose="02040503050406030204" pitchFamily="18" charset="0"/>
                <a:cs typeface="Arial" pitchFamily="34" charset="0"/>
              </a:rPr>
              <a:t>,</a:t>
            </a:r>
            <a:r>
              <a:rPr lang="en-US" sz="1200" dirty="0">
                <a:solidFill>
                  <a:srgbClr val="2846A8"/>
                </a:solidFill>
                <a:latin typeface="Cambria" panose="02040503050406030204" pitchFamily="18" charset="0"/>
                <a:cs typeface="Arial" pitchFamily="34" charset="0"/>
              </a:rPr>
              <a:t>423 enrolled students</a:t>
            </a:r>
          </a:p>
          <a:p>
            <a:pPr lvl="1" algn="ctr"/>
            <a:r>
              <a:rPr lang="en-US" sz="1200" dirty="0">
                <a:solidFill>
                  <a:srgbClr val="2846A8"/>
                </a:solidFill>
                <a:latin typeface="Cambria" panose="02040503050406030204" pitchFamily="18" charset="0"/>
                <a:cs typeface="Arial" pitchFamily="34" charset="0"/>
              </a:rPr>
              <a:t>9</a:t>
            </a:r>
            <a:r>
              <a:rPr lang="ro-RO" sz="1200" dirty="0">
                <a:solidFill>
                  <a:srgbClr val="2846A8"/>
                </a:solidFill>
                <a:latin typeface="Cambria" panose="02040503050406030204" pitchFamily="18" charset="0"/>
                <a:cs typeface="Arial" pitchFamily="34" charset="0"/>
              </a:rPr>
              <a:t>,149</a:t>
            </a:r>
            <a:r>
              <a:rPr lang="en-US" sz="1200" dirty="0">
                <a:solidFill>
                  <a:srgbClr val="2846A8"/>
                </a:solidFill>
                <a:latin typeface="Cambria" panose="02040503050406030204" pitchFamily="18" charset="0"/>
                <a:cs typeface="Arial" pitchFamily="34" charset="0"/>
              </a:rPr>
              <a:t> graduate</a:t>
            </a:r>
            <a:r>
              <a:rPr lang="ro-RO" sz="1200" dirty="0">
                <a:solidFill>
                  <a:srgbClr val="2846A8"/>
                </a:solidFill>
                <a:latin typeface="Cambria" panose="02040503050406030204" pitchFamily="18" charset="0"/>
                <a:cs typeface="Arial" pitchFamily="34" charset="0"/>
              </a:rPr>
              <a:t>s</a:t>
            </a:r>
            <a:endParaRPr lang="en-US" sz="1200" dirty="0">
              <a:solidFill>
                <a:srgbClr val="2846A8"/>
              </a:solidFill>
              <a:latin typeface="Cambria" panose="02040503050406030204" pitchFamily="18" charset="0"/>
              <a:cs typeface="Arial" pitchFamily="34" charset="0"/>
            </a:endParaRPr>
          </a:p>
        </p:txBody>
      </p:sp>
      <p:sp>
        <p:nvSpPr>
          <p:cNvPr id="122" name="TextBox 121"/>
          <p:cNvSpPr txBox="1"/>
          <p:nvPr/>
        </p:nvSpPr>
        <p:spPr>
          <a:xfrm>
            <a:off x="6560483" y="3496255"/>
            <a:ext cx="2718018" cy="553998"/>
          </a:xfrm>
          <a:prstGeom prst="rect">
            <a:avLst/>
          </a:prstGeom>
          <a:noFill/>
          <a:ln w="9525">
            <a:noFill/>
          </a:ln>
        </p:spPr>
        <p:txBody>
          <a:bodyPr wrap="square" lIns="0" tIns="0" rIns="0" bIns="0" rtlCol="0">
            <a:spAutoFit/>
          </a:bodyPr>
          <a:lstStyle/>
          <a:p>
            <a:pPr lvl="1" algn="ctr"/>
            <a:r>
              <a:rPr lang="en-US" sz="1200" b="1" dirty="0">
                <a:solidFill>
                  <a:srgbClr val="2846A8"/>
                </a:solidFill>
                <a:latin typeface="Cambria" panose="02040503050406030204" pitchFamily="18" charset="0"/>
                <a:cs typeface="Arial" pitchFamily="34" charset="0"/>
              </a:rPr>
              <a:t>Constanta</a:t>
            </a:r>
            <a:r>
              <a:rPr lang="en-US" sz="1200" b="0" dirty="0">
                <a:solidFill>
                  <a:srgbClr val="2846A8"/>
                </a:solidFill>
                <a:latin typeface="Cambria" panose="02040503050406030204" pitchFamily="18" charset="0"/>
                <a:cs typeface="Arial" pitchFamily="34" charset="0"/>
              </a:rPr>
              <a:t> </a:t>
            </a:r>
            <a:r>
              <a:rPr lang="en-US" sz="1200" dirty="0">
                <a:solidFill>
                  <a:srgbClr val="2846A8"/>
                </a:solidFill>
                <a:latin typeface="Cambria" panose="02040503050406030204" pitchFamily="18" charset="0"/>
                <a:cs typeface="Arial" pitchFamily="34" charset="0"/>
              </a:rPr>
              <a:t>- 5 Universities</a:t>
            </a:r>
          </a:p>
          <a:p>
            <a:pPr lvl="1" algn="ctr"/>
            <a:r>
              <a:rPr lang="en-US" sz="1200" dirty="0">
                <a:solidFill>
                  <a:srgbClr val="2846A8"/>
                </a:solidFill>
                <a:latin typeface="Cambria" panose="02040503050406030204" pitchFamily="18" charset="0"/>
                <a:cs typeface="Arial" pitchFamily="34" charset="0"/>
              </a:rPr>
              <a:t>21</a:t>
            </a:r>
            <a:r>
              <a:rPr lang="ro-RO" sz="1200" dirty="0">
                <a:solidFill>
                  <a:srgbClr val="2846A8"/>
                </a:solidFill>
                <a:latin typeface="Cambria" panose="02040503050406030204" pitchFamily="18" charset="0"/>
                <a:cs typeface="Arial" pitchFamily="34" charset="0"/>
              </a:rPr>
              <a:t>,</a:t>
            </a:r>
            <a:r>
              <a:rPr lang="en-US" sz="1200" dirty="0">
                <a:solidFill>
                  <a:srgbClr val="2846A8"/>
                </a:solidFill>
                <a:latin typeface="Cambria" panose="02040503050406030204" pitchFamily="18" charset="0"/>
                <a:cs typeface="Arial" pitchFamily="34" charset="0"/>
              </a:rPr>
              <a:t>135</a:t>
            </a:r>
            <a:r>
              <a:rPr lang="ro-RO" sz="1200" dirty="0">
                <a:solidFill>
                  <a:srgbClr val="2846A8"/>
                </a:solidFill>
                <a:latin typeface="Cambria" panose="02040503050406030204" pitchFamily="18" charset="0"/>
                <a:cs typeface="Arial" pitchFamily="34" charset="0"/>
              </a:rPr>
              <a:t> </a:t>
            </a:r>
            <a:r>
              <a:rPr lang="en-US" sz="1200" dirty="0">
                <a:solidFill>
                  <a:srgbClr val="2846A8"/>
                </a:solidFill>
                <a:latin typeface="Cambria" panose="02040503050406030204" pitchFamily="18" charset="0"/>
                <a:cs typeface="Arial" pitchFamily="34" charset="0"/>
              </a:rPr>
              <a:t>enrolled students</a:t>
            </a:r>
          </a:p>
          <a:p>
            <a:pPr lvl="1" algn="ctr"/>
            <a:r>
              <a:rPr lang="ro-RO" sz="1200" dirty="0">
                <a:solidFill>
                  <a:srgbClr val="2846A8"/>
                </a:solidFill>
                <a:latin typeface="Cambria" panose="02040503050406030204" pitchFamily="18" charset="0"/>
                <a:cs typeface="Arial" pitchFamily="34" charset="0"/>
              </a:rPr>
              <a:t>5,037</a:t>
            </a:r>
            <a:r>
              <a:rPr lang="en-US" sz="1200" dirty="0">
                <a:solidFill>
                  <a:srgbClr val="2846A8"/>
                </a:solidFill>
                <a:latin typeface="Cambria" panose="02040503050406030204" pitchFamily="18" charset="0"/>
                <a:cs typeface="Arial" pitchFamily="34" charset="0"/>
              </a:rPr>
              <a:t> graduate</a:t>
            </a:r>
            <a:r>
              <a:rPr lang="ro-RO" sz="1200" dirty="0">
                <a:solidFill>
                  <a:srgbClr val="2846A8"/>
                </a:solidFill>
                <a:latin typeface="Cambria" panose="02040503050406030204" pitchFamily="18" charset="0"/>
                <a:cs typeface="Arial" pitchFamily="34" charset="0"/>
              </a:rPr>
              <a:t>s</a:t>
            </a:r>
            <a:endParaRPr lang="en-US" sz="1200" dirty="0">
              <a:solidFill>
                <a:srgbClr val="2846A8"/>
              </a:solidFill>
              <a:latin typeface="Cambria" panose="02040503050406030204" pitchFamily="18" charset="0"/>
              <a:cs typeface="Arial" pitchFamily="34" charset="0"/>
            </a:endParaRPr>
          </a:p>
        </p:txBody>
      </p:sp>
      <p:grpSp>
        <p:nvGrpSpPr>
          <p:cNvPr id="4" name="Group 3"/>
          <p:cNvGrpSpPr/>
          <p:nvPr/>
        </p:nvGrpSpPr>
        <p:grpSpPr>
          <a:xfrm>
            <a:off x="213544" y="4778744"/>
            <a:ext cx="1893487" cy="287310"/>
            <a:chOff x="119506" y="4760941"/>
            <a:chExt cx="1893487" cy="287310"/>
          </a:xfrm>
        </p:grpSpPr>
        <p:grpSp>
          <p:nvGrpSpPr>
            <p:cNvPr id="16" name="Group 15"/>
            <p:cNvGrpSpPr/>
            <p:nvPr/>
          </p:nvGrpSpPr>
          <p:grpSpPr>
            <a:xfrm>
              <a:off x="255331" y="4760941"/>
              <a:ext cx="1757662" cy="287310"/>
              <a:chOff x="1414462" y="5226535"/>
              <a:chExt cx="1176603" cy="136920"/>
            </a:xfrm>
          </p:grpSpPr>
          <p:sp>
            <p:nvSpPr>
              <p:cNvPr id="17" name="Text Box 225"/>
              <p:cNvSpPr txBox="1">
                <a:spLocks noChangeArrowheads="1"/>
              </p:cNvSpPr>
              <p:nvPr/>
            </p:nvSpPr>
            <p:spPr bwMode="auto">
              <a:xfrm>
                <a:off x="1416050" y="5299438"/>
                <a:ext cx="1175015" cy="64017"/>
              </a:xfrm>
              <a:prstGeom prst="rect">
                <a:avLst/>
              </a:prstGeom>
              <a:noFill/>
              <a:ln w="6350">
                <a:noFill/>
                <a:miter lim="800000"/>
                <a:headEnd/>
                <a:tailEnd/>
              </a:ln>
              <a:effectLst/>
            </p:spPr>
            <p:txBody>
              <a:bodyPr wrap="none" lIns="0" tIns="0" rIns="0" bIns="0" anchor="b">
                <a:spAutoFit/>
              </a:bodyPr>
              <a:lstStyle/>
              <a:p>
                <a:pPr eaLnBrk="0" hangingPunct="0">
                  <a:lnSpc>
                    <a:spcPct val="97000"/>
                  </a:lnSpc>
                </a:pPr>
                <a:r>
                  <a:rPr lang="en-ZA" sz="900" dirty="0">
                    <a:solidFill>
                      <a:srgbClr val="2846A8"/>
                    </a:solidFill>
                    <a:latin typeface="Cambria" panose="02040503050406030204" pitchFamily="18" charset="0"/>
                  </a:rPr>
                  <a:t>= City 50,000 – 100,000 inhabitants</a:t>
                </a:r>
              </a:p>
            </p:txBody>
          </p:sp>
          <p:sp>
            <p:nvSpPr>
              <p:cNvPr id="18" name="Text Box 226"/>
              <p:cNvSpPr txBox="1">
                <a:spLocks noChangeArrowheads="1"/>
              </p:cNvSpPr>
              <p:nvPr/>
            </p:nvSpPr>
            <p:spPr bwMode="auto">
              <a:xfrm>
                <a:off x="1414462" y="5226535"/>
                <a:ext cx="931427" cy="64017"/>
              </a:xfrm>
              <a:prstGeom prst="rect">
                <a:avLst/>
              </a:prstGeom>
              <a:noFill/>
              <a:ln w="6350">
                <a:noFill/>
                <a:miter lim="800000"/>
                <a:headEnd/>
                <a:tailEnd/>
              </a:ln>
              <a:effectLst/>
            </p:spPr>
            <p:txBody>
              <a:bodyPr wrap="none" lIns="0" tIns="0" rIns="0" bIns="0" anchor="b">
                <a:spAutoFit/>
              </a:bodyPr>
              <a:lstStyle/>
              <a:p>
                <a:pPr eaLnBrk="0" hangingPunct="0">
                  <a:lnSpc>
                    <a:spcPct val="97000"/>
                  </a:lnSpc>
                </a:pPr>
                <a:r>
                  <a:rPr lang="en-ZA" sz="900" dirty="0">
                    <a:solidFill>
                      <a:srgbClr val="2846A8"/>
                    </a:solidFill>
                    <a:latin typeface="Cambria" panose="02040503050406030204" pitchFamily="18" charset="0"/>
                  </a:rPr>
                  <a:t>= City &gt;</a:t>
                </a:r>
                <a:r>
                  <a:rPr lang="ro-RO" sz="900" dirty="0">
                    <a:solidFill>
                      <a:srgbClr val="2846A8"/>
                    </a:solidFill>
                    <a:latin typeface="Cambria" panose="02040503050406030204" pitchFamily="18" charset="0"/>
                  </a:rPr>
                  <a:t> </a:t>
                </a:r>
                <a:r>
                  <a:rPr lang="en-ZA" sz="900" dirty="0">
                    <a:solidFill>
                      <a:srgbClr val="2846A8"/>
                    </a:solidFill>
                    <a:latin typeface="Cambria" panose="02040503050406030204" pitchFamily="18" charset="0"/>
                  </a:rPr>
                  <a:t>100,000 inhabitants</a:t>
                </a:r>
              </a:p>
            </p:txBody>
          </p:sp>
        </p:grpSp>
        <p:grpSp>
          <p:nvGrpSpPr>
            <p:cNvPr id="123" name="Group 122"/>
            <p:cNvGrpSpPr/>
            <p:nvPr/>
          </p:nvGrpSpPr>
          <p:grpSpPr>
            <a:xfrm>
              <a:off x="119506" y="4787060"/>
              <a:ext cx="91439" cy="239114"/>
              <a:chOff x="1293978" y="5229656"/>
              <a:chExt cx="52917" cy="143295"/>
            </a:xfrm>
          </p:grpSpPr>
          <p:sp>
            <p:nvSpPr>
              <p:cNvPr id="124" name="Oval 224"/>
              <p:cNvSpPr>
                <a:spLocks noChangeAspect="1" noChangeArrowheads="1"/>
              </p:cNvSpPr>
              <p:nvPr/>
            </p:nvSpPr>
            <p:spPr bwMode="auto">
              <a:xfrm>
                <a:off x="1295400" y="5325326"/>
                <a:ext cx="49212" cy="47625"/>
              </a:xfrm>
              <a:prstGeom prst="ellipse">
                <a:avLst/>
              </a:prstGeom>
              <a:solidFill>
                <a:srgbClr val="2BC6FF"/>
              </a:solidFill>
              <a:ln w="3175">
                <a:noFill/>
              </a:ln>
            </p:spPr>
            <p:txBody>
              <a:bodyPr vert="horz" wrap="square" lIns="91440" tIns="45720" rIns="91440" bIns="45720" numCol="1" anchor="t" anchorCtr="0" compatLnSpc="1">
                <a:prstTxWarp prst="textNoShape">
                  <a:avLst/>
                </a:prstTxWarp>
              </a:bodyPr>
              <a:lstStyle/>
              <a:p>
                <a:endParaRPr lang="en-US" sz="1000" b="0">
                  <a:solidFill>
                    <a:schemeClr val="bg1"/>
                  </a:solidFill>
                  <a:latin typeface="+mn-lt"/>
                </a:endParaRPr>
              </a:p>
            </p:txBody>
          </p:sp>
          <p:sp>
            <p:nvSpPr>
              <p:cNvPr id="125" name="Rectangle 227"/>
              <p:cNvSpPr>
                <a:spLocks noChangeAspect="1" noChangeArrowheads="1"/>
              </p:cNvSpPr>
              <p:nvPr/>
            </p:nvSpPr>
            <p:spPr bwMode="auto">
              <a:xfrm>
                <a:off x="1293978" y="5229656"/>
                <a:ext cx="52917" cy="5479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000" b="0">
                  <a:solidFill>
                    <a:schemeClr val="bg1"/>
                  </a:solidFill>
                  <a:latin typeface="+mn-lt"/>
                </a:endParaRPr>
              </a:p>
            </p:txBody>
          </p:sp>
        </p:grpSp>
      </p:grpSp>
      <p:pic>
        <p:nvPicPr>
          <p:cNvPr id="126" name="Picture 125"/>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5313423" y="2230069"/>
            <a:ext cx="190901" cy="189730"/>
          </a:xfrm>
          <a:prstGeom prst="rect">
            <a:avLst/>
          </a:prstGeom>
        </p:spPr>
      </p:pic>
      <p:pic>
        <p:nvPicPr>
          <p:cNvPr id="127" name="Picture 126"/>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4006393" y="4022047"/>
            <a:ext cx="190901" cy="189730"/>
          </a:xfrm>
          <a:prstGeom prst="rect">
            <a:avLst/>
          </a:prstGeom>
        </p:spPr>
      </p:pic>
      <p:pic>
        <p:nvPicPr>
          <p:cNvPr id="128" name="Picture 127"/>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4495223" y="3557838"/>
            <a:ext cx="190901" cy="189730"/>
          </a:xfrm>
          <a:prstGeom prst="rect">
            <a:avLst/>
          </a:prstGeom>
        </p:spPr>
      </p:pic>
      <p:pic>
        <p:nvPicPr>
          <p:cNvPr id="129" name="Picture 128"/>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6026654" y="2789875"/>
            <a:ext cx="190901" cy="189730"/>
          </a:xfrm>
          <a:prstGeom prst="rect">
            <a:avLst/>
          </a:prstGeom>
        </p:spPr>
      </p:pic>
      <p:pic>
        <p:nvPicPr>
          <p:cNvPr id="130" name="Picture 129"/>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4244270" y="2230740"/>
            <a:ext cx="190901" cy="189730"/>
          </a:xfrm>
          <a:prstGeom prst="rect">
            <a:avLst/>
          </a:prstGeom>
        </p:spPr>
      </p:pic>
      <p:sp>
        <p:nvSpPr>
          <p:cNvPr id="131" name="Rectangle 179"/>
          <p:cNvSpPr>
            <a:spLocks noChangeArrowheads="1"/>
          </p:cNvSpPr>
          <p:nvPr/>
        </p:nvSpPr>
        <p:spPr bwMode="auto">
          <a:xfrm>
            <a:off x="5457041" y="1723461"/>
            <a:ext cx="35928" cy="3570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32" name="Rectangle 179"/>
          <p:cNvSpPr>
            <a:spLocks noChangeArrowheads="1"/>
          </p:cNvSpPr>
          <p:nvPr/>
        </p:nvSpPr>
        <p:spPr bwMode="auto">
          <a:xfrm>
            <a:off x="4716821" y="3194041"/>
            <a:ext cx="35928" cy="35708"/>
          </a:xfrm>
          <a:prstGeom prst="rect">
            <a:avLst/>
          </a:prstGeom>
          <a:solidFill>
            <a:srgbClr val="4C1450"/>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33" name="Oval 237"/>
          <p:cNvSpPr>
            <a:spLocks noChangeArrowheads="1"/>
          </p:cNvSpPr>
          <p:nvPr>
            <p:custDataLst>
              <p:tags r:id="rId1"/>
            </p:custDataLst>
          </p:nvPr>
        </p:nvSpPr>
        <p:spPr bwMode="auto">
          <a:xfrm rot="250628">
            <a:off x="5325962" y="2934056"/>
            <a:ext cx="35928" cy="35708"/>
          </a:xfrm>
          <a:prstGeom prst="ellipse">
            <a:avLst/>
          </a:prstGeom>
          <a:solidFill>
            <a:srgbClr val="2BC6FF"/>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
        <p:nvSpPr>
          <p:cNvPr id="134" name="TextBox 133"/>
          <p:cNvSpPr txBox="1"/>
          <p:nvPr/>
        </p:nvSpPr>
        <p:spPr>
          <a:xfrm>
            <a:off x="2001575" y="952483"/>
            <a:ext cx="5140851" cy="220060"/>
          </a:xfrm>
          <a:prstGeom prst="rect">
            <a:avLst/>
          </a:prstGeom>
          <a:noFill/>
          <a:ln w="9525">
            <a:noFill/>
          </a:ln>
        </p:spPr>
        <p:txBody>
          <a:bodyPr wrap="square" lIns="0" tIns="0" rIns="0" bIns="0" rtlCol="0">
            <a:spAutoFit/>
          </a:bodyPr>
          <a:lstStyle/>
          <a:p>
            <a:pPr algn="ctr">
              <a:lnSpc>
                <a:spcPct val="110000"/>
              </a:lnSpc>
              <a:buClr>
                <a:srgbClr val="99CC00"/>
              </a:buClr>
            </a:pPr>
            <a:r>
              <a:rPr lang="en-US" sz="1300" b="1" dirty="0">
                <a:solidFill>
                  <a:srgbClr val="2846A8"/>
                </a:solidFill>
                <a:latin typeface="Cambria" panose="02040503050406030204" pitchFamily="18" charset="0"/>
              </a:rPr>
              <a:t>Largest University Centers in Romania</a:t>
            </a:r>
          </a:p>
        </p:txBody>
      </p:sp>
      <p:sp>
        <p:nvSpPr>
          <p:cNvPr id="135" name="Oval 233"/>
          <p:cNvSpPr>
            <a:spLocks noChangeArrowheads="1"/>
          </p:cNvSpPr>
          <p:nvPr>
            <p:custDataLst>
              <p:tags r:id="rId2"/>
            </p:custDataLst>
          </p:nvPr>
        </p:nvSpPr>
        <p:spPr bwMode="auto">
          <a:xfrm rot="250628">
            <a:off x="5895993" y="2242473"/>
            <a:ext cx="34689" cy="34476"/>
          </a:xfrm>
          <a:prstGeom prst="ellipse">
            <a:avLst/>
          </a:prstGeom>
          <a:solidFill>
            <a:srgbClr val="2BC6FF"/>
          </a:solidFill>
          <a:ln w="3175">
            <a:noFill/>
          </a:ln>
        </p:spPr>
        <p:txBody>
          <a:bodyPr vert="horz" wrap="square" lIns="91440" tIns="45720" rIns="91440" bIns="45720" numCol="1" anchor="t" anchorCtr="0" compatLnSpc="1">
            <a:prstTxWarp prst="textNoShape">
              <a:avLst/>
            </a:prstTxWarp>
          </a:bodyPr>
          <a:lstStyle/>
          <a:p>
            <a:endParaRPr lang="en-US" sz="1400">
              <a:solidFill>
                <a:schemeClr val="bg1"/>
              </a:solidFill>
              <a:latin typeface="Arial Narrow" panose="020B0606020202030204" pitchFamily="34" charset="0"/>
            </a:endParaRPr>
          </a:p>
        </p:txBody>
      </p:sp>
    </p:spTree>
    <p:extLst>
      <p:ext uri="{BB962C8B-B14F-4D97-AF65-F5344CB8AC3E}">
        <p14:creationId xmlns:p14="http://schemas.microsoft.com/office/powerpoint/2010/main" val="3810860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VE6VX_ojkmh9r_ilSkd8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JByIhi7REmOfXHOO4nC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X9aK1lUQEOhqsvVZ5nv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cXPHvvUcUqOsobL9bv2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zuCF9Z0rE6SB8XdLmY4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H3kW9pOo0e5UY5JGjOb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AVgk5CerkyypUjfWMB4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xaUtubb2U2c9vdl6uE6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CpWBEQ2h0..EB0eOMUe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4d8R3X5Eyk2m8JhATc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lCE5uQnTUqELIzXKmOX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t7Cu2SnYk6_xqychDD5.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NoUEdiu_0iuNDTCV998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sD.TEM5oUefiLrhpukE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V6.LeL4ZUKMZfrHLFaz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t7Cu2SnYk6_xqychDD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C4JlNRgf0GtgX7azKz_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V2nx9t37UuDOSz6Zmuq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qa3_Lq4o0Cctnybjxs1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VE6VX_ojkmh9r_ilSkd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vAAl5glo0ujOVewMyet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qYJFKvmtkaLrMAc1m_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gZLtUPgSU6zrBQlLYaX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uDe6CoLnkCbfjYcG5Dh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uuh3mf8qkOGthxiAIiD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j_7gYXwYEK67Cd0aAtd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JYaHVwuVU62Br0Z1W2J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y.n1drpWUi7znjAqelm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7yarc.7OEqFVIXgBrGs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oHwKxMmbkiQVqgausbm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0A.20OimEiUp27sN9tG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JFmCW9HB0KHalZUs.1x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bAF9Yk.d0KoMwYIpdKV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4Rid.e3PE.UvHMsrmLIm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Ut.x_77iU6uijUepNd5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f4.slDeCEaZLsOhQeQ5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GZusRSwHU6W622me7Xs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savp8R0qb4Y.nGxGl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bnjEJfKcUCIi7uIDdOo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LiKlZ8050yebz9nXaLN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5D2Xx_CT0u.00AOlfWAmA"/>
</p:tagLst>
</file>

<file path=ppt/theme/theme1.xml><?xml version="1.0" encoding="utf-8"?>
<a:theme xmlns:a="http://schemas.openxmlformats.org/drawingml/2006/main" name="Exeter template">
  <a:themeElements>
    <a:clrScheme name="Custom 347">
      <a:dk1>
        <a:srgbClr val="3E4655"/>
      </a:dk1>
      <a:lt1>
        <a:srgbClr val="FFFFFF"/>
      </a:lt1>
      <a:dk2>
        <a:srgbClr val="746F7E"/>
      </a:dk2>
      <a:lt2>
        <a:srgbClr val="EAECF0"/>
      </a:lt2>
      <a:accent1>
        <a:srgbClr val="FFB900"/>
      </a:accent1>
      <a:accent2>
        <a:srgbClr val="F78300"/>
      </a:accent2>
      <a:accent3>
        <a:srgbClr val="D6516E"/>
      </a:accent3>
      <a:accent4>
        <a:srgbClr val="807DAF"/>
      </a:accent4>
      <a:accent5>
        <a:srgbClr val="93AECF"/>
      </a:accent5>
      <a:accent6>
        <a:srgbClr val="7E0808"/>
      </a:accent6>
      <a:hlink>
        <a:srgbClr val="383344"/>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Exeter template">
  <a:themeElements>
    <a:clrScheme name="Custom 347">
      <a:dk1>
        <a:srgbClr val="3E4655"/>
      </a:dk1>
      <a:lt1>
        <a:srgbClr val="FFFFFF"/>
      </a:lt1>
      <a:dk2>
        <a:srgbClr val="746F7E"/>
      </a:dk2>
      <a:lt2>
        <a:srgbClr val="EAECF0"/>
      </a:lt2>
      <a:accent1>
        <a:srgbClr val="FFB900"/>
      </a:accent1>
      <a:accent2>
        <a:srgbClr val="F78300"/>
      </a:accent2>
      <a:accent3>
        <a:srgbClr val="D6516E"/>
      </a:accent3>
      <a:accent4>
        <a:srgbClr val="807DAF"/>
      </a:accent4>
      <a:accent5>
        <a:srgbClr val="93AECF"/>
      </a:accent5>
      <a:accent6>
        <a:srgbClr val="7E0808"/>
      </a:accent6>
      <a:hlink>
        <a:srgbClr val="383344"/>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4780</TotalTime>
  <Words>7401</Words>
  <Application>Microsoft Office PowerPoint</Application>
  <PresentationFormat>On-screen Show (16:9)</PresentationFormat>
  <Paragraphs>956</Paragraphs>
  <Slides>37</Slides>
  <Notes>3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8" baseType="lpstr">
      <vt:lpstr>Arial</vt:lpstr>
      <vt:lpstr>Arial Narrow</vt:lpstr>
      <vt:lpstr>Calibri</vt:lpstr>
      <vt:lpstr>Cambria</vt:lpstr>
      <vt:lpstr>IBM Plex Sans</vt:lpstr>
      <vt:lpstr>IBM Plex Serif</vt:lpstr>
      <vt:lpstr>Trebuchet MS</vt:lpstr>
      <vt:lpstr>Wingdings</vt:lpstr>
      <vt:lpstr>Exeter template</vt:lpstr>
      <vt:lpstr>1_Exeter template</vt:lpstr>
      <vt:lpstr>think-cell Slide</vt:lpstr>
      <vt:lpstr>PowerPoint Presentation</vt:lpstr>
      <vt:lpstr>Romania - Country overview</vt:lpstr>
      <vt:lpstr>Romania at a gl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enters of Excellence</vt:lpstr>
      <vt:lpstr>PowerPoint Presentation</vt:lpstr>
      <vt:lpstr>Value for money</vt:lpstr>
      <vt:lpstr>Value for mo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er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creator>Daiana Cosac</dc:creator>
  <cp:lastModifiedBy>BPCE Varsovia</cp:lastModifiedBy>
  <cp:revision>615</cp:revision>
  <cp:lastPrinted>2024-09-17T12:40:58Z</cp:lastPrinted>
  <dcterms:modified xsi:type="dcterms:W3CDTF">2025-03-14T15:35:37Z</dcterms:modified>
</cp:coreProperties>
</file>